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1" r:id="rId2"/>
  </p:sldMasterIdLst>
  <p:notesMasterIdLst>
    <p:notesMasterId r:id="rId31"/>
  </p:notesMasterIdLst>
  <p:handoutMasterIdLst>
    <p:handoutMasterId r:id="rId32"/>
  </p:handoutMasterIdLst>
  <p:sldIdLst>
    <p:sldId id="256" r:id="rId3"/>
    <p:sldId id="258" r:id="rId4"/>
    <p:sldId id="279" r:id="rId5"/>
    <p:sldId id="2147229495" r:id="rId6"/>
    <p:sldId id="355" r:id="rId7"/>
    <p:sldId id="507" r:id="rId8"/>
    <p:sldId id="515" r:id="rId9"/>
    <p:sldId id="2088197656" r:id="rId10"/>
    <p:sldId id="374" r:id="rId11"/>
    <p:sldId id="2147229505" r:id="rId12"/>
    <p:sldId id="2147229507" r:id="rId13"/>
    <p:sldId id="264" r:id="rId14"/>
    <p:sldId id="2147229508" r:id="rId15"/>
    <p:sldId id="265" r:id="rId16"/>
    <p:sldId id="266" r:id="rId17"/>
    <p:sldId id="267" r:id="rId18"/>
    <p:sldId id="268" r:id="rId19"/>
    <p:sldId id="269" r:id="rId20"/>
    <p:sldId id="270" r:id="rId21"/>
    <p:sldId id="272" r:id="rId22"/>
    <p:sldId id="271" r:id="rId23"/>
    <p:sldId id="273" r:id="rId24"/>
    <p:sldId id="363" r:id="rId25"/>
    <p:sldId id="2147229510" r:id="rId26"/>
    <p:sldId id="274" r:id="rId27"/>
    <p:sldId id="302" r:id="rId28"/>
    <p:sldId id="2147229509" r:id="rId29"/>
    <p:sldId id="277" r:id="rId30"/>
  </p:sldIdLst>
  <p:sldSz cx="9144000" cy="5143500" type="screen16x9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BF5"/>
    <a:srgbClr val="003A70"/>
    <a:srgbClr val="84BD00"/>
    <a:srgbClr val="5A21A7"/>
    <a:srgbClr val="E7DCF7"/>
    <a:srgbClr val="00629B"/>
    <a:srgbClr val="00620F"/>
    <a:srgbClr val="C63662"/>
    <a:srgbClr val="470A68"/>
    <a:srgbClr val="00A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90" autoAdjust="0"/>
    <p:restoredTop sz="93405" autoAdjust="0"/>
  </p:normalViewPr>
  <p:slideViewPr>
    <p:cSldViewPr snapToGrid="0" snapToObjects="1">
      <p:cViewPr varScale="1">
        <p:scale>
          <a:sx n="147" d="100"/>
          <a:sy n="147" d="100"/>
        </p:scale>
        <p:origin x="1104" y="12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7A6635-9BB6-3747-9FFC-36204D06B3A1}" type="datetimeFigureOut">
              <a:rPr lang="fr-FR" smtClean="0"/>
              <a:t>17/11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02647E-CF3B-E248-B96A-A5D63DD3109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72503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96E6B3-B041-E44A-B978-AAE63535F853}" type="datetimeFigureOut">
              <a:rPr lang="fr-FR" smtClean="0"/>
              <a:t>17/1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9C2445-80C6-354F-82D4-4CA89E4B660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807965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9C2445-80C6-354F-82D4-4CA89E4B660B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0048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9C2445-80C6-354F-82D4-4CA89E4B660B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8283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63145">
              <a:defRPr/>
            </a:pPr>
            <a:fld id="{FD9C2445-80C6-354F-82D4-4CA89E4B660B}" type="slidenum">
              <a:rPr lang="fr-FR">
                <a:solidFill>
                  <a:prstClr val="black"/>
                </a:solidFill>
                <a:latin typeface="Calibri"/>
                <a:cs typeface="Helvetica"/>
                <a:sym typeface="Gill Sans MT"/>
              </a:rPr>
              <a:pPr defTabSz="663145">
                <a:defRPr/>
              </a:pPr>
              <a:t>27</a:t>
            </a:fld>
            <a:endParaRPr lang="fr-FR">
              <a:solidFill>
                <a:prstClr val="black"/>
              </a:solidFill>
              <a:latin typeface="Calibri"/>
              <a:cs typeface="Helvetica"/>
              <a:sym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41262968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845_10_uz_120330_n23.jp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04" b="1652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6" name="Grouper 15"/>
          <p:cNvGrpSpPr/>
          <p:nvPr userDrawn="1"/>
        </p:nvGrpSpPr>
        <p:grpSpPr>
          <a:xfrm>
            <a:off x="501071" y="405609"/>
            <a:ext cx="8141859" cy="4332283"/>
            <a:chOff x="180579" y="180579"/>
            <a:chExt cx="8775335" cy="4782342"/>
          </a:xfrm>
        </p:grpSpPr>
        <p:sp>
          <p:nvSpPr>
            <p:cNvPr id="7" name="Rectangle 6"/>
            <p:cNvSpPr/>
            <p:nvPr userDrawn="1"/>
          </p:nvSpPr>
          <p:spPr>
            <a:xfrm>
              <a:off x="180579" y="180579"/>
              <a:ext cx="8775335" cy="4782342"/>
            </a:xfrm>
            <a:prstGeom prst="rect">
              <a:avLst/>
            </a:prstGeom>
            <a:solidFill>
              <a:srgbClr val="003A7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52098" y="361159"/>
              <a:ext cx="8456356" cy="4460308"/>
            </a:xfrm>
            <a:prstGeom prst="rect">
              <a:avLst/>
            </a:prstGeom>
            <a:noFill/>
            <a:ln w="1270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01071" y="2021872"/>
            <a:ext cx="8141860" cy="110251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4399713" y="2934105"/>
            <a:ext cx="361126" cy="0"/>
          </a:xfrm>
          <a:prstGeom prst="line">
            <a:avLst/>
          </a:prstGeom>
          <a:ln w="9525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708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845_10_uz_120330_n23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6" name="Grouper 15"/>
          <p:cNvGrpSpPr/>
          <p:nvPr userDrawn="1"/>
        </p:nvGrpSpPr>
        <p:grpSpPr>
          <a:xfrm>
            <a:off x="501071" y="405610"/>
            <a:ext cx="8141859" cy="4332283"/>
            <a:chOff x="180579" y="180579"/>
            <a:chExt cx="8775335" cy="4782342"/>
          </a:xfrm>
        </p:grpSpPr>
        <p:sp>
          <p:nvSpPr>
            <p:cNvPr id="7" name="Rectangle 6"/>
            <p:cNvSpPr/>
            <p:nvPr userDrawn="1"/>
          </p:nvSpPr>
          <p:spPr>
            <a:xfrm>
              <a:off x="180579" y="180579"/>
              <a:ext cx="8775335" cy="4782342"/>
            </a:xfrm>
            <a:prstGeom prst="rect">
              <a:avLst/>
            </a:prstGeom>
            <a:solidFill>
              <a:srgbClr val="003A70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52098" y="361159"/>
              <a:ext cx="8456356" cy="4460308"/>
            </a:xfrm>
            <a:prstGeom prst="rect">
              <a:avLst/>
            </a:prstGeom>
            <a:noFill/>
            <a:ln w="1270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/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01072" y="2021873"/>
            <a:ext cx="8141860" cy="110251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4399713" y="2934105"/>
            <a:ext cx="361126" cy="0"/>
          </a:xfrm>
          <a:prstGeom prst="line">
            <a:avLst/>
          </a:prstGeom>
          <a:ln w="9525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91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 descr="David Chipperfield Architects . HEC School of Management . Paris (8).jpe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1" name="Grouper 10"/>
          <p:cNvGrpSpPr/>
          <p:nvPr userDrawn="1"/>
        </p:nvGrpSpPr>
        <p:grpSpPr>
          <a:xfrm>
            <a:off x="501071" y="405610"/>
            <a:ext cx="8141859" cy="4332283"/>
            <a:chOff x="180579" y="180579"/>
            <a:chExt cx="8775335" cy="4782342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80579" y="180579"/>
              <a:ext cx="8775335" cy="4782342"/>
            </a:xfrm>
            <a:prstGeom prst="rect">
              <a:avLst/>
            </a:prstGeom>
            <a:solidFill>
              <a:srgbClr val="003A70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52098" y="361159"/>
              <a:ext cx="8456356" cy="4460308"/>
            </a:xfrm>
            <a:prstGeom prst="rect">
              <a:avLst/>
            </a:prstGeom>
            <a:noFill/>
            <a:ln w="1270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/>
            </a:p>
          </p:txBody>
        </p:sp>
      </p:grpSp>
      <p:pic>
        <p:nvPicPr>
          <p:cNvPr id="18" name="Image 17" descr="HEC-LOGO-BLANC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6105" y="2079696"/>
            <a:ext cx="1814117" cy="90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6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David Chipperfield Architects . HEC School of Management . Paris (8).jpe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501071" y="405610"/>
            <a:ext cx="8141859" cy="4332283"/>
          </a:xfrm>
          <a:prstGeom prst="rect">
            <a:avLst/>
          </a:prstGeom>
          <a:solidFill>
            <a:srgbClr val="003A70">
              <a:alpha val="9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9" name="Image 8" descr="HEC-LOGO-BLANC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6105" y="673106"/>
            <a:ext cx="1814117" cy="90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737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5E3A-1E28-1B4A-91D5-F1561850C4F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3437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28143"/>
            <a:ext cx="4038600" cy="3138584"/>
          </a:xfrm>
        </p:spPr>
        <p:txBody>
          <a:bodyPr>
            <a:normAutofit/>
          </a:bodyPr>
          <a:lstStyle>
            <a:lvl1pPr>
              <a:defRPr sz="1600"/>
            </a:lvl1pPr>
            <a:lvl2pPr marL="742931" indent="-285743">
              <a:buClr>
                <a:srgbClr val="003A70"/>
              </a:buClr>
              <a:buFont typeface="Wingdings" charset="2"/>
              <a:buChar char="§"/>
              <a:defRPr sz="1600"/>
            </a:lvl2pPr>
            <a:lvl3pPr>
              <a:buClr>
                <a:srgbClr val="003A70"/>
              </a:buCl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28143"/>
            <a:ext cx="4038600" cy="3138584"/>
          </a:xfrm>
        </p:spPr>
        <p:txBody>
          <a:bodyPr>
            <a:normAutofit/>
          </a:bodyPr>
          <a:lstStyle>
            <a:lvl1pPr>
              <a:defRPr sz="1600"/>
            </a:lvl1pPr>
            <a:lvl2pPr marL="742931" indent="-285743">
              <a:buClr>
                <a:srgbClr val="003A70"/>
              </a:buClr>
              <a:buFont typeface="Wingdings" charset="2"/>
              <a:buChar char="§"/>
              <a:defRPr sz="1600"/>
            </a:lvl2pPr>
            <a:lvl3pPr>
              <a:buClr>
                <a:srgbClr val="003A70"/>
              </a:buCl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5E3A-1E28-1B4A-91D5-F1561850C4F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24046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238640"/>
            <a:ext cx="3688430" cy="3191069"/>
          </a:xfrm>
        </p:spPr>
        <p:txBody>
          <a:bodyPr>
            <a:normAutofit/>
          </a:bodyPr>
          <a:lstStyle>
            <a:lvl1pPr>
              <a:defRPr sz="1600"/>
            </a:lvl1pPr>
            <a:lvl2pPr marL="742931" indent="-285743">
              <a:buClr>
                <a:srgbClr val="003A70"/>
              </a:buClr>
              <a:buFont typeface="Wingdings" charset="2"/>
              <a:buChar char="§"/>
              <a:defRPr sz="1600"/>
            </a:lvl2pPr>
            <a:lvl3pPr>
              <a:buClr>
                <a:srgbClr val="003A70"/>
              </a:buCl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5E3A-1E28-1B4A-91D5-F1561850C4F5}" type="slidenum">
              <a:rPr lang="fr-FR" smtClean="0"/>
              <a:t>‹N°›</a:t>
            </a:fld>
            <a:endParaRPr lang="fr-FR"/>
          </a:p>
        </p:txBody>
      </p:sp>
      <p:sp>
        <p:nvSpPr>
          <p:cNvPr id="6" name="Espace réservé pour une image  5"/>
          <p:cNvSpPr>
            <a:spLocks noGrp="1"/>
          </p:cNvSpPr>
          <p:nvPr>
            <p:ph type="pic" sz="quarter" idx="13"/>
          </p:nvPr>
        </p:nvSpPr>
        <p:spPr>
          <a:xfrm>
            <a:off x="4848226" y="1238640"/>
            <a:ext cx="1302001" cy="1731995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8" name="Espace réservé pour une image  5"/>
          <p:cNvSpPr>
            <a:spLocks noGrp="1"/>
          </p:cNvSpPr>
          <p:nvPr>
            <p:ph type="pic" sz="quarter" idx="14"/>
          </p:nvPr>
        </p:nvSpPr>
        <p:spPr>
          <a:xfrm>
            <a:off x="4366031" y="3064912"/>
            <a:ext cx="1784196" cy="13647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  5"/>
          <p:cNvSpPr>
            <a:spLocks noGrp="1"/>
          </p:cNvSpPr>
          <p:nvPr>
            <p:ph type="pic" sz="quarter" idx="15"/>
          </p:nvPr>
        </p:nvSpPr>
        <p:spPr>
          <a:xfrm>
            <a:off x="6219826" y="1238640"/>
            <a:ext cx="2018958" cy="1280626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0" name="Espace réservé pour une image  5"/>
          <p:cNvSpPr>
            <a:spLocks noGrp="1"/>
          </p:cNvSpPr>
          <p:nvPr>
            <p:ph type="pic" sz="quarter" idx="16"/>
          </p:nvPr>
        </p:nvSpPr>
        <p:spPr>
          <a:xfrm>
            <a:off x="6219826" y="2624236"/>
            <a:ext cx="1683110" cy="1805472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598393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5E3A-1E28-1B4A-91D5-F1561850C4F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2813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570633CA-D1EE-4593-A844-168B1A32A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45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 descr="David Chipperfield Architects . HEC School of Management . Paris (8).jpe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69" b="8306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1" name="Grouper 10"/>
          <p:cNvGrpSpPr/>
          <p:nvPr userDrawn="1"/>
        </p:nvGrpSpPr>
        <p:grpSpPr>
          <a:xfrm>
            <a:off x="501071" y="405609"/>
            <a:ext cx="8141859" cy="4332283"/>
            <a:chOff x="180579" y="180579"/>
            <a:chExt cx="8775335" cy="4782342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80579" y="180579"/>
              <a:ext cx="8775335" cy="4782342"/>
            </a:xfrm>
            <a:prstGeom prst="rect">
              <a:avLst/>
            </a:prstGeom>
            <a:solidFill>
              <a:srgbClr val="003A7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52098" y="361159"/>
              <a:ext cx="8456356" cy="4460308"/>
            </a:xfrm>
            <a:prstGeom prst="rect">
              <a:avLst/>
            </a:prstGeom>
            <a:noFill/>
            <a:ln w="1270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18" name="Image 17" descr="HEC-LOGO-BLANC-0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104" y="2079695"/>
            <a:ext cx="1814117" cy="90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212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David Chipperfield Architects . HEC School of Management . Paris (8).jpe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69" b="8306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501071" y="405609"/>
            <a:ext cx="8141859" cy="4332283"/>
          </a:xfrm>
          <a:prstGeom prst="rect">
            <a:avLst/>
          </a:prstGeom>
          <a:solidFill>
            <a:srgbClr val="003A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 descr="HEC-LOGO-BLANC-0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104" y="673105"/>
            <a:ext cx="1814117" cy="90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216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93007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28143"/>
            <a:ext cx="4038600" cy="3138584"/>
          </a:xfrm>
        </p:spPr>
        <p:txBody>
          <a:bodyPr>
            <a:normAutofit/>
          </a:bodyPr>
          <a:lstStyle>
            <a:lvl1pPr>
              <a:defRPr sz="1600"/>
            </a:lvl1pPr>
            <a:lvl2pPr marL="742950" indent="-285750">
              <a:buClr>
                <a:srgbClr val="003A70"/>
              </a:buClr>
              <a:buFont typeface="Wingdings" charset="2"/>
              <a:buChar char="§"/>
              <a:defRPr sz="1600"/>
            </a:lvl2pPr>
            <a:lvl3pPr>
              <a:buClr>
                <a:srgbClr val="003A70"/>
              </a:buCl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28143"/>
            <a:ext cx="4038600" cy="3138584"/>
          </a:xfrm>
        </p:spPr>
        <p:txBody>
          <a:bodyPr>
            <a:normAutofit/>
          </a:bodyPr>
          <a:lstStyle>
            <a:lvl1pPr>
              <a:defRPr sz="1600"/>
            </a:lvl1pPr>
            <a:lvl2pPr marL="742950" indent="-285750">
              <a:buClr>
                <a:srgbClr val="003A70"/>
              </a:buClr>
              <a:buFont typeface="Wingdings" charset="2"/>
              <a:buChar char="§"/>
              <a:defRPr sz="1600"/>
            </a:lvl2pPr>
            <a:lvl3pPr>
              <a:buClr>
                <a:srgbClr val="003A70"/>
              </a:buCl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5E3A-1E28-1B4A-91D5-F1561850C4F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3338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38639"/>
            <a:ext cx="3688430" cy="3191069"/>
          </a:xfrm>
        </p:spPr>
        <p:txBody>
          <a:bodyPr>
            <a:normAutofit/>
          </a:bodyPr>
          <a:lstStyle>
            <a:lvl1pPr>
              <a:defRPr sz="1600"/>
            </a:lvl1pPr>
            <a:lvl2pPr marL="742950" indent="-285750">
              <a:buClr>
                <a:srgbClr val="003A70"/>
              </a:buClr>
              <a:buFont typeface="Wingdings" charset="2"/>
              <a:buChar char="§"/>
              <a:defRPr sz="1600"/>
            </a:lvl2pPr>
            <a:lvl3pPr>
              <a:buClr>
                <a:srgbClr val="003A70"/>
              </a:buCl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5E3A-1E28-1B4A-91D5-F1561850C4F5}" type="slidenum">
              <a:rPr lang="fr-FR" smtClean="0"/>
              <a:t>‹N°›</a:t>
            </a:fld>
            <a:endParaRPr lang="fr-FR"/>
          </a:p>
        </p:txBody>
      </p:sp>
      <p:sp>
        <p:nvSpPr>
          <p:cNvPr id="6" name="Espace réservé pour une image  5"/>
          <p:cNvSpPr>
            <a:spLocks noGrp="1"/>
          </p:cNvSpPr>
          <p:nvPr>
            <p:ph type="pic" sz="quarter" idx="13"/>
          </p:nvPr>
        </p:nvSpPr>
        <p:spPr>
          <a:xfrm>
            <a:off x="4848225" y="1238639"/>
            <a:ext cx="1302001" cy="1731995"/>
          </a:xfrm>
        </p:spPr>
        <p:txBody>
          <a:bodyPr/>
          <a:lstStyle/>
          <a:p>
            <a:endParaRPr lang="fr-FR"/>
          </a:p>
        </p:txBody>
      </p:sp>
      <p:sp>
        <p:nvSpPr>
          <p:cNvPr id="8" name="Espace réservé pour une image  5"/>
          <p:cNvSpPr>
            <a:spLocks noGrp="1"/>
          </p:cNvSpPr>
          <p:nvPr>
            <p:ph type="pic" sz="quarter" idx="14"/>
          </p:nvPr>
        </p:nvSpPr>
        <p:spPr>
          <a:xfrm>
            <a:off x="4366031" y="3064911"/>
            <a:ext cx="1784196" cy="1364797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  5"/>
          <p:cNvSpPr>
            <a:spLocks noGrp="1"/>
          </p:cNvSpPr>
          <p:nvPr>
            <p:ph type="pic" sz="quarter" idx="15"/>
          </p:nvPr>
        </p:nvSpPr>
        <p:spPr>
          <a:xfrm>
            <a:off x="6219826" y="1238640"/>
            <a:ext cx="2018958" cy="1280626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Espace réservé pour une image  5"/>
          <p:cNvSpPr>
            <a:spLocks noGrp="1"/>
          </p:cNvSpPr>
          <p:nvPr>
            <p:ph type="pic" sz="quarter" idx="16"/>
          </p:nvPr>
        </p:nvSpPr>
        <p:spPr>
          <a:xfrm>
            <a:off x="6219826" y="2624236"/>
            <a:ext cx="1683110" cy="1805472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5339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5E3A-1E28-1B4A-91D5-F1561850C4F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0595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845_10_uz_120330_n23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4" b="1652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6" name="Grouper 15"/>
          <p:cNvGrpSpPr/>
          <p:nvPr userDrawn="1"/>
        </p:nvGrpSpPr>
        <p:grpSpPr>
          <a:xfrm>
            <a:off x="501072" y="405610"/>
            <a:ext cx="8141859" cy="4332283"/>
            <a:chOff x="180579" y="180579"/>
            <a:chExt cx="8775335" cy="4782342"/>
          </a:xfrm>
        </p:grpSpPr>
        <p:sp>
          <p:nvSpPr>
            <p:cNvPr id="7" name="Rectangle 6"/>
            <p:cNvSpPr/>
            <p:nvPr userDrawn="1"/>
          </p:nvSpPr>
          <p:spPr>
            <a:xfrm>
              <a:off x="180579" y="180579"/>
              <a:ext cx="8775335" cy="4782342"/>
            </a:xfrm>
            <a:prstGeom prst="rect">
              <a:avLst/>
            </a:prstGeom>
            <a:solidFill>
              <a:srgbClr val="003A7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60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52098" y="361159"/>
              <a:ext cx="8456356" cy="4460308"/>
            </a:xfrm>
            <a:prstGeom prst="rect">
              <a:avLst/>
            </a:prstGeom>
            <a:noFill/>
            <a:ln w="1270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600"/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01071" y="2021873"/>
            <a:ext cx="8141860" cy="110251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4399713" y="2934105"/>
            <a:ext cx="361126" cy="0"/>
          </a:xfrm>
          <a:prstGeom prst="line">
            <a:avLst/>
          </a:prstGeom>
          <a:ln w="9525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5816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570633CA-D1EE-4593-A844-168B1A32A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465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4719111"/>
            <a:ext cx="2133600" cy="273844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003A70"/>
                </a:solidFill>
                <a:latin typeface="DIN-Regular"/>
                <a:cs typeface="DIN-Regular"/>
              </a:defRPr>
            </a:lvl1pPr>
          </a:lstStyle>
          <a:p>
            <a:fld id="{87FB5E3A-1E28-1B4A-91D5-F1561850C4F5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 descr="HEC PARIS-01.pn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23" y="4723628"/>
            <a:ext cx="619242" cy="317479"/>
          </a:xfrm>
          <a:prstGeom prst="rect">
            <a:avLst/>
          </a:prstGeom>
        </p:spPr>
      </p:pic>
      <p:cxnSp>
        <p:nvCxnSpPr>
          <p:cNvPr id="9" name="Connecteur droit 8"/>
          <p:cNvCxnSpPr>
            <a:stCxn id="7" idx="3"/>
          </p:cNvCxnSpPr>
          <p:nvPr userDrawn="1"/>
        </p:nvCxnSpPr>
        <p:spPr>
          <a:xfrm flipV="1">
            <a:off x="1061965" y="4869621"/>
            <a:ext cx="7249941" cy="12747"/>
          </a:xfrm>
          <a:prstGeom prst="line">
            <a:avLst/>
          </a:prstGeom>
          <a:ln w="9525" cmpd="sng">
            <a:solidFill>
              <a:srgbClr val="003A7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830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8" r:id="rId3"/>
    <p:sldLayoutId id="2147483650" r:id="rId4"/>
    <p:sldLayoutId id="2147483652" r:id="rId5"/>
    <p:sldLayoutId id="2147483655" r:id="rId6"/>
    <p:sldLayoutId id="2147483656" r:id="rId7"/>
    <p:sldLayoutId id="2147483665" r:id="rId8"/>
    <p:sldLayoutId id="2147483669" r:id="rId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0" i="0" kern="1200">
          <a:solidFill>
            <a:srgbClr val="003A70"/>
          </a:solidFill>
          <a:latin typeface="DIN-Regular"/>
          <a:ea typeface="+mj-ea"/>
          <a:cs typeface="DIN-Regular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1" i="0" kern="1200">
          <a:solidFill>
            <a:srgbClr val="003A70"/>
          </a:solidFill>
          <a:latin typeface="DIN-Regular"/>
          <a:ea typeface="+mn-ea"/>
          <a:cs typeface="DIN-Regular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D7FF48-97F5-76D3-2625-0B4BA16FB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645524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78" imgH="377" progId="TCLayout.ActiveDocument.1">
                  <p:embed/>
                </p:oleObj>
              </mc:Choice>
              <mc:Fallback>
                <p:oleObj name="think-cell Slide" r:id="rId11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D7FF48-97F5-76D3-2625-0B4BA16FB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B2CDB5ED-B563-C233-55B7-8B1EF19E96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199" y="4719111"/>
            <a:ext cx="567404" cy="2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4719111"/>
            <a:ext cx="2133600" cy="273844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003A70"/>
                </a:solidFill>
                <a:latin typeface="DIN-Regular"/>
                <a:cs typeface="DIN-Regular"/>
              </a:defRPr>
            </a:lvl1pPr>
          </a:lstStyle>
          <a:p>
            <a:fld id="{87FB5E3A-1E28-1B4A-91D5-F1561850C4F5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9" name="Connecteur droit 8"/>
          <p:cNvCxnSpPr>
            <a:cxnSpLocks/>
          </p:cNvCxnSpPr>
          <p:nvPr userDrawn="1"/>
        </p:nvCxnSpPr>
        <p:spPr>
          <a:xfrm flipV="1">
            <a:off x="1061965" y="4869622"/>
            <a:ext cx="7249942" cy="0"/>
          </a:xfrm>
          <a:prstGeom prst="line">
            <a:avLst/>
          </a:prstGeom>
          <a:ln w="9525" cmpd="sng">
            <a:solidFill>
              <a:srgbClr val="003A7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0679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</p:sldLayoutIdLst>
  <p:hf hdr="0" ftr="0" dt="0"/>
  <p:txStyles>
    <p:titleStyle>
      <a:lvl1pPr algn="l" defTabSz="457189" rtl="0" eaLnBrk="1" latinLnBrk="0" hangingPunct="1">
        <a:spcBef>
          <a:spcPct val="0"/>
        </a:spcBef>
        <a:buNone/>
        <a:defRPr sz="2000" b="0" i="0" kern="1200">
          <a:solidFill>
            <a:srgbClr val="003A70"/>
          </a:solidFill>
          <a:latin typeface="DIN-Regular"/>
          <a:ea typeface="+mj-ea"/>
          <a:cs typeface="DIN-Regular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1600" b="1" i="0" kern="1200">
          <a:solidFill>
            <a:srgbClr val="003A70"/>
          </a:solidFill>
          <a:latin typeface="DIN-Regular"/>
          <a:ea typeface="+mn-ea"/>
          <a:cs typeface="DIN-Regular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DIN-Regular"/>
          <a:ea typeface="+mn-ea"/>
          <a:cs typeface="DIN-Regular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svg"/><Relationship Id="rId3" Type="http://schemas.openxmlformats.org/officeDocument/2006/relationships/image" Target="../media/image54.svg"/><Relationship Id="rId7" Type="http://schemas.openxmlformats.org/officeDocument/2006/relationships/image" Target="../media/image58.svg"/><Relationship Id="rId12" Type="http://schemas.openxmlformats.org/officeDocument/2006/relationships/image" Target="../media/image63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7.png"/><Relationship Id="rId11" Type="http://schemas.openxmlformats.org/officeDocument/2006/relationships/image" Target="../media/image62.svg"/><Relationship Id="rId5" Type="http://schemas.openxmlformats.org/officeDocument/2006/relationships/image" Target="../media/image56.sv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6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13" Type="http://schemas.openxmlformats.org/officeDocument/2006/relationships/image" Target="../media/image80.jpeg"/><Relationship Id="rId3" Type="http://schemas.openxmlformats.org/officeDocument/2006/relationships/image" Target="../media/image19.jpeg"/><Relationship Id="rId7" Type="http://schemas.openxmlformats.org/officeDocument/2006/relationships/image" Target="../media/image74.svg"/><Relationship Id="rId12" Type="http://schemas.openxmlformats.org/officeDocument/2006/relationships/image" Target="../media/image79.svg"/><Relationship Id="rId17" Type="http://schemas.openxmlformats.org/officeDocument/2006/relationships/image" Target="../media/image84.svg"/><Relationship Id="rId2" Type="http://schemas.openxmlformats.org/officeDocument/2006/relationships/image" Target="../media/image70.png"/><Relationship Id="rId16" Type="http://schemas.openxmlformats.org/officeDocument/2006/relationships/image" Target="../media/image8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svg"/><Relationship Id="rId15" Type="http://schemas.openxmlformats.org/officeDocument/2006/relationships/image" Target="../media/image82.jpeg"/><Relationship Id="rId10" Type="http://schemas.openxmlformats.org/officeDocument/2006/relationships/image" Target="../media/image77.svg"/><Relationship Id="rId4" Type="http://schemas.openxmlformats.org/officeDocument/2006/relationships/image" Target="../media/image71.png"/><Relationship Id="rId9" Type="http://schemas.openxmlformats.org/officeDocument/2006/relationships/image" Target="../media/image76.png"/><Relationship Id="rId14" Type="http://schemas.openxmlformats.org/officeDocument/2006/relationships/image" Target="../media/image8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87.jpeg"/><Relationship Id="rId7" Type="http://schemas.openxmlformats.org/officeDocument/2006/relationships/image" Target="../media/image91.sv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0.png"/><Relationship Id="rId5" Type="http://schemas.openxmlformats.org/officeDocument/2006/relationships/image" Target="../media/image89.svg"/><Relationship Id="rId4" Type="http://schemas.openxmlformats.org/officeDocument/2006/relationships/image" Target="../media/image88.png"/><Relationship Id="rId9" Type="http://schemas.openxmlformats.org/officeDocument/2006/relationships/image" Target="../media/image93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g"/><Relationship Id="rId3" Type="http://schemas.openxmlformats.org/officeDocument/2006/relationships/image" Target="../media/image95.svg"/><Relationship Id="rId7" Type="http://schemas.openxmlformats.org/officeDocument/2006/relationships/image" Target="../media/image99.sv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8.png"/><Relationship Id="rId5" Type="http://schemas.openxmlformats.org/officeDocument/2006/relationships/image" Target="../media/image97.svg"/><Relationship Id="rId4" Type="http://schemas.openxmlformats.org/officeDocument/2006/relationships/image" Target="../media/image9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8.png"/><Relationship Id="rId4" Type="http://schemas.microsoft.com/office/2007/relationships/hdphoto" Target="../media/hdphoto4.wdp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13" Type="http://schemas.openxmlformats.org/officeDocument/2006/relationships/image" Target="../media/image106.svg"/><Relationship Id="rId18" Type="http://schemas.openxmlformats.org/officeDocument/2006/relationships/image" Target="../media/image111.svg"/><Relationship Id="rId3" Type="http://schemas.openxmlformats.org/officeDocument/2006/relationships/image" Target="../media/image88.png"/><Relationship Id="rId21" Type="http://schemas.openxmlformats.org/officeDocument/2006/relationships/image" Target="../media/image114.jpeg"/><Relationship Id="rId7" Type="http://schemas.openxmlformats.org/officeDocument/2006/relationships/image" Target="../media/image92.png"/><Relationship Id="rId12" Type="http://schemas.openxmlformats.org/officeDocument/2006/relationships/image" Target="../media/image105.png"/><Relationship Id="rId17" Type="http://schemas.openxmlformats.org/officeDocument/2006/relationships/image" Target="../media/image110.png"/><Relationship Id="rId2" Type="http://schemas.openxmlformats.org/officeDocument/2006/relationships/image" Target="../media/image101.jpeg"/><Relationship Id="rId16" Type="http://schemas.openxmlformats.org/officeDocument/2006/relationships/image" Target="../media/image109.svg"/><Relationship Id="rId20" Type="http://schemas.openxmlformats.org/officeDocument/2006/relationships/image" Target="../media/image113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1.svg"/><Relationship Id="rId11" Type="http://schemas.openxmlformats.org/officeDocument/2006/relationships/image" Target="../media/image104.jpeg"/><Relationship Id="rId5" Type="http://schemas.openxmlformats.org/officeDocument/2006/relationships/image" Target="../media/image90.png"/><Relationship Id="rId15" Type="http://schemas.openxmlformats.org/officeDocument/2006/relationships/image" Target="../media/image108.png"/><Relationship Id="rId10" Type="http://schemas.openxmlformats.org/officeDocument/2006/relationships/image" Target="../media/image103.svg"/><Relationship Id="rId19" Type="http://schemas.openxmlformats.org/officeDocument/2006/relationships/image" Target="../media/image112.png"/><Relationship Id="rId4" Type="http://schemas.openxmlformats.org/officeDocument/2006/relationships/image" Target="../media/image89.svg"/><Relationship Id="rId9" Type="http://schemas.openxmlformats.org/officeDocument/2006/relationships/image" Target="../media/image102.png"/><Relationship Id="rId14" Type="http://schemas.openxmlformats.org/officeDocument/2006/relationships/image" Target="../media/image10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13" Type="http://schemas.openxmlformats.org/officeDocument/2006/relationships/image" Target="../media/image118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117.jpeg"/><Relationship Id="rId2" Type="http://schemas.openxmlformats.org/officeDocument/2006/relationships/image" Target="../media/image115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1.svg"/><Relationship Id="rId11" Type="http://schemas.openxmlformats.org/officeDocument/2006/relationships/image" Target="../media/image116.jpeg"/><Relationship Id="rId5" Type="http://schemas.openxmlformats.org/officeDocument/2006/relationships/image" Target="../media/image90.png"/><Relationship Id="rId10" Type="http://schemas.openxmlformats.org/officeDocument/2006/relationships/image" Target="../media/image103.svg"/><Relationship Id="rId4" Type="http://schemas.openxmlformats.org/officeDocument/2006/relationships/image" Target="../media/image89.svg"/><Relationship Id="rId9" Type="http://schemas.openxmlformats.org/officeDocument/2006/relationships/image" Target="../media/image102.png"/><Relationship Id="rId14" Type="http://schemas.openxmlformats.org/officeDocument/2006/relationships/image" Target="../media/image11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106.svg"/><Relationship Id="rId3" Type="http://schemas.openxmlformats.org/officeDocument/2006/relationships/image" Target="../media/image121.jpeg"/><Relationship Id="rId7" Type="http://schemas.openxmlformats.org/officeDocument/2006/relationships/image" Target="../media/image89.svg"/><Relationship Id="rId12" Type="http://schemas.openxmlformats.org/officeDocument/2006/relationships/image" Target="../media/image105.png"/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8.png"/><Relationship Id="rId11" Type="http://schemas.openxmlformats.org/officeDocument/2006/relationships/image" Target="../media/image103.svg"/><Relationship Id="rId5" Type="http://schemas.openxmlformats.org/officeDocument/2006/relationships/image" Target="../media/image101.jpeg"/><Relationship Id="rId15" Type="http://schemas.openxmlformats.org/officeDocument/2006/relationships/image" Target="../media/image93.svg"/><Relationship Id="rId10" Type="http://schemas.openxmlformats.org/officeDocument/2006/relationships/image" Target="../media/image102.png"/><Relationship Id="rId4" Type="http://schemas.openxmlformats.org/officeDocument/2006/relationships/image" Target="../media/image122.jpeg"/><Relationship Id="rId9" Type="http://schemas.openxmlformats.org/officeDocument/2006/relationships/image" Target="../media/image91.svg"/><Relationship Id="rId14" Type="http://schemas.openxmlformats.org/officeDocument/2006/relationships/image" Target="../media/image92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svg"/><Relationship Id="rId3" Type="http://schemas.openxmlformats.org/officeDocument/2006/relationships/image" Target="../media/image105.png"/><Relationship Id="rId7" Type="http://schemas.openxmlformats.org/officeDocument/2006/relationships/image" Target="../media/image125.png"/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4.svg"/><Relationship Id="rId5" Type="http://schemas.openxmlformats.org/officeDocument/2006/relationships/image" Target="../media/image123.png"/><Relationship Id="rId10" Type="http://schemas.openxmlformats.org/officeDocument/2006/relationships/image" Target="../media/image128.svg"/><Relationship Id="rId4" Type="http://schemas.openxmlformats.org/officeDocument/2006/relationships/image" Target="../media/image106.svg"/><Relationship Id="rId9" Type="http://schemas.openxmlformats.org/officeDocument/2006/relationships/image" Target="../media/image12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image" Target="../media/image99.svg"/><Relationship Id="rId7" Type="http://schemas.openxmlformats.org/officeDocument/2006/relationships/image" Target="../media/image130.sv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9.png"/><Relationship Id="rId5" Type="http://schemas.openxmlformats.org/officeDocument/2006/relationships/image" Target="../media/image97.svg"/><Relationship Id="rId4" Type="http://schemas.openxmlformats.org/officeDocument/2006/relationships/image" Target="../media/image96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2.png"/><Relationship Id="rId18" Type="http://schemas.openxmlformats.org/officeDocument/2006/relationships/image" Target="../media/image147.png"/><Relationship Id="rId26" Type="http://schemas.openxmlformats.org/officeDocument/2006/relationships/image" Target="../media/image155.png"/><Relationship Id="rId39" Type="http://schemas.openxmlformats.org/officeDocument/2006/relationships/image" Target="../media/image168.png"/><Relationship Id="rId21" Type="http://schemas.openxmlformats.org/officeDocument/2006/relationships/image" Target="../media/image150.png"/><Relationship Id="rId34" Type="http://schemas.openxmlformats.org/officeDocument/2006/relationships/image" Target="../media/image163.png"/><Relationship Id="rId42" Type="http://schemas.openxmlformats.org/officeDocument/2006/relationships/image" Target="../media/image171.jpeg"/><Relationship Id="rId7" Type="http://schemas.openxmlformats.org/officeDocument/2006/relationships/image" Target="../media/image136.tif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45.jpeg"/><Relationship Id="rId20" Type="http://schemas.openxmlformats.org/officeDocument/2006/relationships/image" Target="../media/image149.png"/><Relationship Id="rId29" Type="http://schemas.openxmlformats.org/officeDocument/2006/relationships/image" Target="../media/image158.png"/><Relationship Id="rId41" Type="http://schemas.openxmlformats.org/officeDocument/2006/relationships/image" Target="../media/image17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5.png"/><Relationship Id="rId11" Type="http://schemas.openxmlformats.org/officeDocument/2006/relationships/image" Target="../media/image140.png"/><Relationship Id="rId24" Type="http://schemas.openxmlformats.org/officeDocument/2006/relationships/image" Target="../media/image153.png"/><Relationship Id="rId32" Type="http://schemas.openxmlformats.org/officeDocument/2006/relationships/image" Target="../media/image161.png"/><Relationship Id="rId37" Type="http://schemas.openxmlformats.org/officeDocument/2006/relationships/image" Target="../media/image166.png"/><Relationship Id="rId40" Type="http://schemas.openxmlformats.org/officeDocument/2006/relationships/image" Target="../media/image169.png"/><Relationship Id="rId5" Type="http://schemas.openxmlformats.org/officeDocument/2006/relationships/image" Target="../media/image134.jpeg"/><Relationship Id="rId15" Type="http://schemas.openxmlformats.org/officeDocument/2006/relationships/image" Target="../media/image144.png"/><Relationship Id="rId23" Type="http://schemas.openxmlformats.org/officeDocument/2006/relationships/image" Target="../media/image152.png"/><Relationship Id="rId28" Type="http://schemas.openxmlformats.org/officeDocument/2006/relationships/image" Target="../media/image157.png"/><Relationship Id="rId36" Type="http://schemas.openxmlformats.org/officeDocument/2006/relationships/image" Target="../media/image165.png"/><Relationship Id="rId10" Type="http://schemas.openxmlformats.org/officeDocument/2006/relationships/image" Target="../media/image139.tiff"/><Relationship Id="rId19" Type="http://schemas.openxmlformats.org/officeDocument/2006/relationships/image" Target="../media/image148.png"/><Relationship Id="rId31" Type="http://schemas.openxmlformats.org/officeDocument/2006/relationships/image" Target="../media/image160.png"/><Relationship Id="rId4" Type="http://schemas.openxmlformats.org/officeDocument/2006/relationships/image" Target="../media/image133.png"/><Relationship Id="rId9" Type="http://schemas.openxmlformats.org/officeDocument/2006/relationships/image" Target="../media/image138.tiff"/><Relationship Id="rId14" Type="http://schemas.openxmlformats.org/officeDocument/2006/relationships/image" Target="../media/image143.png"/><Relationship Id="rId22" Type="http://schemas.openxmlformats.org/officeDocument/2006/relationships/image" Target="../media/image151.png"/><Relationship Id="rId27" Type="http://schemas.openxmlformats.org/officeDocument/2006/relationships/image" Target="../media/image156.png"/><Relationship Id="rId30" Type="http://schemas.openxmlformats.org/officeDocument/2006/relationships/image" Target="../media/image159.png"/><Relationship Id="rId35" Type="http://schemas.openxmlformats.org/officeDocument/2006/relationships/image" Target="../media/image164.jpeg"/><Relationship Id="rId8" Type="http://schemas.openxmlformats.org/officeDocument/2006/relationships/image" Target="../media/image137.png"/><Relationship Id="rId3" Type="http://schemas.openxmlformats.org/officeDocument/2006/relationships/image" Target="../media/image132.jpeg"/><Relationship Id="rId12" Type="http://schemas.openxmlformats.org/officeDocument/2006/relationships/image" Target="../media/image141.png"/><Relationship Id="rId17" Type="http://schemas.openxmlformats.org/officeDocument/2006/relationships/image" Target="../media/image146.png"/><Relationship Id="rId25" Type="http://schemas.openxmlformats.org/officeDocument/2006/relationships/image" Target="../media/image154.png"/><Relationship Id="rId33" Type="http://schemas.openxmlformats.org/officeDocument/2006/relationships/image" Target="../media/image162.png"/><Relationship Id="rId38" Type="http://schemas.openxmlformats.org/officeDocument/2006/relationships/image" Target="../media/image167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4.png"/><Relationship Id="rId4" Type="http://schemas.openxmlformats.org/officeDocument/2006/relationships/image" Target="../media/image172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13" Type="http://schemas.openxmlformats.org/officeDocument/2006/relationships/image" Target="../media/image26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12" Type="http://schemas.microsoft.com/office/2007/relationships/hdphoto" Target="../media/hdphoto8.wdp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Relationship Id="rId6" Type="http://schemas.microsoft.com/office/2007/relationships/hdphoto" Target="../media/hdphoto5.wdp"/><Relationship Id="rId11" Type="http://schemas.openxmlformats.org/officeDocument/2006/relationships/image" Target="../media/image25.png"/><Relationship Id="rId5" Type="http://schemas.openxmlformats.org/officeDocument/2006/relationships/image" Target="../media/image22.png"/><Relationship Id="rId10" Type="http://schemas.microsoft.com/office/2007/relationships/hdphoto" Target="../media/hdphoto7.wdp"/><Relationship Id="rId4" Type="http://schemas.openxmlformats.org/officeDocument/2006/relationships/image" Target="../media/image21.png"/><Relationship Id="rId9" Type="http://schemas.openxmlformats.org/officeDocument/2006/relationships/image" Target="../media/image24.png"/><Relationship Id="rId14" Type="http://schemas.microsoft.com/office/2007/relationships/hdphoto" Target="../media/hdphoto9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jpe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12" Type="http://schemas.openxmlformats.org/officeDocument/2006/relationships/image" Target="../media/image36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jpeg"/><Relationship Id="rId11" Type="http://schemas.openxmlformats.org/officeDocument/2006/relationships/image" Target="../media/image35.png"/><Relationship Id="rId5" Type="http://schemas.openxmlformats.org/officeDocument/2006/relationships/image" Target="../media/image29.svg"/><Relationship Id="rId15" Type="http://schemas.openxmlformats.org/officeDocument/2006/relationships/image" Target="../media/image39.jpeg"/><Relationship Id="rId10" Type="http://schemas.openxmlformats.org/officeDocument/2006/relationships/image" Target="../media/image34.jpeg"/><Relationship Id="rId4" Type="http://schemas.openxmlformats.org/officeDocument/2006/relationships/image" Target="../media/image28.png"/><Relationship Id="rId9" Type="http://schemas.openxmlformats.org/officeDocument/2006/relationships/image" Target="../media/image33.svg"/><Relationship Id="rId14" Type="http://schemas.openxmlformats.org/officeDocument/2006/relationships/image" Target="../media/image3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jpe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F16D342-8C79-4674-84C4-1D7422C351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324055-7B9E-406C-B0E6-37B02750E4D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30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AE4A4E3-D52D-454D-8EE3-EA39C3782C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AA6D57C-C599-4F12-BA31-2E391DDA886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17238" y="1214387"/>
            <a:ext cx="8370236" cy="234315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248ECBD6-47DE-48DA-8D8C-3BB8EFEA834C}"/>
              </a:ext>
            </a:extLst>
          </p:cNvPr>
          <p:cNvSpPr/>
          <p:nvPr/>
        </p:nvSpPr>
        <p:spPr>
          <a:xfrm>
            <a:off x="2682648" y="1295400"/>
            <a:ext cx="245021" cy="3848100"/>
          </a:xfrm>
          <a:prstGeom prst="rect">
            <a:avLst/>
          </a:prstGeom>
          <a:solidFill>
            <a:schemeClr val="bg1">
              <a:alpha val="48000"/>
            </a:schemeClr>
          </a:solidFill>
          <a:ln>
            <a:noFill/>
          </a:ln>
          <a:effectLst>
            <a:outerShdw blurRad="647700" dist="228600" dir="8940000" sx="82000" sy="82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A8FEAD6-9877-4F46-9C7C-DF287B1D34BF}"/>
              </a:ext>
            </a:extLst>
          </p:cNvPr>
          <p:cNvSpPr/>
          <p:nvPr/>
        </p:nvSpPr>
        <p:spPr>
          <a:xfrm>
            <a:off x="2919714" y="709225"/>
            <a:ext cx="1522143" cy="4434275"/>
          </a:xfrm>
          <a:prstGeom prst="roundRect">
            <a:avLst>
              <a:gd name="adj" fmla="val 3057"/>
            </a:avLst>
          </a:prstGeom>
          <a:gradFill flip="none" rotWithShape="1">
            <a:gsLst>
              <a:gs pos="0">
                <a:srgbClr val="003A70">
                  <a:alpha val="59000"/>
                </a:srgbClr>
              </a:gs>
              <a:gs pos="86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533400" dist="393700" dir="12180000" sx="76000" sy="76000" algn="ctr" rotWithShape="0">
              <a:srgbClr val="003A70">
                <a:alpha val="6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B8927D-87C6-48D8-B87E-A358AE4B53A1}"/>
              </a:ext>
            </a:extLst>
          </p:cNvPr>
          <p:cNvSpPr txBox="1"/>
          <p:nvPr/>
        </p:nvSpPr>
        <p:spPr>
          <a:xfrm rot="5400000">
            <a:off x="8339796" y="608221"/>
            <a:ext cx="1010320" cy="20201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70000"/>
              </a:lnSpc>
            </a:pPr>
            <a:r>
              <a:rPr lang="fr-FR" sz="1500" b="1" dirty="0">
                <a:ln>
                  <a:solidFill>
                    <a:schemeClr val="bg1">
                      <a:alpha val="12000"/>
                    </a:schemeClr>
                  </a:solidFill>
                </a:ln>
                <a:solidFill>
                  <a:schemeClr val="bg1"/>
                </a:solidFill>
                <a:latin typeface="Arial Black" panose="020B0A04020102020204" pitchFamily="34" charset="0"/>
                <a:cs typeface="DIN Pro Black" panose="020B0A04020101010102" pitchFamily="34" charset="0"/>
              </a:rPr>
              <a:t>202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364040-7879-4661-B7E0-772A695580F5}"/>
              </a:ext>
            </a:extLst>
          </p:cNvPr>
          <p:cNvSpPr txBox="1"/>
          <p:nvPr/>
        </p:nvSpPr>
        <p:spPr>
          <a:xfrm>
            <a:off x="3230283" y="1742887"/>
            <a:ext cx="3352800" cy="3232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</a:pPr>
            <a:r>
              <a:rPr lang="fr-FR" sz="2100" b="1" dirty="0">
                <a:ln>
                  <a:solidFill>
                    <a:schemeClr val="bg1"/>
                  </a:solidFill>
                </a:ln>
                <a:noFill/>
                <a:latin typeface="Arial" panose="020B0604020202020204" pitchFamily="34" charset="0"/>
                <a:cs typeface="DIN Pro Black" panose="020B0A04020101010102" pitchFamily="34" charset="0"/>
              </a:rPr>
              <a:t>WELCOME TO</a:t>
            </a:r>
            <a:endParaRPr lang="fr-FR" sz="2100" b="1" dirty="0">
              <a:ln>
                <a:solidFill>
                  <a:schemeClr val="bg1"/>
                </a:solidFill>
              </a:ln>
              <a:noFill/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33FE92-473F-4503-8E05-0235EB4F8FEE}"/>
              </a:ext>
            </a:extLst>
          </p:cNvPr>
          <p:cNvSpPr txBox="1"/>
          <p:nvPr/>
        </p:nvSpPr>
        <p:spPr>
          <a:xfrm>
            <a:off x="3205463" y="2032765"/>
            <a:ext cx="4572000" cy="504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</a:pPr>
            <a:r>
              <a:rPr lang="fr-FR" sz="3600" b="1" dirty="0">
                <a:solidFill>
                  <a:schemeClr val="bg1"/>
                </a:solidFill>
                <a:latin typeface="Arial Black" panose="020B0A04020102020204" pitchFamily="34" charset="0"/>
                <a:cs typeface="DIN Pro Black" panose="020B0A04020101010102" pitchFamily="34" charset="0"/>
              </a:rPr>
              <a:t>HEC </a:t>
            </a:r>
            <a:r>
              <a:rPr lang="fr-FR" sz="3600" b="1" dirty="0">
                <a:solidFill>
                  <a:srgbClr val="003A70"/>
                </a:solidFill>
                <a:latin typeface="Arial Black" panose="020B0A04020102020204" pitchFamily="34" charset="0"/>
                <a:cs typeface="DIN Pro Black" panose="020B0A04020101010102" pitchFamily="34" charset="0"/>
              </a:rPr>
              <a:t>PARIS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275B0FE-06C0-4952-8ABA-0051E77212A5}"/>
              </a:ext>
            </a:extLst>
          </p:cNvPr>
          <p:cNvCxnSpPr>
            <a:cxnSpLocks/>
          </p:cNvCxnSpPr>
          <p:nvPr/>
        </p:nvCxnSpPr>
        <p:spPr>
          <a:xfrm flipH="1">
            <a:off x="6136776" y="2457450"/>
            <a:ext cx="217715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building with a metal fence&#10;&#10;Description automatically generated">
            <a:extLst>
              <a:ext uri="{FF2B5EF4-FFF2-40B4-BE49-F238E27FC236}">
                <a16:creationId xmlns:a16="http://schemas.microsoft.com/office/drawing/2014/main" id="{B5CDC024-EF7F-4F96-8053-6237BEEC9AD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57450"/>
            <a:ext cx="9144000" cy="2686050"/>
          </a:xfrm>
          <a:prstGeom prst="rect">
            <a:avLst/>
          </a:prstGeom>
        </p:spPr>
      </p:pic>
      <p:pic>
        <p:nvPicPr>
          <p:cNvPr id="29" name="Image 10" descr="HEC-LOGO-BLANC-01.png">
            <a:extLst>
              <a:ext uri="{FF2B5EF4-FFF2-40B4-BE49-F238E27FC236}">
                <a16:creationId xmlns:a16="http://schemas.microsoft.com/office/drawing/2014/main" id="{6FB9BA0C-A275-466F-B916-BE49C5DB6F5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543" y="4555980"/>
            <a:ext cx="643118" cy="32170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EC16D75-25E9-474E-9401-3DDA4DB0F332}"/>
              </a:ext>
            </a:extLst>
          </p:cNvPr>
          <p:cNvSpPr txBox="1"/>
          <p:nvPr/>
        </p:nvSpPr>
        <p:spPr>
          <a:xfrm rot="16200000">
            <a:off x="-210379" y="4349530"/>
            <a:ext cx="1010320" cy="24502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70000"/>
              </a:lnSpc>
            </a:pPr>
            <a:r>
              <a:rPr lang="fr-FR" sz="1500" b="1" dirty="0">
                <a:ln>
                  <a:solidFill>
                    <a:schemeClr val="bg1">
                      <a:alpha val="12000"/>
                    </a:schemeClr>
                  </a:solidFill>
                </a:ln>
                <a:solidFill>
                  <a:schemeClr val="bg1"/>
                </a:solidFill>
                <a:latin typeface="Arial Black" panose="020B0A04020102020204" pitchFamily="34" charset="0"/>
                <a:cs typeface="DIN Pro Black" panose="020B0A04020101010102" pitchFamily="34" charset="0"/>
              </a:rPr>
              <a:t>2023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8A0904E-B6BC-44C7-BBE0-99F69FC73A9F}"/>
              </a:ext>
            </a:extLst>
          </p:cNvPr>
          <p:cNvCxnSpPr/>
          <p:nvPr/>
        </p:nvCxnSpPr>
        <p:spPr>
          <a:xfrm flipV="1">
            <a:off x="266700" y="0"/>
            <a:ext cx="0" cy="4114800"/>
          </a:xfrm>
          <a:prstGeom prst="line">
            <a:avLst/>
          </a:prstGeom>
          <a:ln>
            <a:solidFill>
              <a:schemeClr val="bg1">
                <a:alpha val="5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175B425-12B2-40BE-82FE-CABAA076F8F3}"/>
              </a:ext>
            </a:extLst>
          </p:cNvPr>
          <p:cNvCxnSpPr>
            <a:cxnSpLocks/>
          </p:cNvCxnSpPr>
          <p:nvPr/>
        </p:nvCxnSpPr>
        <p:spPr>
          <a:xfrm flipV="1">
            <a:off x="8858250" y="1028700"/>
            <a:ext cx="0" cy="4114800"/>
          </a:xfrm>
          <a:prstGeom prst="line">
            <a:avLst/>
          </a:prstGeom>
          <a:ln>
            <a:solidFill>
              <a:schemeClr val="bg1">
                <a:alpha val="5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846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10" fill="hold"/>
                                        <p:tgtEl>
                                          <p:spTgt spid="5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accel="16000" decel="8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7" dur="1000" fill="hold"/>
                                        <p:tgtEl>
                                          <p:spTgt spid="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-2.96296E-6 L 2.29167E-6 0.17593 " pathEditMode="relative" rAng="0" ptsTypes="AA">
                                      <p:cBhvr>
                                        <p:cTn id="28" dur="125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79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4.44444E-6 L -1.45833E-6 -0.17777 " pathEditMode="relative" rAng="0" ptsTypes="AA">
                                      <p:cBhvr>
                                        <p:cTn id="33" dur="125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8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accel="33333" decel="6666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1.11111E-6 L 0.21875 -0.00995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38" y="-509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grpId="0" nodeType="withEffect">
                                  <p:stCondLst>
                                    <p:cond delay="12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9" presetClass="entr" presetSubtype="0" decel="100000" fill="hold" grpId="0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8" presetClass="emph" presetSubtype="0" decel="100000" fill="hold" grpId="1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Rot by="21600000">
                                      <p:cBhvr>
                                        <p:cTn id="6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1" nodeType="withEffect">
                                  <p:stCondLst>
                                    <p:cond delay="12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3" presetClass="path" presetSubtype="0" accel="22000" decel="78000" fill="hold" grpId="0" nodeType="withEffect">
                                  <p:stCondLst>
                                    <p:cond delay="120"/>
                                  </p:stCondLst>
                                  <p:childTnLst>
                                    <p:animMotion origin="layout" path="M -8.33333E-7 1.85185E-6 L 0.25 1.85185E-6 " pathEditMode="relative" rAng="0" ptsTypes="AA">
                                      <p:cBhvr>
                                        <p:cTn id="69" dur="125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49" presetClass="entr" presetSubtype="0" decel="100000" fill="hold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8" presetClass="emph" presetSubtype="0" decel="100000" fill="hold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Rot by="21600000">
                                      <p:cBhvr>
                                        <p:cTn id="7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2" grpId="0" animBg="1"/>
      <p:bldP spid="17" grpId="0" animBg="1"/>
      <p:bldP spid="14" grpId="0"/>
      <p:bldP spid="14" grpId="1"/>
      <p:bldP spid="10" grpId="0"/>
      <p:bldP spid="10" grpId="1"/>
      <p:bldP spid="13" grpId="0"/>
      <p:bldP spid="13" grpId="1"/>
      <p:bldP spid="32" grpId="0"/>
      <p:bldP spid="32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lide Number Placeholder 4">
            <a:extLst>
              <a:ext uri="{FF2B5EF4-FFF2-40B4-BE49-F238E27FC236}">
                <a16:creationId xmlns:a16="http://schemas.microsoft.com/office/drawing/2014/main" id="{8C216521-0D66-41A3-B140-DF8C579F7020}"/>
              </a:ext>
            </a:extLst>
          </p:cNvPr>
          <p:cNvSpPr txBox="1">
            <a:spLocks/>
          </p:cNvSpPr>
          <p:nvPr/>
        </p:nvSpPr>
        <p:spPr>
          <a:xfrm>
            <a:off x="8176708" y="4740465"/>
            <a:ext cx="682782" cy="273844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7644" lvl="4" defTabSz="342900"/>
            <a:fld id="{87FB5E3A-1E28-1B4A-91D5-F1561850C4F5}" type="slidenum">
              <a:rPr lang="en-US" sz="1000">
                <a:solidFill>
                  <a:prstClr val="black"/>
                </a:solidFill>
                <a:latin typeface="DIN-Regular"/>
              </a:rPr>
              <a:pPr marL="197644" lvl="4" defTabSz="342900"/>
              <a:t>10</a:t>
            </a:fld>
            <a:endParaRPr lang="en-US" sz="1000" dirty="0">
              <a:solidFill>
                <a:prstClr val="black"/>
              </a:solidFill>
              <a:latin typeface="DIN-Regular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D19E535-A731-7957-0245-1FA33E72DE1B}"/>
              </a:ext>
            </a:extLst>
          </p:cNvPr>
          <p:cNvGrpSpPr/>
          <p:nvPr/>
        </p:nvGrpSpPr>
        <p:grpSpPr>
          <a:xfrm>
            <a:off x="305991" y="3228293"/>
            <a:ext cx="2565000" cy="540000"/>
            <a:chOff x="407988" y="4671582"/>
            <a:chExt cx="3420000" cy="720000"/>
          </a:xfrm>
        </p:grpSpPr>
        <p:pic>
          <p:nvPicPr>
            <p:cNvPr id="151" name="Graphic 23">
              <a:extLst>
                <a:ext uri="{FF2B5EF4-FFF2-40B4-BE49-F238E27FC236}">
                  <a16:creationId xmlns:a16="http://schemas.microsoft.com/office/drawing/2014/main" id="{C645E65C-CA58-414B-BEDE-5B656A0EA0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7988" y="4671582"/>
              <a:ext cx="720000" cy="720000"/>
            </a:xfrm>
            <a:prstGeom prst="rect">
              <a:avLst/>
            </a:prstGeom>
          </p:spPr>
        </p:pic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84E5ED9F-477A-4DE5-9E2E-56640A7EE3EB}"/>
                </a:ext>
              </a:extLst>
            </p:cNvPr>
            <p:cNvSpPr/>
            <p:nvPr/>
          </p:nvSpPr>
          <p:spPr>
            <a:xfrm>
              <a:off x="1349900" y="4754585"/>
              <a:ext cx="2478088" cy="5539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54000" bIns="0" rtlCol="0" anchor="ctr">
              <a:spAutoFit/>
            </a:bodyPr>
            <a:lstStyle/>
            <a:p>
              <a:pPr defTabSz="685800">
                <a:defRPr/>
              </a:pPr>
              <a:r>
                <a:rPr lang="en-US" sz="1350" kern="0" dirty="0">
                  <a:solidFill>
                    <a:srgbClr val="7F7F7F"/>
                  </a:solidFill>
                  <a:latin typeface="DIN-Regular" panose="02000503040000020003" pitchFamily="2" charset="0"/>
                </a:rPr>
                <a:t>Clear focus on high quality of research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83C590C-BEEE-289C-EACB-B7DA3E47D7D8}"/>
              </a:ext>
            </a:extLst>
          </p:cNvPr>
          <p:cNvGrpSpPr/>
          <p:nvPr/>
        </p:nvGrpSpPr>
        <p:grpSpPr>
          <a:xfrm>
            <a:off x="6273010" y="3228294"/>
            <a:ext cx="2565000" cy="623248"/>
            <a:chOff x="8364013" y="4616083"/>
            <a:chExt cx="3420000" cy="830997"/>
          </a:xfrm>
        </p:grpSpPr>
        <p:pic>
          <p:nvPicPr>
            <p:cNvPr id="153" name="Content Placeholder 15">
              <a:extLst>
                <a:ext uri="{FF2B5EF4-FFF2-40B4-BE49-F238E27FC236}">
                  <a16:creationId xmlns:a16="http://schemas.microsoft.com/office/drawing/2014/main" id="{56ABC6CF-1B5F-4C71-93B1-FAD74662E1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364013" y="4671582"/>
              <a:ext cx="720000" cy="720000"/>
            </a:xfrm>
            <a:prstGeom prst="rect">
              <a:avLst/>
            </a:prstGeom>
          </p:spPr>
        </p:pic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B7CA21E8-2E74-4D6D-AE0F-9356F256C1AB}"/>
                </a:ext>
              </a:extLst>
            </p:cNvPr>
            <p:cNvSpPr/>
            <p:nvPr/>
          </p:nvSpPr>
          <p:spPr>
            <a:xfrm>
              <a:off x="9305925" y="4616083"/>
              <a:ext cx="2478088" cy="8309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54000" bIns="0" rtlCol="0" anchor="ctr">
              <a:spAutoFit/>
            </a:bodyPr>
            <a:lstStyle/>
            <a:p>
              <a:pPr defTabSz="685800">
                <a:defRPr/>
              </a:pPr>
              <a:r>
                <a:rPr lang="en-US" sz="1350" kern="0" dirty="0">
                  <a:solidFill>
                    <a:srgbClr val="B9975B"/>
                  </a:solidFill>
                  <a:latin typeface="DIN-Regular" panose="02000503040000020003" pitchFamily="2" charset="0"/>
                </a:rPr>
                <a:t>Access to highly skilled students as talent of tomorrow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BEC506D-D0BD-96DA-24A8-AB99BC24399E}"/>
              </a:ext>
            </a:extLst>
          </p:cNvPr>
          <p:cNvGrpSpPr/>
          <p:nvPr/>
        </p:nvGrpSpPr>
        <p:grpSpPr>
          <a:xfrm>
            <a:off x="3289500" y="3228294"/>
            <a:ext cx="2565000" cy="623248"/>
            <a:chOff x="4386000" y="4616083"/>
            <a:chExt cx="3420000" cy="830997"/>
          </a:xfrm>
        </p:grpSpPr>
        <p:pic>
          <p:nvPicPr>
            <p:cNvPr id="148" name="Graphic 17">
              <a:extLst>
                <a:ext uri="{FF2B5EF4-FFF2-40B4-BE49-F238E27FC236}">
                  <a16:creationId xmlns:a16="http://schemas.microsoft.com/office/drawing/2014/main" id="{8FEFB603-5B2C-4C3E-BB2E-967D052AC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86000" y="4671582"/>
              <a:ext cx="720000" cy="720000"/>
            </a:xfrm>
            <a:prstGeom prst="rect">
              <a:avLst/>
            </a:prstGeom>
          </p:spPr>
        </p:pic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938B5B25-6DCB-4ADF-B0F2-4CDFCAF96EB9}"/>
                </a:ext>
              </a:extLst>
            </p:cNvPr>
            <p:cNvSpPr/>
            <p:nvPr/>
          </p:nvSpPr>
          <p:spPr>
            <a:xfrm>
              <a:off x="5327912" y="4616083"/>
              <a:ext cx="2478088" cy="8309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54000" bIns="0" rtlCol="0" anchor="ctr">
              <a:spAutoFit/>
            </a:bodyPr>
            <a:lstStyle/>
            <a:p>
              <a:pPr defTabSz="685800">
                <a:defRPr/>
              </a:pPr>
              <a:r>
                <a:rPr lang="en-US" sz="1350" kern="0" dirty="0">
                  <a:solidFill>
                    <a:srgbClr val="003A70"/>
                  </a:solidFill>
                  <a:latin typeface="DIN-Regular" panose="02000503040000020003" pitchFamily="2" charset="0"/>
                </a:rPr>
                <a:t>Existing network within academia, regulation &amp; busines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01B07D3-4D17-D240-D787-CEC2AC07152B}"/>
              </a:ext>
            </a:extLst>
          </p:cNvPr>
          <p:cNvGrpSpPr/>
          <p:nvPr/>
        </p:nvGrpSpPr>
        <p:grpSpPr>
          <a:xfrm>
            <a:off x="305991" y="1526617"/>
            <a:ext cx="2565000" cy="623248"/>
            <a:chOff x="407988" y="2058621"/>
            <a:chExt cx="3420000" cy="830997"/>
          </a:xfrm>
        </p:grpSpPr>
        <p:pic>
          <p:nvPicPr>
            <p:cNvPr id="150" name="Graphic 21">
              <a:extLst>
                <a:ext uri="{FF2B5EF4-FFF2-40B4-BE49-F238E27FC236}">
                  <a16:creationId xmlns:a16="http://schemas.microsoft.com/office/drawing/2014/main" id="{95E56C5E-F316-48CC-ACBC-F55F204C612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07988" y="2114120"/>
              <a:ext cx="720000" cy="720000"/>
            </a:xfrm>
            <a:prstGeom prst="rect">
              <a:avLst/>
            </a:prstGeom>
          </p:spPr>
        </p:pic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9F915D86-8948-4E2A-9B14-91FDDC7CEECB}"/>
                </a:ext>
              </a:extLst>
            </p:cNvPr>
            <p:cNvSpPr/>
            <p:nvPr/>
          </p:nvSpPr>
          <p:spPr>
            <a:xfrm>
              <a:off x="1349900" y="2058621"/>
              <a:ext cx="2478088" cy="8309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54000" bIns="0" rtlCol="0" anchor="ctr">
              <a:spAutoFit/>
            </a:bodyPr>
            <a:lstStyle/>
            <a:p>
              <a:pPr defTabSz="685800">
                <a:defRPr/>
              </a:pPr>
              <a:r>
                <a:rPr lang="en-US" sz="1350" kern="0" dirty="0">
                  <a:solidFill>
                    <a:srgbClr val="1F497D"/>
                  </a:solidFill>
                  <a:latin typeface="DIN-Regular" panose="02000503040000020003" pitchFamily="2" charset="0"/>
                </a:rPr>
                <a:t>Independent and non-for-profit academic institution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486BC74-8DA0-37E7-A9F8-4BC8A56C9380}"/>
              </a:ext>
            </a:extLst>
          </p:cNvPr>
          <p:cNvGrpSpPr/>
          <p:nvPr/>
        </p:nvGrpSpPr>
        <p:grpSpPr>
          <a:xfrm>
            <a:off x="3289500" y="1526617"/>
            <a:ext cx="2565000" cy="623248"/>
            <a:chOff x="4386000" y="1987182"/>
            <a:chExt cx="3420000" cy="830997"/>
          </a:xfrm>
        </p:grpSpPr>
        <p:pic>
          <p:nvPicPr>
            <p:cNvPr id="152" name="Graphic 25">
              <a:extLst>
                <a:ext uri="{FF2B5EF4-FFF2-40B4-BE49-F238E27FC236}">
                  <a16:creationId xmlns:a16="http://schemas.microsoft.com/office/drawing/2014/main" id="{0BF129C3-AE6F-43A5-BFD7-4D5418383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86000" y="2042681"/>
              <a:ext cx="720000" cy="720000"/>
            </a:xfrm>
            <a:prstGeom prst="rect">
              <a:avLst/>
            </a:prstGeom>
          </p:spPr>
        </p:pic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D326481-9021-482B-BA0D-8B098E7C84D0}"/>
                </a:ext>
              </a:extLst>
            </p:cNvPr>
            <p:cNvSpPr/>
            <p:nvPr/>
          </p:nvSpPr>
          <p:spPr>
            <a:xfrm>
              <a:off x="5327912" y="1987182"/>
              <a:ext cx="2478088" cy="8309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54000" bIns="0" rtlCol="0" anchor="ctr">
              <a:spAutoFit/>
            </a:bodyPr>
            <a:lstStyle/>
            <a:p>
              <a:pPr defTabSz="685800">
                <a:defRPr/>
              </a:pPr>
              <a:r>
                <a:rPr lang="en-US" sz="1350" kern="0" dirty="0">
                  <a:solidFill>
                    <a:srgbClr val="B9975B"/>
                  </a:solidFill>
                  <a:latin typeface="DIN-Regular" panose="02000503040000020003" pitchFamily="2" charset="0"/>
                </a:rPr>
                <a:t>Profound expertise in business, technology &amp; regulation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0211902-AAE6-D1B9-DB87-2C81FAC3D696}"/>
              </a:ext>
            </a:extLst>
          </p:cNvPr>
          <p:cNvGrpSpPr/>
          <p:nvPr/>
        </p:nvGrpSpPr>
        <p:grpSpPr>
          <a:xfrm>
            <a:off x="6273010" y="1526617"/>
            <a:ext cx="2565000" cy="623248"/>
            <a:chOff x="8364013" y="1987182"/>
            <a:chExt cx="3420000" cy="830997"/>
          </a:xfrm>
        </p:grpSpPr>
        <p:pic>
          <p:nvPicPr>
            <p:cNvPr id="149" name="Graphic 19">
              <a:extLst>
                <a:ext uri="{FF2B5EF4-FFF2-40B4-BE49-F238E27FC236}">
                  <a16:creationId xmlns:a16="http://schemas.microsoft.com/office/drawing/2014/main" id="{1FFCD5DA-41FF-483E-85BC-95DDA7E295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364013" y="2042681"/>
              <a:ext cx="720000" cy="720000"/>
            </a:xfrm>
            <a:prstGeom prst="rect">
              <a:avLst/>
            </a:prstGeom>
          </p:spPr>
        </p:pic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95D2F386-5569-4A6B-BE33-7BAD149889F7}"/>
                </a:ext>
              </a:extLst>
            </p:cNvPr>
            <p:cNvSpPr/>
            <p:nvPr/>
          </p:nvSpPr>
          <p:spPr>
            <a:xfrm>
              <a:off x="9305925" y="1987182"/>
              <a:ext cx="2478088" cy="8309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54000" bIns="0" rtlCol="0" anchor="ctr">
              <a:spAutoFit/>
            </a:bodyPr>
            <a:lstStyle/>
            <a:p>
              <a:pPr defTabSz="685800">
                <a:defRPr/>
              </a:pPr>
              <a:r>
                <a:rPr lang="en-US" sz="1350" kern="0" dirty="0">
                  <a:solidFill>
                    <a:srgbClr val="7F7F7F"/>
                  </a:solidFill>
                  <a:latin typeface="DIN-Regular" panose="02000503040000020003" pitchFamily="2" charset="0"/>
                </a:rPr>
                <a:t>Location at heart of Europe &amp; quality of local regulator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9B391CD-5F87-A6C6-3B22-46F3C1575B37}"/>
              </a:ext>
            </a:extLst>
          </p:cNvPr>
          <p:cNvSpPr txBox="1"/>
          <p:nvPr/>
        </p:nvSpPr>
        <p:spPr>
          <a:xfrm>
            <a:off x="305992" y="102147"/>
            <a:ext cx="8532020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GB" sz="2000" b="1" dirty="0">
                <a:solidFill>
                  <a:srgbClr val="B9975B"/>
                </a:solidFill>
                <a:latin typeface="DIN-Regular" panose="02000503040000020003" pitchFamily="2" charset="0"/>
              </a:rPr>
              <a:t>HEC PARIS </a:t>
            </a:r>
            <a:r>
              <a:rPr lang="en-GB" sz="2000" b="1" dirty="0">
                <a:solidFill>
                  <a:srgbClr val="1F497D"/>
                </a:solidFill>
                <a:latin typeface="DIN-Regular" panose="02000503040000020003" pitchFamily="2" charset="0"/>
              </a:rPr>
              <a:t>AS A LEADING BUSINESS SCHOOL IS KNOWN FOR ITS RESEARCH QUALITY AND </a:t>
            </a:r>
            <a:r>
              <a:rPr lang="en-GB" sz="2000" b="1" dirty="0">
                <a:solidFill>
                  <a:srgbClr val="B9975B"/>
                </a:solidFill>
                <a:latin typeface="DIN-Regular" panose="02000503040000020003" pitchFamily="2" charset="0"/>
              </a:rPr>
              <a:t>CAN ORCHESTRATE THE ECOSYSTEM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5B05F5A-0051-B0DB-06A5-6D1AE8168F60}"/>
              </a:ext>
            </a:extLst>
          </p:cNvPr>
          <p:cNvCxnSpPr>
            <a:cxnSpLocks/>
          </p:cNvCxnSpPr>
          <p:nvPr/>
        </p:nvCxnSpPr>
        <p:spPr>
          <a:xfrm flipH="1">
            <a:off x="4463144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47F98B3-B6D9-F4E1-8D09-B20BC1E21151}"/>
              </a:ext>
            </a:extLst>
          </p:cNvPr>
          <p:cNvCxnSpPr>
            <a:cxnSpLocks/>
          </p:cNvCxnSpPr>
          <p:nvPr/>
        </p:nvCxnSpPr>
        <p:spPr>
          <a:xfrm>
            <a:off x="2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5">
            <a:extLst>
              <a:ext uri="{FF2B5EF4-FFF2-40B4-BE49-F238E27FC236}">
                <a16:creationId xmlns:a16="http://schemas.microsoft.com/office/drawing/2014/main" id="{A8057D7B-F918-184A-9418-202A154D1688}"/>
              </a:ext>
            </a:extLst>
          </p:cNvPr>
          <p:cNvCxnSpPr>
            <a:cxnSpLocks/>
          </p:cNvCxnSpPr>
          <p:nvPr/>
        </p:nvCxnSpPr>
        <p:spPr>
          <a:xfrm>
            <a:off x="305991" y="2668268"/>
            <a:ext cx="2565000" cy="0"/>
          </a:xfrm>
          <a:prstGeom prst="line">
            <a:avLst/>
          </a:prstGeom>
          <a:ln w="28575"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15">
            <a:extLst>
              <a:ext uri="{FF2B5EF4-FFF2-40B4-BE49-F238E27FC236}">
                <a16:creationId xmlns:a16="http://schemas.microsoft.com/office/drawing/2014/main" id="{CE46FEE5-D80B-1291-08A6-795554C52A5B}"/>
              </a:ext>
            </a:extLst>
          </p:cNvPr>
          <p:cNvCxnSpPr>
            <a:cxnSpLocks/>
          </p:cNvCxnSpPr>
          <p:nvPr/>
        </p:nvCxnSpPr>
        <p:spPr>
          <a:xfrm>
            <a:off x="3289500" y="2668268"/>
            <a:ext cx="2565000" cy="0"/>
          </a:xfrm>
          <a:prstGeom prst="line">
            <a:avLst/>
          </a:prstGeom>
          <a:ln w="28575"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15">
            <a:extLst>
              <a:ext uri="{FF2B5EF4-FFF2-40B4-BE49-F238E27FC236}">
                <a16:creationId xmlns:a16="http://schemas.microsoft.com/office/drawing/2014/main" id="{22822D09-B0F9-CE7C-A746-BDAF61C6C396}"/>
              </a:ext>
            </a:extLst>
          </p:cNvPr>
          <p:cNvCxnSpPr>
            <a:cxnSpLocks/>
          </p:cNvCxnSpPr>
          <p:nvPr/>
        </p:nvCxnSpPr>
        <p:spPr>
          <a:xfrm>
            <a:off x="6273010" y="2668268"/>
            <a:ext cx="2565000" cy="0"/>
          </a:xfrm>
          <a:prstGeom prst="line">
            <a:avLst/>
          </a:prstGeom>
          <a:ln w="28575"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222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36470">
        <p:fade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Connecteur droit 92"/>
          <p:cNvCxnSpPr>
            <a:cxnSpLocks/>
          </p:cNvCxnSpPr>
          <p:nvPr/>
        </p:nvCxnSpPr>
        <p:spPr>
          <a:xfrm>
            <a:off x="7371432" y="3695384"/>
            <a:ext cx="0" cy="523768"/>
          </a:xfrm>
          <a:prstGeom prst="line">
            <a:avLst/>
          </a:prstGeom>
          <a:ln w="9525">
            <a:solidFill>
              <a:srgbClr val="B997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Connecteur droit 82"/>
          <p:cNvCxnSpPr>
            <a:cxnSpLocks/>
          </p:cNvCxnSpPr>
          <p:nvPr/>
        </p:nvCxnSpPr>
        <p:spPr>
          <a:xfrm flipV="1">
            <a:off x="3971222" y="3604512"/>
            <a:ext cx="0" cy="681067"/>
          </a:xfrm>
          <a:prstGeom prst="line">
            <a:avLst/>
          </a:prstGeom>
          <a:ln w="9525">
            <a:solidFill>
              <a:srgbClr val="B997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>
            <a:cxnSpLocks/>
          </p:cNvCxnSpPr>
          <p:nvPr/>
        </p:nvCxnSpPr>
        <p:spPr>
          <a:xfrm flipV="1">
            <a:off x="694529" y="3627963"/>
            <a:ext cx="0" cy="681067"/>
          </a:xfrm>
          <a:prstGeom prst="line">
            <a:avLst/>
          </a:prstGeom>
          <a:ln w="9525">
            <a:solidFill>
              <a:srgbClr val="B997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4507FC35-7D6F-4143-A2FE-103D71167368}"/>
              </a:ext>
            </a:extLst>
          </p:cNvPr>
          <p:cNvSpPr>
            <a:spLocks noChangeAspect="1"/>
          </p:cNvSpPr>
          <p:nvPr/>
        </p:nvSpPr>
        <p:spPr>
          <a:xfrm>
            <a:off x="1953134" y="1653159"/>
            <a:ext cx="1890851" cy="1890851"/>
          </a:xfrm>
          <a:prstGeom prst="ellipse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endParaRPr lang="en-CH" sz="1350" dirty="0">
              <a:solidFill>
                <a:prstClr val="black"/>
              </a:solidFill>
              <a:latin typeface="DIN-Regular" panose="02000503040000020003" pitchFamily="2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0315E68-164B-4F08-866E-9916C4C6540F}"/>
              </a:ext>
            </a:extLst>
          </p:cNvPr>
          <p:cNvSpPr>
            <a:spLocks noChangeAspect="1"/>
          </p:cNvSpPr>
          <p:nvPr/>
        </p:nvSpPr>
        <p:spPr>
          <a:xfrm>
            <a:off x="304525" y="1653159"/>
            <a:ext cx="1890851" cy="1890851"/>
          </a:xfrm>
          <a:prstGeom prst="ellipse">
            <a:avLst/>
          </a:prstGeom>
          <a:solidFill>
            <a:srgbClr val="E3D6BF">
              <a:alpha val="8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endParaRPr lang="en-CH" sz="1350" dirty="0">
              <a:solidFill>
                <a:prstClr val="black"/>
              </a:solidFill>
              <a:latin typeface="DIN-Regular" panose="02000503040000020003" pitchFamily="2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8468BBB-08C5-4727-9D69-372E293DA980}"/>
              </a:ext>
            </a:extLst>
          </p:cNvPr>
          <p:cNvSpPr>
            <a:spLocks noChangeAspect="1"/>
          </p:cNvSpPr>
          <p:nvPr/>
        </p:nvSpPr>
        <p:spPr>
          <a:xfrm>
            <a:off x="3620304" y="1653159"/>
            <a:ext cx="1890851" cy="1890851"/>
          </a:xfrm>
          <a:prstGeom prst="ellipse">
            <a:avLst/>
          </a:prstGeom>
          <a:solidFill>
            <a:srgbClr val="E3D6BF">
              <a:alpha val="8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endParaRPr lang="en-CH" sz="1350" dirty="0">
              <a:solidFill>
                <a:prstClr val="black"/>
              </a:solidFill>
              <a:latin typeface="DIN-Regular" panose="02000503040000020003" pitchFamily="2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D059E21-D552-487F-9B2F-42C1060EF3E8}"/>
              </a:ext>
            </a:extLst>
          </p:cNvPr>
          <p:cNvSpPr>
            <a:spLocks noChangeAspect="1"/>
          </p:cNvSpPr>
          <p:nvPr/>
        </p:nvSpPr>
        <p:spPr>
          <a:xfrm>
            <a:off x="5328920" y="1653159"/>
            <a:ext cx="1890851" cy="1890851"/>
          </a:xfrm>
          <a:prstGeom prst="ellipse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endParaRPr lang="en-CH" sz="1350" dirty="0">
              <a:solidFill>
                <a:prstClr val="black"/>
              </a:solidFill>
              <a:latin typeface="DIN-Regular" panose="02000503040000020003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A722FA1-69ED-4BA1-9784-A8C11A2BA6F6}"/>
              </a:ext>
            </a:extLst>
          </p:cNvPr>
          <p:cNvSpPr>
            <a:spLocks noChangeAspect="1"/>
          </p:cNvSpPr>
          <p:nvPr/>
        </p:nvSpPr>
        <p:spPr>
          <a:xfrm>
            <a:off x="6947159" y="1653159"/>
            <a:ext cx="1890851" cy="1890851"/>
          </a:xfrm>
          <a:prstGeom prst="ellipse">
            <a:avLst/>
          </a:prstGeom>
          <a:solidFill>
            <a:srgbClr val="E3D6BF">
              <a:alpha val="8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endParaRPr lang="en-CH" sz="1350" dirty="0">
              <a:solidFill>
                <a:prstClr val="black"/>
              </a:solidFill>
              <a:latin typeface="DIN-Regular" panose="02000503040000020003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5A6EC1B-DCD7-4094-9779-51D9164DBF8E}"/>
              </a:ext>
            </a:extLst>
          </p:cNvPr>
          <p:cNvSpPr txBox="1"/>
          <p:nvPr/>
        </p:nvSpPr>
        <p:spPr>
          <a:xfrm>
            <a:off x="3484777" y="4042708"/>
            <a:ext cx="2568289" cy="523220"/>
          </a:xfrm>
          <a:prstGeom prst="rect">
            <a:avLst/>
          </a:prstGeom>
          <a:solidFill>
            <a:srgbClr val="B9975B"/>
          </a:solidFill>
          <a:ln w="9525">
            <a:noFill/>
          </a:ln>
          <a:effectLst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CH" sz="1400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Presentations at </a:t>
            </a:r>
          </a:p>
          <a:p>
            <a:pPr algn="ctr" defTabSz="685783">
              <a:defRPr/>
            </a:pPr>
            <a:r>
              <a:rPr lang="en-CH" sz="1400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International Conferenc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2709E32-2C35-4B9F-BF8F-3EA6199A95C9}"/>
              </a:ext>
            </a:extLst>
          </p:cNvPr>
          <p:cNvSpPr txBox="1"/>
          <p:nvPr/>
        </p:nvSpPr>
        <p:spPr>
          <a:xfrm>
            <a:off x="6053066" y="3363297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83">
              <a:defRPr/>
            </a:pPr>
            <a:endParaRPr lang="en-CH" sz="1350" b="1" kern="0" dirty="0">
              <a:solidFill>
                <a:prstClr val="black"/>
              </a:solidFill>
              <a:latin typeface="DIN-Regular" panose="02000503040000020003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2F3F60E-59B5-46E2-AB55-E48E61757EB1}"/>
              </a:ext>
            </a:extLst>
          </p:cNvPr>
          <p:cNvSpPr txBox="1"/>
          <p:nvPr/>
        </p:nvSpPr>
        <p:spPr>
          <a:xfrm>
            <a:off x="6717717" y="4042708"/>
            <a:ext cx="2120294" cy="507831"/>
          </a:xfrm>
          <a:prstGeom prst="rect">
            <a:avLst/>
          </a:prstGeom>
          <a:solidFill>
            <a:srgbClr val="B9975B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CH" sz="1350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in Europe for Research </a:t>
            </a:r>
          </a:p>
          <a:p>
            <a:pPr algn="ctr" defTabSz="685783">
              <a:defRPr/>
            </a:pPr>
            <a:r>
              <a:rPr lang="en-CH" sz="1350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Management</a:t>
            </a:r>
          </a:p>
        </p:txBody>
      </p:sp>
      <p:sp>
        <p:nvSpPr>
          <p:cNvPr id="51" name="Ellipse 50"/>
          <p:cNvSpPr/>
          <p:nvPr/>
        </p:nvSpPr>
        <p:spPr>
          <a:xfrm>
            <a:off x="304525" y="3102592"/>
            <a:ext cx="780011" cy="780011"/>
          </a:xfrm>
          <a:prstGeom prst="ellipse">
            <a:avLst/>
          </a:prstGeom>
          <a:solidFill>
            <a:schemeClr val="bg1"/>
          </a:solidFill>
          <a:ln w="6350">
            <a:solidFill>
              <a:srgbClr val="B9975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89"/>
            <a:r>
              <a:rPr lang="en-CH" sz="1500" b="1" dirty="0">
                <a:solidFill>
                  <a:srgbClr val="B9975B"/>
                </a:solidFill>
                <a:latin typeface="DIN-Regular" panose="02000503040000020003" pitchFamily="2" charset="0"/>
              </a:rPr>
              <a:t>445</a:t>
            </a:r>
          </a:p>
        </p:txBody>
      </p:sp>
      <p:sp>
        <p:nvSpPr>
          <p:cNvPr id="73" name="Ellipse 72"/>
          <p:cNvSpPr/>
          <p:nvPr/>
        </p:nvSpPr>
        <p:spPr>
          <a:xfrm>
            <a:off x="3581218" y="3102592"/>
            <a:ext cx="780011" cy="780011"/>
          </a:xfrm>
          <a:prstGeom prst="ellipse">
            <a:avLst/>
          </a:prstGeom>
          <a:solidFill>
            <a:schemeClr val="bg1"/>
          </a:solidFill>
          <a:ln w="6350">
            <a:solidFill>
              <a:srgbClr val="B9975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89"/>
            <a:r>
              <a:rPr lang="en-CH" sz="1500" b="1" dirty="0">
                <a:solidFill>
                  <a:srgbClr val="B9975B"/>
                </a:solidFill>
                <a:latin typeface="DIN-Regular" panose="02000503040000020003" pitchFamily="2" charset="0"/>
              </a:rPr>
              <a:t>950</a:t>
            </a:r>
          </a:p>
        </p:txBody>
      </p:sp>
      <p:sp>
        <p:nvSpPr>
          <p:cNvPr id="74" name="Ellipse 73"/>
          <p:cNvSpPr/>
          <p:nvPr/>
        </p:nvSpPr>
        <p:spPr>
          <a:xfrm>
            <a:off x="6981427" y="3102592"/>
            <a:ext cx="780011" cy="780011"/>
          </a:xfrm>
          <a:prstGeom prst="ellipse">
            <a:avLst/>
          </a:prstGeom>
          <a:solidFill>
            <a:schemeClr val="bg1"/>
          </a:solidFill>
          <a:ln w="6350">
            <a:solidFill>
              <a:srgbClr val="B9975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89"/>
            <a:r>
              <a:rPr lang="en-CH" sz="1500" b="1" dirty="0">
                <a:solidFill>
                  <a:srgbClr val="B9975B"/>
                </a:solidFill>
                <a:latin typeface="DIN-Regular" panose="02000503040000020003" pitchFamily="2" charset="0"/>
              </a:rPr>
              <a:t>TOP 5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9056E3B-AEC9-4889-B0B3-92C5E5146B8E}"/>
              </a:ext>
            </a:extLst>
          </p:cNvPr>
          <p:cNvSpPr txBox="1"/>
          <p:nvPr/>
        </p:nvSpPr>
        <p:spPr>
          <a:xfrm>
            <a:off x="323520" y="4042708"/>
            <a:ext cx="901209" cy="523220"/>
          </a:xfrm>
          <a:prstGeom prst="rect">
            <a:avLst/>
          </a:prstGeom>
          <a:solidFill>
            <a:srgbClr val="B9975B"/>
          </a:solidFill>
          <a:ln>
            <a:noFill/>
          </a:ln>
          <a:effectLst/>
        </p:spPr>
        <p:txBody>
          <a:bodyPr wrap="none" rtlCol="0">
            <a:spAutoFit/>
          </a:bodyPr>
          <a:lstStyle/>
          <a:p>
            <a:pPr algn="ctr" defTabSz="685783">
              <a:defRPr/>
            </a:pPr>
            <a:r>
              <a:rPr lang="en-CH" sz="1400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Research </a:t>
            </a:r>
          </a:p>
          <a:p>
            <a:pPr algn="ctr" defTabSz="685783">
              <a:defRPr/>
            </a:pPr>
            <a:r>
              <a:rPr lang="en-CH" sz="1400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Articles</a:t>
            </a:r>
          </a:p>
        </p:txBody>
      </p:sp>
      <p:cxnSp>
        <p:nvCxnSpPr>
          <p:cNvPr id="78" name="Connecteur droit 77"/>
          <p:cNvCxnSpPr>
            <a:cxnSpLocks/>
          </p:cNvCxnSpPr>
          <p:nvPr/>
        </p:nvCxnSpPr>
        <p:spPr>
          <a:xfrm>
            <a:off x="2355262" y="1551248"/>
            <a:ext cx="700826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Connecteur droit 78"/>
          <p:cNvCxnSpPr>
            <a:cxnSpLocks/>
          </p:cNvCxnSpPr>
          <p:nvPr/>
        </p:nvCxnSpPr>
        <p:spPr>
          <a:xfrm flipV="1">
            <a:off x="2286093" y="1289404"/>
            <a:ext cx="406405" cy="63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Ellipse 75"/>
          <p:cNvSpPr/>
          <p:nvPr/>
        </p:nvSpPr>
        <p:spPr>
          <a:xfrm>
            <a:off x="2339233" y="1491653"/>
            <a:ext cx="503849" cy="415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r>
              <a:rPr lang="fr-FR" sz="1050" b="1" dirty="0">
                <a:solidFill>
                  <a:srgbClr val="1F497D"/>
                </a:solidFill>
                <a:latin typeface="DIN-Regular" panose="02000503040000020003" pitchFamily="2" charset="0"/>
              </a:rPr>
              <a:t>56</a:t>
            </a:r>
            <a:endParaRPr lang="en-CH" sz="1050" b="1" dirty="0">
              <a:solidFill>
                <a:srgbClr val="1F497D"/>
              </a:solidFill>
              <a:latin typeface="DIN-Regular" panose="02000503040000020003" pitchFamily="2" charset="0"/>
            </a:endParaRPr>
          </a:p>
        </p:txBody>
      </p:sp>
      <p:sp>
        <p:nvSpPr>
          <p:cNvPr id="52" name="Ellipse 51"/>
          <p:cNvSpPr/>
          <p:nvPr/>
        </p:nvSpPr>
        <p:spPr>
          <a:xfrm>
            <a:off x="1953133" y="1061084"/>
            <a:ext cx="594000" cy="594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r>
              <a:rPr lang="en-CH" sz="1050" b="1" dirty="0">
                <a:solidFill>
                  <a:srgbClr val="1F497D"/>
                </a:solidFill>
                <a:latin typeface="DIN-Regular" panose="02000503040000020003" pitchFamily="2" charset="0"/>
              </a:rPr>
              <a:t>1</a:t>
            </a:r>
            <a:r>
              <a:rPr lang="fr-FR" sz="1050" b="1" dirty="0">
                <a:solidFill>
                  <a:srgbClr val="1F497D"/>
                </a:solidFill>
                <a:latin typeface="DIN-Regular" panose="02000503040000020003" pitchFamily="2" charset="0"/>
              </a:rPr>
              <a:t>67</a:t>
            </a:r>
            <a:endParaRPr lang="en-CH" sz="1050" b="1" dirty="0">
              <a:solidFill>
                <a:srgbClr val="1F497D"/>
              </a:solidFill>
              <a:latin typeface="DIN-Regular" panose="02000503040000020003" pitchFamily="2" charset="0"/>
            </a:endParaRPr>
          </a:p>
        </p:txBody>
      </p:sp>
      <p:sp>
        <p:nvSpPr>
          <p:cNvPr id="53" name="TextBox 35">
            <a:extLst>
              <a:ext uri="{FF2B5EF4-FFF2-40B4-BE49-F238E27FC236}">
                <a16:creationId xmlns:a16="http://schemas.microsoft.com/office/drawing/2014/main" id="{75A6EC1B-DCD7-4094-9779-51D9164DBF8E}"/>
              </a:ext>
            </a:extLst>
          </p:cNvPr>
          <p:cNvSpPr txBox="1"/>
          <p:nvPr/>
        </p:nvSpPr>
        <p:spPr>
          <a:xfrm>
            <a:off x="2695408" y="1192608"/>
            <a:ext cx="638316" cy="219291"/>
          </a:xfrm>
          <a:prstGeom prst="rect">
            <a:avLst/>
          </a:prstGeom>
          <a:solidFill>
            <a:schemeClr val="tx2"/>
          </a:solidFill>
          <a:ln>
            <a:solidFill>
              <a:srgbClr val="003A70"/>
            </a:solidFill>
          </a:ln>
          <a:effectLst/>
        </p:spPr>
        <p:txBody>
          <a:bodyPr wrap="none" rtlCol="0">
            <a:spAutoFit/>
          </a:bodyPr>
          <a:lstStyle/>
          <a:p>
            <a:pPr algn="ctr" defTabSz="685783">
              <a:defRPr/>
            </a:pPr>
            <a:r>
              <a:rPr lang="en-CH" sz="825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Professors</a:t>
            </a:r>
          </a:p>
        </p:txBody>
      </p:sp>
      <p:sp>
        <p:nvSpPr>
          <p:cNvPr id="77" name="TextBox 35">
            <a:extLst>
              <a:ext uri="{FF2B5EF4-FFF2-40B4-BE49-F238E27FC236}">
                <a16:creationId xmlns:a16="http://schemas.microsoft.com/office/drawing/2014/main" id="{75A6EC1B-DCD7-4094-9779-51D9164DBF8E}"/>
              </a:ext>
            </a:extLst>
          </p:cNvPr>
          <p:cNvSpPr txBox="1"/>
          <p:nvPr/>
        </p:nvSpPr>
        <p:spPr>
          <a:xfrm>
            <a:off x="2813563" y="1454138"/>
            <a:ext cx="785793" cy="219291"/>
          </a:xfrm>
          <a:prstGeom prst="rect">
            <a:avLst/>
          </a:prstGeom>
          <a:solidFill>
            <a:schemeClr val="tx2"/>
          </a:solidFill>
          <a:ln>
            <a:solidFill>
              <a:srgbClr val="003A70"/>
            </a:solidFill>
          </a:ln>
          <a:effectLst/>
        </p:spPr>
        <p:txBody>
          <a:bodyPr wrap="none" rtlCol="0">
            <a:spAutoFit/>
          </a:bodyPr>
          <a:lstStyle/>
          <a:p>
            <a:pPr algn="ctr" defTabSz="685783">
              <a:defRPr/>
            </a:pPr>
            <a:r>
              <a:rPr lang="en-CH" sz="825" b="1" kern="0" dirty="0">
                <a:solidFill>
                  <a:srgbClr val="84BD00"/>
                </a:solidFill>
                <a:latin typeface="DIN-Regular" panose="02000503040000020003" pitchFamily="2" charset="0"/>
              </a:rPr>
              <a:t>PHD Students</a:t>
            </a:r>
          </a:p>
        </p:txBody>
      </p:sp>
      <p:cxnSp>
        <p:nvCxnSpPr>
          <p:cNvPr id="85" name="Connecteur droit 84"/>
          <p:cNvCxnSpPr>
            <a:cxnSpLocks/>
          </p:cNvCxnSpPr>
          <p:nvPr/>
        </p:nvCxnSpPr>
        <p:spPr>
          <a:xfrm>
            <a:off x="5811540" y="1176411"/>
            <a:ext cx="456808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BE65B671-C9E0-45D9-AFEC-4E5A1CDD8E7A}"/>
              </a:ext>
            </a:extLst>
          </p:cNvPr>
          <p:cNvSpPr txBox="1"/>
          <p:nvPr/>
        </p:nvSpPr>
        <p:spPr>
          <a:xfrm>
            <a:off x="6081077" y="1070113"/>
            <a:ext cx="1495698" cy="219291"/>
          </a:xfrm>
          <a:prstGeom prst="rect">
            <a:avLst/>
          </a:prstGeom>
          <a:solidFill>
            <a:schemeClr val="tx2"/>
          </a:solidFill>
          <a:ln>
            <a:solidFill>
              <a:srgbClr val="003A70"/>
            </a:solidFill>
          </a:ln>
          <a:effectLst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CH" sz="825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International Professors</a:t>
            </a:r>
          </a:p>
        </p:txBody>
      </p:sp>
      <p:cxnSp>
        <p:nvCxnSpPr>
          <p:cNvPr id="84" name="Connecteur droit 83"/>
          <p:cNvCxnSpPr>
            <a:cxnSpLocks/>
          </p:cNvCxnSpPr>
          <p:nvPr/>
        </p:nvCxnSpPr>
        <p:spPr>
          <a:xfrm flipV="1">
            <a:off x="5812314" y="1728672"/>
            <a:ext cx="595036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" name="TextBox 39">
            <a:extLst>
              <a:ext uri="{FF2B5EF4-FFF2-40B4-BE49-F238E27FC236}">
                <a16:creationId xmlns:a16="http://schemas.microsoft.com/office/drawing/2014/main" id="{BE65B671-C9E0-45D9-AFEC-4E5A1CDD8E7A}"/>
              </a:ext>
            </a:extLst>
          </p:cNvPr>
          <p:cNvSpPr txBox="1"/>
          <p:nvPr/>
        </p:nvSpPr>
        <p:spPr>
          <a:xfrm>
            <a:off x="6311832" y="1617851"/>
            <a:ext cx="1345974" cy="219291"/>
          </a:xfrm>
          <a:prstGeom prst="rect">
            <a:avLst/>
          </a:prstGeom>
          <a:solidFill>
            <a:schemeClr val="tx2"/>
          </a:solidFill>
          <a:ln>
            <a:solidFill>
              <a:srgbClr val="003A70"/>
            </a:solidFill>
          </a:ln>
          <a:effectLst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en-CH" sz="825" b="1" kern="0" dirty="0">
                <a:solidFill>
                  <a:prstClr val="white"/>
                </a:solidFill>
                <a:latin typeface="DIN-Regular" panose="02000503040000020003" pitchFamily="2" charset="0"/>
              </a:rPr>
              <a:t>Different Nationalities</a:t>
            </a:r>
          </a:p>
        </p:txBody>
      </p:sp>
      <p:sp>
        <p:nvSpPr>
          <p:cNvPr id="91" name="Ellipse 90"/>
          <p:cNvSpPr/>
          <p:nvPr/>
        </p:nvSpPr>
        <p:spPr>
          <a:xfrm>
            <a:off x="5715019" y="1491653"/>
            <a:ext cx="505497" cy="415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r>
              <a:rPr lang="fr-FR" sz="1050" b="1" dirty="0">
                <a:solidFill>
                  <a:srgbClr val="1F497D"/>
                </a:solidFill>
                <a:latin typeface="DIN-Regular" panose="02000503040000020003" pitchFamily="2" charset="0"/>
              </a:rPr>
              <a:t>30</a:t>
            </a:r>
            <a:endParaRPr lang="en-CH" sz="1050" b="1" dirty="0">
              <a:solidFill>
                <a:srgbClr val="1F497D"/>
              </a:solidFill>
              <a:latin typeface="DIN-Regular" panose="02000503040000020003" pitchFamily="2" charset="0"/>
            </a:endParaRPr>
          </a:p>
        </p:txBody>
      </p:sp>
      <p:sp>
        <p:nvSpPr>
          <p:cNvPr id="75" name="Ellipse 74"/>
          <p:cNvSpPr/>
          <p:nvPr/>
        </p:nvSpPr>
        <p:spPr>
          <a:xfrm>
            <a:off x="5328920" y="1032272"/>
            <a:ext cx="594000" cy="594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r>
              <a:rPr lang="en-CH" sz="1050" b="1" dirty="0">
                <a:solidFill>
                  <a:srgbClr val="1F497D"/>
                </a:solidFill>
                <a:latin typeface="DIN-Regular" panose="02000503040000020003" pitchFamily="2" charset="0"/>
              </a:rPr>
              <a:t>66%</a:t>
            </a:r>
          </a:p>
        </p:txBody>
      </p:sp>
      <p:grpSp>
        <p:nvGrpSpPr>
          <p:cNvPr id="110" name="Business_People2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484668" y="2327121"/>
            <a:ext cx="873963" cy="542925"/>
            <a:chOff x="1575" y="1315"/>
            <a:chExt cx="4533" cy="2816"/>
          </a:xfrm>
          <a:solidFill>
            <a:schemeClr val="tx2"/>
          </a:solidFill>
        </p:grpSpPr>
        <p:sp>
          <p:nvSpPr>
            <p:cNvPr id="111" name="Freeform 168"/>
            <p:cNvSpPr>
              <a:spLocks/>
            </p:cNvSpPr>
            <p:nvPr/>
          </p:nvSpPr>
          <p:spPr bwMode="auto">
            <a:xfrm>
              <a:off x="4728" y="1315"/>
              <a:ext cx="240" cy="422"/>
            </a:xfrm>
            <a:custGeom>
              <a:avLst/>
              <a:gdLst>
                <a:gd name="T0" fmla="*/ 533 w 1233"/>
                <a:gd name="T1" fmla="*/ 27 h 2164"/>
                <a:gd name="T2" fmla="*/ 1025 w 1233"/>
                <a:gd name="T3" fmla="*/ 110 h 2164"/>
                <a:gd name="T4" fmla="*/ 1207 w 1233"/>
                <a:gd name="T5" fmla="*/ 398 h 2164"/>
                <a:gd name="T6" fmla="*/ 1138 w 1233"/>
                <a:gd name="T7" fmla="*/ 1025 h 2164"/>
                <a:gd name="T8" fmla="*/ 943 w 1233"/>
                <a:gd name="T9" fmla="*/ 1783 h 2164"/>
                <a:gd name="T10" fmla="*/ 717 w 1233"/>
                <a:gd name="T11" fmla="*/ 2032 h 2164"/>
                <a:gd name="T12" fmla="*/ 559 w 1233"/>
                <a:gd name="T13" fmla="*/ 2164 h 2164"/>
                <a:gd name="T14" fmla="*/ 146 w 1233"/>
                <a:gd name="T15" fmla="*/ 1812 h 2164"/>
                <a:gd name="T16" fmla="*/ 85 w 1233"/>
                <a:gd name="T17" fmla="*/ 1663 h 2164"/>
                <a:gd name="T18" fmla="*/ 78 w 1233"/>
                <a:gd name="T19" fmla="*/ 1586 h 2164"/>
                <a:gd name="T20" fmla="*/ 0 w 1233"/>
                <a:gd name="T21" fmla="*/ 737 h 2164"/>
                <a:gd name="T22" fmla="*/ 114 w 1233"/>
                <a:gd name="T23" fmla="*/ 279 h 2164"/>
                <a:gd name="T24" fmla="*/ 533 w 1233"/>
                <a:gd name="T25" fmla="*/ 27 h 2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3" h="2164">
                  <a:moveTo>
                    <a:pt x="533" y="27"/>
                  </a:moveTo>
                  <a:cubicBezTo>
                    <a:pt x="699" y="0"/>
                    <a:pt x="880" y="17"/>
                    <a:pt x="1025" y="110"/>
                  </a:cubicBezTo>
                  <a:cubicBezTo>
                    <a:pt x="1124" y="173"/>
                    <a:pt x="1193" y="281"/>
                    <a:pt x="1207" y="398"/>
                  </a:cubicBezTo>
                  <a:cubicBezTo>
                    <a:pt x="1233" y="609"/>
                    <a:pt x="1191" y="821"/>
                    <a:pt x="1138" y="1025"/>
                  </a:cubicBezTo>
                  <a:cubicBezTo>
                    <a:pt x="1071" y="1277"/>
                    <a:pt x="984" y="1524"/>
                    <a:pt x="943" y="1783"/>
                  </a:cubicBezTo>
                  <a:cubicBezTo>
                    <a:pt x="865" y="1863"/>
                    <a:pt x="794" y="1951"/>
                    <a:pt x="717" y="2032"/>
                  </a:cubicBezTo>
                  <a:cubicBezTo>
                    <a:pt x="666" y="2079"/>
                    <a:pt x="612" y="2120"/>
                    <a:pt x="559" y="2164"/>
                  </a:cubicBezTo>
                  <a:cubicBezTo>
                    <a:pt x="418" y="2050"/>
                    <a:pt x="275" y="1939"/>
                    <a:pt x="146" y="1812"/>
                  </a:cubicBezTo>
                  <a:cubicBezTo>
                    <a:pt x="122" y="1764"/>
                    <a:pt x="106" y="1713"/>
                    <a:pt x="85" y="1663"/>
                  </a:cubicBezTo>
                  <a:cubicBezTo>
                    <a:pt x="72" y="1639"/>
                    <a:pt x="78" y="1612"/>
                    <a:pt x="78" y="1586"/>
                  </a:cubicBezTo>
                  <a:cubicBezTo>
                    <a:pt x="86" y="1300"/>
                    <a:pt x="2" y="1022"/>
                    <a:pt x="0" y="737"/>
                  </a:cubicBezTo>
                  <a:cubicBezTo>
                    <a:pt x="0" y="579"/>
                    <a:pt x="32" y="417"/>
                    <a:pt x="114" y="279"/>
                  </a:cubicBezTo>
                  <a:cubicBezTo>
                    <a:pt x="204" y="135"/>
                    <a:pt x="371" y="57"/>
                    <a:pt x="533" y="2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2" name="Freeform 169"/>
            <p:cNvSpPr>
              <a:spLocks noEditPoints="1"/>
            </p:cNvSpPr>
            <p:nvPr/>
          </p:nvSpPr>
          <p:spPr bwMode="auto">
            <a:xfrm>
              <a:off x="1598" y="1364"/>
              <a:ext cx="878" cy="2758"/>
            </a:xfrm>
            <a:custGeom>
              <a:avLst/>
              <a:gdLst>
                <a:gd name="T0" fmla="*/ 3009 w 4512"/>
                <a:gd name="T1" fmla="*/ 230 h 14137"/>
                <a:gd name="T2" fmla="*/ 3167 w 4512"/>
                <a:gd name="T3" fmla="*/ 847 h 14137"/>
                <a:gd name="T4" fmla="*/ 3226 w 4512"/>
                <a:gd name="T5" fmla="*/ 1246 h 14137"/>
                <a:gd name="T6" fmla="*/ 2975 w 4512"/>
                <a:gd name="T7" fmla="*/ 1860 h 14137"/>
                <a:gd name="T8" fmla="*/ 2659 w 4512"/>
                <a:gd name="T9" fmla="*/ 2516 h 14137"/>
                <a:gd name="T10" fmla="*/ 2638 w 4512"/>
                <a:gd name="T11" fmla="*/ 2677 h 14137"/>
                <a:gd name="T12" fmla="*/ 2647 w 4512"/>
                <a:gd name="T13" fmla="*/ 2897 h 14137"/>
                <a:gd name="T14" fmla="*/ 2733 w 4512"/>
                <a:gd name="T15" fmla="*/ 3338 h 14137"/>
                <a:gd name="T16" fmla="*/ 3005 w 4512"/>
                <a:gd name="T17" fmla="*/ 2485 h 14137"/>
                <a:gd name="T18" fmla="*/ 3089 w 4512"/>
                <a:gd name="T19" fmla="*/ 2141 h 14137"/>
                <a:gd name="T20" fmla="*/ 3478 w 4512"/>
                <a:gd name="T21" fmla="*/ 2374 h 14137"/>
                <a:gd name="T22" fmla="*/ 4295 w 4512"/>
                <a:gd name="T23" fmla="*/ 2781 h 14137"/>
                <a:gd name="T24" fmla="*/ 4466 w 4512"/>
                <a:gd name="T25" fmla="*/ 5024 h 14137"/>
                <a:gd name="T26" fmla="*/ 4484 w 4512"/>
                <a:gd name="T27" fmla="*/ 6760 h 14137"/>
                <a:gd name="T28" fmla="*/ 4428 w 4512"/>
                <a:gd name="T29" fmla="*/ 7468 h 14137"/>
                <a:gd name="T30" fmla="*/ 4028 w 4512"/>
                <a:gd name="T31" fmla="*/ 7328 h 14137"/>
                <a:gd name="T32" fmla="*/ 3887 w 4512"/>
                <a:gd name="T33" fmla="*/ 7502 h 14137"/>
                <a:gd name="T34" fmla="*/ 3773 w 4512"/>
                <a:gd name="T35" fmla="*/ 6532 h 14137"/>
                <a:gd name="T36" fmla="*/ 3729 w 4512"/>
                <a:gd name="T37" fmla="*/ 7011 h 14137"/>
                <a:gd name="T38" fmla="*/ 3658 w 4512"/>
                <a:gd name="T39" fmla="*/ 8210 h 14137"/>
                <a:gd name="T40" fmla="*/ 3563 w 4512"/>
                <a:gd name="T41" fmla="*/ 11910 h 14137"/>
                <a:gd name="T42" fmla="*/ 3612 w 4512"/>
                <a:gd name="T43" fmla="*/ 12570 h 14137"/>
                <a:gd name="T44" fmla="*/ 3742 w 4512"/>
                <a:gd name="T45" fmla="*/ 13348 h 14137"/>
                <a:gd name="T46" fmla="*/ 3867 w 4512"/>
                <a:gd name="T47" fmla="*/ 14052 h 14137"/>
                <a:gd name="T48" fmla="*/ 3063 w 4512"/>
                <a:gd name="T49" fmla="*/ 13738 h 14137"/>
                <a:gd name="T50" fmla="*/ 2936 w 4512"/>
                <a:gd name="T51" fmla="*/ 13365 h 14137"/>
                <a:gd name="T52" fmla="*/ 2646 w 4512"/>
                <a:gd name="T53" fmla="*/ 12962 h 14137"/>
                <a:gd name="T54" fmla="*/ 2764 w 4512"/>
                <a:gd name="T55" fmla="*/ 12322 h 14137"/>
                <a:gd name="T56" fmla="*/ 2767 w 4512"/>
                <a:gd name="T57" fmla="*/ 11473 h 14137"/>
                <a:gd name="T58" fmla="*/ 2299 w 4512"/>
                <a:gd name="T59" fmla="*/ 8763 h 14137"/>
                <a:gd name="T60" fmla="*/ 1720 w 4512"/>
                <a:gd name="T61" fmla="*/ 11340 h 14137"/>
                <a:gd name="T62" fmla="*/ 1249 w 4512"/>
                <a:gd name="T63" fmla="*/ 12932 h 14137"/>
                <a:gd name="T64" fmla="*/ 738 w 4512"/>
                <a:gd name="T65" fmla="*/ 13933 h 14137"/>
                <a:gd name="T66" fmla="*/ 93 w 4512"/>
                <a:gd name="T67" fmla="*/ 13958 h 14137"/>
                <a:gd name="T68" fmla="*/ 392 w 4512"/>
                <a:gd name="T69" fmla="*/ 12966 h 14137"/>
                <a:gd name="T70" fmla="*/ 504 w 4512"/>
                <a:gd name="T71" fmla="*/ 11710 h 14137"/>
                <a:gd name="T72" fmla="*/ 796 w 4512"/>
                <a:gd name="T73" fmla="*/ 9747 h 14137"/>
                <a:gd name="T74" fmla="*/ 927 w 4512"/>
                <a:gd name="T75" fmla="*/ 9186 h 14137"/>
                <a:gd name="T76" fmla="*/ 889 w 4512"/>
                <a:gd name="T77" fmla="*/ 7911 h 14137"/>
                <a:gd name="T78" fmla="*/ 704 w 4512"/>
                <a:gd name="T79" fmla="*/ 7498 h 14137"/>
                <a:gd name="T80" fmla="*/ 980 w 4512"/>
                <a:gd name="T81" fmla="*/ 5673 h 14137"/>
                <a:gd name="T82" fmla="*/ 721 w 4512"/>
                <a:gd name="T83" fmla="*/ 6880 h 14137"/>
                <a:gd name="T84" fmla="*/ 317 w 4512"/>
                <a:gd name="T85" fmla="*/ 6752 h 14137"/>
                <a:gd name="T86" fmla="*/ 0 w 4512"/>
                <a:gd name="T87" fmla="*/ 6901 h 14137"/>
                <a:gd name="T88" fmla="*/ 209 w 4512"/>
                <a:gd name="T89" fmla="*/ 5397 h 14137"/>
                <a:gd name="T90" fmla="*/ 261 w 4512"/>
                <a:gd name="T91" fmla="*/ 4725 h 14137"/>
                <a:gd name="T92" fmla="*/ 476 w 4512"/>
                <a:gd name="T93" fmla="*/ 3307 h 14137"/>
                <a:gd name="T94" fmla="*/ 1116 w 4512"/>
                <a:gd name="T95" fmla="*/ 2400 h 14137"/>
                <a:gd name="T96" fmla="*/ 1804 w 4512"/>
                <a:gd name="T97" fmla="*/ 2185 h 14137"/>
                <a:gd name="T98" fmla="*/ 2143 w 4512"/>
                <a:gd name="T99" fmla="*/ 2886 h 14137"/>
                <a:gd name="T100" fmla="*/ 2250 w 4512"/>
                <a:gd name="T101" fmla="*/ 3617 h 14137"/>
                <a:gd name="T102" fmla="*/ 2384 w 4512"/>
                <a:gd name="T103" fmla="*/ 2897 h 14137"/>
                <a:gd name="T104" fmla="*/ 2393 w 4512"/>
                <a:gd name="T105" fmla="*/ 2635 h 14137"/>
                <a:gd name="T106" fmla="*/ 2083 w 4512"/>
                <a:gd name="T107" fmla="*/ 2104 h 14137"/>
                <a:gd name="T108" fmla="*/ 1991 w 4512"/>
                <a:gd name="T109" fmla="*/ 1334 h 14137"/>
                <a:gd name="T110" fmla="*/ 1783 w 4512"/>
                <a:gd name="T111" fmla="*/ 947 h 14137"/>
                <a:gd name="T112" fmla="*/ 1921 w 4512"/>
                <a:gd name="T113" fmla="*/ 911 h 14137"/>
                <a:gd name="T114" fmla="*/ 2362 w 4512"/>
                <a:gd name="T115" fmla="*/ 57 h 14137"/>
                <a:gd name="T116" fmla="*/ 3608 w 4512"/>
                <a:gd name="T117" fmla="*/ 5624 h 14137"/>
                <a:gd name="T118" fmla="*/ 3611 w 4512"/>
                <a:gd name="T119" fmla="*/ 5412 h 14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12" h="14137">
                  <a:moveTo>
                    <a:pt x="2362" y="57"/>
                  </a:moveTo>
                  <a:cubicBezTo>
                    <a:pt x="2588" y="0"/>
                    <a:pt x="2843" y="65"/>
                    <a:pt x="3009" y="230"/>
                  </a:cubicBezTo>
                  <a:cubicBezTo>
                    <a:pt x="3129" y="348"/>
                    <a:pt x="3190" y="519"/>
                    <a:pt x="3185" y="686"/>
                  </a:cubicBezTo>
                  <a:cubicBezTo>
                    <a:pt x="3185" y="741"/>
                    <a:pt x="3171" y="793"/>
                    <a:pt x="3167" y="847"/>
                  </a:cubicBezTo>
                  <a:cubicBezTo>
                    <a:pt x="3172" y="915"/>
                    <a:pt x="3288" y="886"/>
                    <a:pt x="3284" y="960"/>
                  </a:cubicBezTo>
                  <a:cubicBezTo>
                    <a:pt x="3281" y="1057"/>
                    <a:pt x="3281" y="1162"/>
                    <a:pt x="3226" y="1246"/>
                  </a:cubicBezTo>
                  <a:cubicBezTo>
                    <a:pt x="3188" y="1305"/>
                    <a:pt x="3116" y="1332"/>
                    <a:pt x="3048" y="1332"/>
                  </a:cubicBezTo>
                  <a:cubicBezTo>
                    <a:pt x="3002" y="1504"/>
                    <a:pt x="2965" y="1681"/>
                    <a:pt x="2975" y="1860"/>
                  </a:cubicBezTo>
                  <a:cubicBezTo>
                    <a:pt x="2979" y="1929"/>
                    <a:pt x="2997" y="1997"/>
                    <a:pt x="3024" y="2061"/>
                  </a:cubicBezTo>
                  <a:cubicBezTo>
                    <a:pt x="2931" y="2232"/>
                    <a:pt x="2814" y="2395"/>
                    <a:pt x="2659" y="2516"/>
                  </a:cubicBezTo>
                  <a:cubicBezTo>
                    <a:pt x="2629" y="2540"/>
                    <a:pt x="2597" y="2561"/>
                    <a:pt x="2568" y="2586"/>
                  </a:cubicBezTo>
                  <a:cubicBezTo>
                    <a:pt x="2596" y="2612"/>
                    <a:pt x="2613" y="2647"/>
                    <a:pt x="2638" y="2677"/>
                  </a:cubicBezTo>
                  <a:cubicBezTo>
                    <a:pt x="2671" y="2718"/>
                    <a:pt x="2708" y="2758"/>
                    <a:pt x="2728" y="2808"/>
                  </a:cubicBezTo>
                  <a:cubicBezTo>
                    <a:pt x="2707" y="2842"/>
                    <a:pt x="2682" y="2875"/>
                    <a:pt x="2647" y="2897"/>
                  </a:cubicBezTo>
                  <a:cubicBezTo>
                    <a:pt x="2642" y="2967"/>
                    <a:pt x="2683" y="3027"/>
                    <a:pt x="2723" y="3081"/>
                  </a:cubicBezTo>
                  <a:cubicBezTo>
                    <a:pt x="2772" y="3159"/>
                    <a:pt x="2736" y="3253"/>
                    <a:pt x="2733" y="3338"/>
                  </a:cubicBezTo>
                  <a:cubicBezTo>
                    <a:pt x="2761" y="3230"/>
                    <a:pt x="2757" y="3114"/>
                    <a:pt x="2802" y="3011"/>
                  </a:cubicBezTo>
                  <a:cubicBezTo>
                    <a:pt x="2860" y="2832"/>
                    <a:pt x="2951" y="2665"/>
                    <a:pt x="3005" y="2485"/>
                  </a:cubicBezTo>
                  <a:cubicBezTo>
                    <a:pt x="3037" y="2388"/>
                    <a:pt x="3057" y="2287"/>
                    <a:pt x="3070" y="2186"/>
                  </a:cubicBezTo>
                  <a:cubicBezTo>
                    <a:pt x="3070" y="2169"/>
                    <a:pt x="3080" y="2155"/>
                    <a:pt x="3089" y="2141"/>
                  </a:cubicBezTo>
                  <a:cubicBezTo>
                    <a:pt x="3151" y="2172"/>
                    <a:pt x="3177" y="2243"/>
                    <a:pt x="3231" y="2284"/>
                  </a:cubicBezTo>
                  <a:cubicBezTo>
                    <a:pt x="3307" y="2328"/>
                    <a:pt x="3402" y="2327"/>
                    <a:pt x="3478" y="2374"/>
                  </a:cubicBezTo>
                  <a:cubicBezTo>
                    <a:pt x="3688" y="2447"/>
                    <a:pt x="3913" y="2482"/>
                    <a:pt x="4107" y="2595"/>
                  </a:cubicBezTo>
                  <a:cubicBezTo>
                    <a:pt x="4184" y="2640"/>
                    <a:pt x="4253" y="2702"/>
                    <a:pt x="4295" y="2781"/>
                  </a:cubicBezTo>
                  <a:cubicBezTo>
                    <a:pt x="4340" y="2863"/>
                    <a:pt x="4347" y="2958"/>
                    <a:pt x="4365" y="3048"/>
                  </a:cubicBezTo>
                  <a:cubicBezTo>
                    <a:pt x="4484" y="3699"/>
                    <a:pt x="4491" y="4365"/>
                    <a:pt x="4466" y="5024"/>
                  </a:cubicBezTo>
                  <a:cubicBezTo>
                    <a:pt x="4457" y="5357"/>
                    <a:pt x="4443" y="5690"/>
                    <a:pt x="4447" y="6023"/>
                  </a:cubicBezTo>
                  <a:cubicBezTo>
                    <a:pt x="4447" y="6269"/>
                    <a:pt x="4463" y="6515"/>
                    <a:pt x="4484" y="6760"/>
                  </a:cubicBezTo>
                  <a:cubicBezTo>
                    <a:pt x="4503" y="6997"/>
                    <a:pt x="4512" y="7240"/>
                    <a:pt x="4455" y="7473"/>
                  </a:cubicBezTo>
                  <a:cubicBezTo>
                    <a:pt x="4448" y="7472"/>
                    <a:pt x="4434" y="7469"/>
                    <a:pt x="4428" y="7468"/>
                  </a:cubicBezTo>
                  <a:cubicBezTo>
                    <a:pt x="4420" y="7436"/>
                    <a:pt x="4436" y="7384"/>
                    <a:pt x="4398" y="7369"/>
                  </a:cubicBezTo>
                  <a:cubicBezTo>
                    <a:pt x="4278" y="7332"/>
                    <a:pt x="4152" y="7332"/>
                    <a:pt x="4028" y="7328"/>
                  </a:cubicBezTo>
                  <a:cubicBezTo>
                    <a:pt x="3980" y="7326"/>
                    <a:pt x="3933" y="7341"/>
                    <a:pt x="3885" y="7346"/>
                  </a:cubicBezTo>
                  <a:cubicBezTo>
                    <a:pt x="3851" y="7395"/>
                    <a:pt x="3872" y="7451"/>
                    <a:pt x="3887" y="7502"/>
                  </a:cubicBezTo>
                  <a:cubicBezTo>
                    <a:pt x="3850" y="7475"/>
                    <a:pt x="3781" y="7478"/>
                    <a:pt x="3775" y="7422"/>
                  </a:cubicBezTo>
                  <a:cubicBezTo>
                    <a:pt x="3758" y="7126"/>
                    <a:pt x="3784" y="6829"/>
                    <a:pt x="3773" y="6532"/>
                  </a:cubicBezTo>
                  <a:cubicBezTo>
                    <a:pt x="3734" y="6565"/>
                    <a:pt x="3704" y="6610"/>
                    <a:pt x="3699" y="6661"/>
                  </a:cubicBezTo>
                  <a:cubicBezTo>
                    <a:pt x="3685" y="6779"/>
                    <a:pt x="3725" y="6894"/>
                    <a:pt x="3729" y="7011"/>
                  </a:cubicBezTo>
                  <a:cubicBezTo>
                    <a:pt x="3740" y="7269"/>
                    <a:pt x="3747" y="7528"/>
                    <a:pt x="3732" y="7786"/>
                  </a:cubicBezTo>
                  <a:cubicBezTo>
                    <a:pt x="3724" y="7929"/>
                    <a:pt x="3702" y="8073"/>
                    <a:pt x="3658" y="8210"/>
                  </a:cubicBezTo>
                  <a:cubicBezTo>
                    <a:pt x="3605" y="9247"/>
                    <a:pt x="3518" y="10284"/>
                    <a:pt x="3518" y="11323"/>
                  </a:cubicBezTo>
                  <a:cubicBezTo>
                    <a:pt x="3518" y="11520"/>
                    <a:pt x="3557" y="11714"/>
                    <a:pt x="3563" y="11910"/>
                  </a:cubicBezTo>
                  <a:cubicBezTo>
                    <a:pt x="3566" y="12086"/>
                    <a:pt x="3546" y="12277"/>
                    <a:pt x="3642" y="12435"/>
                  </a:cubicBezTo>
                  <a:cubicBezTo>
                    <a:pt x="3675" y="12477"/>
                    <a:pt x="3659" y="12545"/>
                    <a:pt x="3612" y="12570"/>
                  </a:cubicBezTo>
                  <a:cubicBezTo>
                    <a:pt x="3569" y="12599"/>
                    <a:pt x="3503" y="12614"/>
                    <a:pt x="3495" y="12673"/>
                  </a:cubicBezTo>
                  <a:cubicBezTo>
                    <a:pt x="3517" y="12916"/>
                    <a:pt x="3634" y="13134"/>
                    <a:pt x="3742" y="13348"/>
                  </a:cubicBezTo>
                  <a:cubicBezTo>
                    <a:pt x="3841" y="13542"/>
                    <a:pt x="3913" y="13754"/>
                    <a:pt x="3915" y="13973"/>
                  </a:cubicBezTo>
                  <a:cubicBezTo>
                    <a:pt x="3896" y="13999"/>
                    <a:pt x="3897" y="14037"/>
                    <a:pt x="3867" y="14052"/>
                  </a:cubicBezTo>
                  <a:cubicBezTo>
                    <a:pt x="3766" y="14128"/>
                    <a:pt x="3630" y="14137"/>
                    <a:pt x="3513" y="14101"/>
                  </a:cubicBezTo>
                  <a:cubicBezTo>
                    <a:pt x="3324" y="14044"/>
                    <a:pt x="3162" y="13908"/>
                    <a:pt x="3063" y="13738"/>
                  </a:cubicBezTo>
                  <a:cubicBezTo>
                    <a:pt x="3035" y="13692"/>
                    <a:pt x="2994" y="13654"/>
                    <a:pt x="2975" y="13603"/>
                  </a:cubicBezTo>
                  <a:cubicBezTo>
                    <a:pt x="2951" y="13526"/>
                    <a:pt x="2969" y="13441"/>
                    <a:pt x="2936" y="13365"/>
                  </a:cubicBezTo>
                  <a:cubicBezTo>
                    <a:pt x="2890" y="13260"/>
                    <a:pt x="2798" y="13187"/>
                    <a:pt x="2724" y="13103"/>
                  </a:cubicBezTo>
                  <a:cubicBezTo>
                    <a:pt x="2688" y="13062"/>
                    <a:pt x="2653" y="13017"/>
                    <a:pt x="2646" y="12962"/>
                  </a:cubicBezTo>
                  <a:cubicBezTo>
                    <a:pt x="2623" y="12831"/>
                    <a:pt x="2653" y="12698"/>
                    <a:pt x="2697" y="12575"/>
                  </a:cubicBezTo>
                  <a:cubicBezTo>
                    <a:pt x="2723" y="12492"/>
                    <a:pt x="2762" y="12410"/>
                    <a:pt x="2764" y="12322"/>
                  </a:cubicBezTo>
                  <a:cubicBezTo>
                    <a:pt x="2723" y="12206"/>
                    <a:pt x="2727" y="12081"/>
                    <a:pt x="2733" y="11961"/>
                  </a:cubicBezTo>
                  <a:cubicBezTo>
                    <a:pt x="2743" y="11798"/>
                    <a:pt x="2765" y="11636"/>
                    <a:pt x="2767" y="11473"/>
                  </a:cubicBezTo>
                  <a:cubicBezTo>
                    <a:pt x="2761" y="11179"/>
                    <a:pt x="2710" y="10889"/>
                    <a:pt x="2674" y="10599"/>
                  </a:cubicBezTo>
                  <a:cubicBezTo>
                    <a:pt x="2598" y="9978"/>
                    <a:pt x="2477" y="9363"/>
                    <a:pt x="2299" y="8763"/>
                  </a:cubicBezTo>
                  <a:cubicBezTo>
                    <a:pt x="2186" y="9066"/>
                    <a:pt x="2118" y="9382"/>
                    <a:pt x="2055" y="9698"/>
                  </a:cubicBezTo>
                  <a:cubicBezTo>
                    <a:pt x="1949" y="10247"/>
                    <a:pt x="1873" y="10802"/>
                    <a:pt x="1720" y="11340"/>
                  </a:cubicBezTo>
                  <a:cubicBezTo>
                    <a:pt x="1640" y="11639"/>
                    <a:pt x="1551" y="11937"/>
                    <a:pt x="1468" y="12235"/>
                  </a:cubicBezTo>
                  <a:cubicBezTo>
                    <a:pt x="1401" y="12469"/>
                    <a:pt x="1344" y="12707"/>
                    <a:pt x="1249" y="12932"/>
                  </a:cubicBezTo>
                  <a:cubicBezTo>
                    <a:pt x="1181" y="13095"/>
                    <a:pt x="1089" y="13250"/>
                    <a:pt x="963" y="13375"/>
                  </a:cubicBezTo>
                  <a:cubicBezTo>
                    <a:pt x="979" y="13582"/>
                    <a:pt x="897" y="13797"/>
                    <a:pt x="738" y="13933"/>
                  </a:cubicBezTo>
                  <a:cubicBezTo>
                    <a:pt x="615" y="14041"/>
                    <a:pt x="440" y="14097"/>
                    <a:pt x="280" y="14054"/>
                  </a:cubicBezTo>
                  <a:cubicBezTo>
                    <a:pt x="212" y="14035"/>
                    <a:pt x="145" y="14006"/>
                    <a:pt x="93" y="13958"/>
                  </a:cubicBezTo>
                  <a:cubicBezTo>
                    <a:pt x="62" y="13836"/>
                    <a:pt x="77" y="13706"/>
                    <a:pt x="119" y="13588"/>
                  </a:cubicBezTo>
                  <a:cubicBezTo>
                    <a:pt x="192" y="13373"/>
                    <a:pt x="347" y="13192"/>
                    <a:pt x="392" y="12966"/>
                  </a:cubicBezTo>
                  <a:cubicBezTo>
                    <a:pt x="420" y="12839"/>
                    <a:pt x="368" y="12713"/>
                    <a:pt x="375" y="12586"/>
                  </a:cubicBezTo>
                  <a:cubicBezTo>
                    <a:pt x="386" y="12290"/>
                    <a:pt x="458" y="12002"/>
                    <a:pt x="504" y="11710"/>
                  </a:cubicBezTo>
                  <a:cubicBezTo>
                    <a:pt x="592" y="11200"/>
                    <a:pt x="682" y="10689"/>
                    <a:pt x="748" y="10175"/>
                  </a:cubicBezTo>
                  <a:cubicBezTo>
                    <a:pt x="768" y="10033"/>
                    <a:pt x="767" y="9888"/>
                    <a:pt x="796" y="9747"/>
                  </a:cubicBezTo>
                  <a:cubicBezTo>
                    <a:pt x="813" y="9660"/>
                    <a:pt x="856" y="9580"/>
                    <a:pt x="886" y="9496"/>
                  </a:cubicBezTo>
                  <a:cubicBezTo>
                    <a:pt x="923" y="9398"/>
                    <a:pt x="926" y="9290"/>
                    <a:pt x="927" y="9186"/>
                  </a:cubicBezTo>
                  <a:cubicBezTo>
                    <a:pt x="929" y="8968"/>
                    <a:pt x="890" y="8753"/>
                    <a:pt x="869" y="8536"/>
                  </a:cubicBezTo>
                  <a:cubicBezTo>
                    <a:pt x="845" y="8328"/>
                    <a:pt x="844" y="8117"/>
                    <a:pt x="889" y="7911"/>
                  </a:cubicBezTo>
                  <a:cubicBezTo>
                    <a:pt x="864" y="7815"/>
                    <a:pt x="759" y="7770"/>
                    <a:pt x="719" y="7683"/>
                  </a:cubicBezTo>
                  <a:cubicBezTo>
                    <a:pt x="691" y="7625"/>
                    <a:pt x="697" y="7559"/>
                    <a:pt x="704" y="7498"/>
                  </a:cubicBezTo>
                  <a:cubicBezTo>
                    <a:pt x="732" y="7296"/>
                    <a:pt x="797" y="7101"/>
                    <a:pt x="819" y="6897"/>
                  </a:cubicBezTo>
                  <a:cubicBezTo>
                    <a:pt x="859" y="6488"/>
                    <a:pt x="892" y="6076"/>
                    <a:pt x="980" y="5673"/>
                  </a:cubicBezTo>
                  <a:cubicBezTo>
                    <a:pt x="870" y="5895"/>
                    <a:pt x="854" y="6146"/>
                    <a:pt x="823" y="6388"/>
                  </a:cubicBezTo>
                  <a:cubicBezTo>
                    <a:pt x="801" y="6554"/>
                    <a:pt x="780" y="6722"/>
                    <a:pt x="721" y="6880"/>
                  </a:cubicBezTo>
                  <a:cubicBezTo>
                    <a:pt x="638" y="6823"/>
                    <a:pt x="546" y="6759"/>
                    <a:pt x="441" y="6763"/>
                  </a:cubicBezTo>
                  <a:cubicBezTo>
                    <a:pt x="399" y="6764"/>
                    <a:pt x="358" y="6754"/>
                    <a:pt x="317" y="6752"/>
                  </a:cubicBezTo>
                  <a:cubicBezTo>
                    <a:pt x="256" y="6765"/>
                    <a:pt x="200" y="6792"/>
                    <a:pt x="143" y="6815"/>
                  </a:cubicBezTo>
                  <a:cubicBezTo>
                    <a:pt x="91" y="6836"/>
                    <a:pt x="40" y="6860"/>
                    <a:pt x="0" y="6901"/>
                  </a:cubicBezTo>
                  <a:cubicBezTo>
                    <a:pt x="12" y="6591"/>
                    <a:pt x="34" y="6280"/>
                    <a:pt x="70" y="5972"/>
                  </a:cubicBezTo>
                  <a:cubicBezTo>
                    <a:pt x="92" y="5775"/>
                    <a:pt x="186" y="5594"/>
                    <a:pt x="209" y="5397"/>
                  </a:cubicBezTo>
                  <a:cubicBezTo>
                    <a:pt x="227" y="5274"/>
                    <a:pt x="134" y="5170"/>
                    <a:pt x="140" y="5048"/>
                  </a:cubicBezTo>
                  <a:cubicBezTo>
                    <a:pt x="149" y="4929"/>
                    <a:pt x="253" y="4844"/>
                    <a:pt x="261" y="4725"/>
                  </a:cubicBezTo>
                  <a:cubicBezTo>
                    <a:pt x="292" y="4456"/>
                    <a:pt x="194" y="4185"/>
                    <a:pt x="249" y="3917"/>
                  </a:cubicBezTo>
                  <a:cubicBezTo>
                    <a:pt x="302" y="3706"/>
                    <a:pt x="410" y="3514"/>
                    <a:pt x="476" y="3307"/>
                  </a:cubicBezTo>
                  <a:cubicBezTo>
                    <a:pt x="552" y="3059"/>
                    <a:pt x="580" y="2799"/>
                    <a:pt x="657" y="2551"/>
                  </a:cubicBezTo>
                  <a:cubicBezTo>
                    <a:pt x="796" y="2468"/>
                    <a:pt x="961" y="2441"/>
                    <a:pt x="1116" y="2400"/>
                  </a:cubicBezTo>
                  <a:cubicBezTo>
                    <a:pt x="1265" y="2359"/>
                    <a:pt x="1417" y="2333"/>
                    <a:pt x="1565" y="2293"/>
                  </a:cubicBezTo>
                  <a:cubicBezTo>
                    <a:pt x="1649" y="2269"/>
                    <a:pt x="1738" y="2246"/>
                    <a:pt x="1804" y="2185"/>
                  </a:cubicBezTo>
                  <a:cubicBezTo>
                    <a:pt x="1876" y="2119"/>
                    <a:pt x="1937" y="2031"/>
                    <a:pt x="2039" y="2009"/>
                  </a:cubicBezTo>
                  <a:cubicBezTo>
                    <a:pt x="2003" y="2306"/>
                    <a:pt x="2073" y="2600"/>
                    <a:pt x="2143" y="2886"/>
                  </a:cubicBezTo>
                  <a:cubicBezTo>
                    <a:pt x="2156" y="2923"/>
                    <a:pt x="2141" y="2962"/>
                    <a:pt x="2147" y="3000"/>
                  </a:cubicBezTo>
                  <a:cubicBezTo>
                    <a:pt x="2176" y="3206"/>
                    <a:pt x="2190" y="3416"/>
                    <a:pt x="2250" y="3617"/>
                  </a:cubicBezTo>
                  <a:cubicBezTo>
                    <a:pt x="2252" y="3451"/>
                    <a:pt x="2253" y="3286"/>
                    <a:pt x="2252" y="3120"/>
                  </a:cubicBezTo>
                  <a:cubicBezTo>
                    <a:pt x="2272" y="3034"/>
                    <a:pt x="2346" y="2975"/>
                    <a:pt x="2384" y="2897"/>
                  </a:cubicBezTo>
                  <a:cubicBezTo>
                    <a:pt x="2347" y="2866"/>
                    <a:pt x="2302" y="2842"/>
                    <a:pt x="2264" y="2811"/>
                  </a:cubicBezTo>
                  <a:cubicBezTo>
                    <a:pt x="2302" y="2749"/>
                    <a:pt x="2351" y="2694"/>
                    <a:pt x="2393" y="2635"/>
                  </a:cubicBezTo>
                  <a:cubicBezTo>
                    <a:pt x="2413" y="2610"/>
                    <a:pt x="2429" y="2574"/>
                    <a:pt x="2467" y="2575"/>
                  </a:cubicBezTo>
                  <a:cubicBezTo>
                    <a:pt x="2372" y="2392"/>
                    <a:pt x="2161" y="2299"/>
                    <a:pt x="2083" y="2104"/>
                  </a:cubicBezTo>
                  <a:cubicBezTo>
                    <a:pt x="2011" y="1932"/>
                    <a:pt x="2126" y="1748"/>
                    <a:pt x="2078" y="1572"/>
                  </a:cubicBezTo>
                  <a:cubicBezTo>
                    <a:pt x="2055" y="1491"/>
                    <a:pt x="2006" y="1418"/>
                    <a:pt x="1991" y="1334"/>
                  </a:cubicBezTo>
                  <a:cubicBezTo>
                    <a:pt x="1939" y="1333"/>
                    <a:pt x="1889" y="1311"/>
                    <a:pt x="1856" y="1270"/>
                  </a:cubicBezTo>
                  <a:cubicBezTo>
                    <a:pt x="1783" y="1181"/>
                    <a:pt x="1771" y="1058"/>
                    <a:pt x="1783" y="947"/>
                  </a:cubicBezTo>
                  <a:cubicBezTo>
                    <a:pt x="1786" y="923"/>
                    <a:pt x="1801" y="894"/>
                    <a:pt x="1829" y="897"/>
                  </a:cubicBezTo>
                  <a:cubicBezTo>
                    <a:pt x="1860" y="900"/>
                    <a:pt x="1890" y="907"/>
                    <a:pt x="1921" y="911"/>
                  </a:cubicBezTo>
                  <a:cubicBezTo>
                    <a:pt x="1888" y="729"/>
                    <a:pt x="1889" y="534"/>
                    <a:pt x="1971" y="364"/>
                  </a:cubicBezTo>
                  <a:cubicBezTo>
                    <a:pt x="2044" y="208"/>
                    <a:pt x="2197" y="99"/>
                    <a:pt x="2362" y="57"/>
                  </a:cubicBezTo>
                  <a:close/>
                  <a:moveTo>
                    <a:pt x="3611" y="5412"/>
                  </a:moveTo>
                  <a:cubicBezTo>
                    <a:pt x="3607" y="5482"/>
                    <a:pt x="3605" y="5553"/>
                    <a:pt x="3608" y="5624"/>
                  </a:cubicBezTo>
                  <a:cubicBezTo>
                    <a:pt x="3617" y="5877"/>
                    <a:pt x="3651" y="6134"/>
                    <a:pt x="3750" y="6369"/>
                  </a:cubicBezTo>
                  <a:cubicBezTo>
                    <a:pt x="3726" y="6047"/>
                    <a:pt x="3687" y="5726"/>
                    <a:pt x="3611" y="541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3" name="Freeform 170"/>
            <p:cNvSpPr>
              <a:spLocks/>
            </p:cNvSpPr>
            <p:nvPr/>
          </p:nvSpPr>
          <p:spPr bwMode="auto">
            <a:xfrm>
              <a:off x="3668" y="1432"/>
              <a:ext cx="326" cy="462"/>
            </a:xfrm>
            <a:custGeom>
              <a:avLst/>
              <a:gdLst>
                <a:gd name="T0" fmla="*/ 834 w 1670"/>
                <a:gd name="T1" fmla="*/ 21 h 2368"/>
                <a:gd name="T2" fmla="*/ 1263 w 1670"/>
                <a:gd name="T3" fmla="*/ 45 h 2368"/>
                <a:gd name="T4" fmla="*/ 1556 w 1670"/>
                <a:gd name="T5" fmla="*/ 326 h 2368"/>
                <a:gd name="T6" fmla="*/ 1668 w 1670"/>
                <a:gd name="T7" fmla="*/ 910 h 2368"/>
                <a:gd name="T8" fmla="*/ 1612 w 1670"/>
                <a:gd name="T9" fmla="*/ 1537 h 2368"/>
                <a:gd name="T10" fmla="*/ 1556 w 1670"/>
                <a:gd name="T11" fmla="*/ 1606 h 2368"/>
                <a:gd name="T12" fmla="*/ 1207 w 1670"/>
                <a:gd name="T13" fmla="*/ 1839 h 2368"/>
                <a:gd name="T14" fmla="*/ 1172 w 1670"/>
                <a:gd name="T15" fmla="*/ 1910 h 2368"/>
                <a:gd name="T16" fmla="*/ 891 w 1670"/>
                <a:gd name="T17" fmla="*/ 2368 h 2368"/>
                <a:gd name="T18" fmla="*/ 415 w 1670"/>
                <a:gd name="T19" fmla="*/ 1799 h 2368"/>
                <a:gd name="T20" fmla="*/ 445 w 1670"/>
                <a:gd name="T21" fmla="*/ 1671 h 2368"/>
                <a:gd name="T22" fmla="*/ 363 w 1670"/>
                <a:gd name="T23" fmla="*/ 1532 h 2368"/>
                <a:gd name="T24" fmla="*/ 315 w 1670"/>
                <a:gd name="T25" fmla="*/ 1539 h 2368"/>
                <a:gd name="T26" fmla="*/ 224 w 1670"/>
                <a:gd name="T27" fmla="*/ 1735 h 2368"/>
                <a:gd name="T28" fmla="*/ 0 w 1670"/>
                <a:gd name="T29" fmla="*/ 1507 h 2368"/>
                <a:gd name="T30" fmla="*/ 117 w 1670"/>
                <a:gd name="T31" fmla="*/ 809 h 2368"/>
                <a:gd name="T32" fmla="*/ 400 w 1670"/>
                <a:gd name="T33" fmla="*/ 249 h 2368"/>
                <a:gd name="T34" fmla="*/ 834 w 1670"/>
                <a:gd name="T35" fmla="*/ 2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70" h="2368">
                  <a:moveTo>
                    <a:pt x="834" y="21"/>
                  </a:moveTo>
                  <a:cubicBezTo>
                    <a:pt x="976" y="0"/>
                    <a:pt x="1123" y="13"/>
                    <a:pt x="1263" y="45"/>
                  </a:cubicBezTo>
                  <a:cubicBezTo>
                    <a:pt x="1397" y="88"/>
                    <a:pt x="1497" y="202"/>
                    <a:pt x="1556" y="326"/>
                  </a:cubicBezTo>
                  <a:cubicBezTo>
                    <a:pt x="1641" y="508"/>
                    <a:pt x="1664" y="711"/>
                    <a:pt x="1668" y="910"/>
                  </a:cubicBezTo>
                  <a:cubicBezTo>
                    <a:pt x="1670" y="1120"/>
                    <a:pt x="1648" y="1330"/>
                    <a:pt x="1612" y="1537"/>
                  </a:cubicBezTo>
                  <a:cubicBezTo>
                    <a:pt x="1609" y="1570"/>
                    <a:pt x="1578" y="1587"/>
                    <a:pt x="1556" y="1606"/>
                  </a:cubicBezTo>
                  <a:cubicBezTo>
                    <a:pt x="1444" y="1690"/>
                    <a:pt x="1323" y="1760"/>
                    <a:pt x="1207" y="1839"/>
                  </a:cubicBezTo>
                  <a:cubicBezTo>
                    <a:pt x="1202" y="1865"/>
                    <a:pt x="1185" y="1887"/>
                    <a:pt x="1172" y="1910"/>
                  </a:cubicBezTo>
                  <a:cubicBezTo>
                    <a:pt x="1077" y="2062"/>
                    <a:pt x="986" y="2216"/>
                    <a:pt x="891" y="2368"/>
                  </a:cubicBezTo>
                  <a:cubicBezTo>
                    <a:pt x="732" y="2179"/>
                    <a:pt x="573" y="1989"/>
                    <a:pt x="415" y="1799"/>
                  </a:cubicBezTo>
                  <a:cubicBezTo>
                    <a:pt x="436" y="1761"/>
                    <a:pt x="456" y="1716"/>
                    <a:pt x="445" y="1671"/>
                  </a:cubicBezTo>
                  <a:cubicBezTo>
                    <a:pt x="436" y="1616"/>
                    <a:pt x="400" y="1571"/>
                    <a:pt x="363" y="1532"/>
                  </a:cubicBezTo>
                  <a:cubicBezTo>
                    <a:pt x="350" y="1517"/>
                    <a:pt x="324" y="1522"/>
                    <a:pt x="315" y="1539"/>
                  </a:cubicBezTo>
                  <a:cubicBezTo>
                    <a:pt x="270" y="1596"/>
                    <a:pt x="252" y="1668"/>
                    <a:pt x="224" y="1735"/>
                  </a:cubicBezTo>
                  <a:cubicBezTo>
                    <a:pt x="110" y="1700"/>
                    <a:pt x="115" y="1540"/>
                    <a:pt x="0" y="1507"/>
                  </a:cubicBezTo>
                  <a:cubicBezTo>
                    <a:pt x="23" y="1272"/>
                    <a:pt x="55" y="1037"/>
                    <a:pt x="117" y="809"/>
                  </a:cubicBezTo>
                  <a:cubicBezTo>
                    <a:pt x="174" y="607"/>
                    <a:pt x="256" y="405"/>
                    <a:pt x="400" y="249"/>
                  </a:cubicBezTo>
                  <a:cubicBezTo>
                    <a:pt x="512" y="126"/>
                    <a:pt x="668" y="43"/>
                    <a:pt x="834" y="21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4" name="Freeform 171"/>
            <p:cNvSpPr>
              <a:spLocks/>
            </p:cNvSpPr>
            <p:nvPr/>
          </p:nvSpPr>
          <p:spPr bwMode="auto">
            <a:xfrm>
              <a:off x="2864" y="1448"/>
              <a:ext cx="304" cy="403"/>
            </a:xfrm>
            <a:custGeom>
              <a:avLst/>
              <a:gdLst>
                <a:gd name="T0" fmla="*/ 568 w 1562"/>
                <a:gd name="T1" fmla="*/ 69 h 2062"/>
                <a:gd name="T2" fmla="*/ 957 w 1562"/>
                <a:gd name="T3" fmla="*/ 46 h 2062"/>
                <a:gd name="T4" fmla="*/ 1425 w 1562"/>
                <a:gd name="T5" fmla="*/ 428 h 2062"/>
                <a:gd name="T6" fmla="*/ 1557 w 1562"/>
                <a:gd name="T7" fmla="*/ 803 h 2062"/>
                <a:gd name="T8" fmla="*/ 1477 w 1562"/>
                <a:gd name="T9" fmla="*/ 1054 h 2062"/>
                <a:gd name="T10" fmla="*/ 1161 w 1562"/>
                <a:gd name="T11" fmla="*/ 1639 h 2062"/>
                <a:gd name="T12" fmla="*/ 1074 w 1562"/>
                <a:gd name="T13" fmla="*/ 1765 h 2062"/>
                <a:gd name="T14" fmla="*/ 1061 w 1562"/>
                <a:gd name="T15" fmla="*/ 1899 h 2062"/>
                <a:gd name="T16" fmla="*/ 967 w 1562"/>
                <a:gd name="T17" fmla="*/ 2019 h 2062"/>
                <a:gd name="T18" fmla="*/ 898 w 1562"/>
                <a:gd name="T19" fmla="*/ 2062 h 2062"/>
                <a:gd name="T20" fmla="*/ 514 w 1562"/>
                <a:gd name="T21" fmla="*/ 1787 h 2062"/>
                <a:gd name="T22" fmla="*/ 352 w 1562"/>
                <a:gd name="T23" fmla="*/ 1665 h 2062"/>
                <a:gd name="T24" fmla="*/ 226 w 1562"/>
                <a:gd name="T25" fmla="*/ 1545 h 2062"/>
                <a:gd name="T26" fmla="*/ 206 w 1562"/>
                <a:gd name="T27" fmla="*/ 1487 h 2062"/>
                <a:gd name="T28" fmla="*/ 18 w 1562"/>
                <a:gd name="T29" fmla="*/ 1042 h 2062"/>
                <a:gd name="T30" fmla="*/ 58 w 1562"/>
                <a:gd name="T31" fmla="*/ 711 h 2062"/>
                <a:gd name="T32" fmla="*/ 204 w 1562"/>
                <a:gd name="T33" fmla="*/ 455 h 2062"/>
                <a:gd name="T34" fmla="*/ 568 w 1562"/>
                <a:gd name="T35" fmla="*/ 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2" h="2062">
                  <a:moveTo>
                    <a:pt x="568" y="69"/>
                  </a:moveTo>
                  <a:cubicBezTo>
                    <a:pt x="687" y="6"/>
                    <a:pt x="831" y="0"/>
                    <a:pt x="957" y="46"/>
                  </a:cubicBezTo>
                  <a:cubicBezTo>
                    <a:pt x="1151" y="116"/>
                    <a:pt x="1311" y="260"/>
                    <a:pt x="1425" y="428"/>
                  </a:cubicBezTo>
                  <a:cubicBezTo>
                    <a:pt x="1498" y="540"/>
                    <a:pt x="1554" y="668"/>
                    <a:pt x="1557" y="803"/>
                  </a:cubicBezTo>
                  <a:cubicBezTo>
                    <a:pt x="1562" y="894"/>
                    <a:pt x="1505" y="971"/>
                    <a:pt x="1477" y="1054"/>
                  </a:cubicBezTo>
                  <a:cubicBezTo>
                    <a:pt x="1406" y="1265"/>
                    <a:pt x="1291" y="1458"/>
                    <a:pt x="1161" y="1639"/>
                  </a:cubicBezTo>
                  <a:cubicBezTo>
                    <a:pt x="1132" y="1681"/>
                    <a:pt x="1098" y="1720"/>
                    <a:pt x="1074" y="1765"/>
                  </a:cubicBezTo>
                  <a:cubicBezTo>
                    <a:pt x="1068" y="1809"/>
                    <a:pt x="1081" y="1857"/>
                    <a:pt x="1061" y="1899"/>
                  </a:cubicBezTo>
                  <a:cubicBezTo>
                    <a:pt x="1045" y="1949"/>
                    <a:pt x="1000" y="1980"/>
                    <a:pt x="967" y="2019"/>
                  </a:cubicBezTo>
                  <a:cubicBezTo>
                    <a:pt x="949" y="2040"/>
                    <a:pt x="922" y="2050"/>
                    <a:pt x="898" y="2062"/>
                  </a:cubicBezTo>
                  <a:cubicBezTo>
                    <a:pt x="772" y="1968"/>
                    <a:pt x="646" y="1872"/>
                    <a:pt x="514" y="1787"/>
                  </a:cubicBezTo>
                  <a:cubicBezTo>
                    <a:pt x="455" y="1753"/>
                    <a:pt x="405" y="1707"/>
                    <a:pt x="352" y="1665"/>
                  </a:cubicBezTo>
                  <a:cubicBezTo>
                    <a:pt x="306" y="1629"/>
                    <a:pt x="272" y="1580"/>
                    <a:pt x="226" y="1545"/>
                  </a:cubicBezTo>
                  <a:cubicBezTo>
                    <a:pt x="216" y="1527"/>
                    <a:pt x="213" y="1506"/>
                    <a:pt x="206" y="1487"/>
                  </a:cubicBezTo>
                  <a:cubicBezTo>
                    <a:pt x="160" y="1332"/>
                    <a:pt x="46" y="1203"/>
                    <a:pt x="18" y="1042"/>
                  </a:cubicBezTo>
                  <a:cubicBezTo>
                    <a:pt x="0" y="931"/>
                    <a:pt x="6" y="812"/>
                    <a:pt x="58" y="711"/>
                  </a:cubicBezTo>
                  <a:cubicBezTo>
                    <a:pt x="103" y="624"/>
                    <a:pt x="155" y="540"/>
                    <a:pt x="204" y="455"/>
                  </a:cubicBezTo>
                  <a:cubicBezTo>
                    <a:pt x="296" y="304"/>
                    <a:pt x="407" y="152"/>
                    <a:pt x="568" y="69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5" name="Freeform 172"/>
            <p:cNvSpPr>
              <a:spLocks noEditPoints="1"/>
            </p:cNvSpPr>
            <p:nvPr/>
          </p:nvSpPr>
          <p:spPr bwMode="auto">
            <a:xfrm>
              <a:off x="5250" y="1448"/>
              <a:ext cx="858" cy="2677"/>
            </a:xfrm>
            <a:custGeom>
              <a:avLst/>
              <a:gdLst>
                <a:gd name="T0" fmla="*/ 2603 w 4405"/>
                <a:gd name="T1" fmla="*/ 241 h 13716"/>
                <a:gd name="T2" fmla="*/ 3044 w 4405"/>
                <a:gd name="T3" fmla="*/ 996 h 13716"/>
                <a:gd name="T4" fmla="*/ 3221 w 4405"/>
                <a:gd name="T5" fmla="*/ 1430 h 13716"/>
                <a:gd name="T6" fmla="*/ 3589 w 4405"/>
                <a:gd name="T7" fmla="*/ 2342 h 13716"/>
                <a:gd name="T8" fmla="*/ 3972 w 4405"/>
                <a:gd name="T9" fmla="*/ 3755 h 13716"/>
                <a:gd name="T10" fmla="*/ 4375 w 4405"/>
                <a:gd name="T11" fmla="*/ 5405 h 13716"/>
                <a:gd name="T12" fmla="*/ 4073 w 4405"/>
                <a:gd name="T13" fmla="*/ 6485 h 13716"/>
                <a:gd name="T14" fmla="*/ 3893 w 4405"/>
                <a:gd name="T15" fmla="*/ 8166 h 13716"/>
                <a:gd name="T16" fmla="*/ 3566 w 4405"/>
                <a:gd name="T17" fmla="*/ 13104 h 13716"/>
                <a:gd name="T18" fmla="*/ 3318 w 4405"/>
                <a:gd name="T19" fmla="*/ 13681 h 13716"/>
                <a:gd name="T20" fmla="*/ 2755 w 4405"/>
                <a:gd name="T21" fmla="*/ 13425 h 13716"/>
                <a:gd name="T22" fmla="*/ 2816 w 4405"/>
                <a:gd name="T23" fmla="*/ 10941 h 13716"/>
                <a:gd name="T24" fmla="*/ 2520 w 4405"/>
                <a:gd name="T25" fmla="*/ 7465 h 13716"/>
                <a:gd name="T26" fmla="*/ 1757 w 4405"/>
                <a:gd name="T27" fmla="*/ 10093 h 13716"/>
                <a:gd name="T28" fmla="*/ 933 w 4405"/>
                <a:gd name="T29" fmla="*/ 13186 h 13716"/>
                <a:gd name="T30" fmla="*/ 224 w 4405"/>
                <a:gd name="T31" fmla="*/ 13668 h 13716"/>
                <a:gd name="T32" fmla="*/ 10 w 4405"/>
                <a:gd name="T33" fmla="*/ 13204 h 13716"/>
                <a:gd name="T34" fmla="*/ 257 w 4405"/>
                <a:gd name="T35" fmla="*/ 11831 h 13716"/>
                <a:gd name="T36" fmla="*/ 829 w 4405"/>
                <a:gd name="T37" fmla="*/ 9329 h 13716"/>
                <a:gd name="T38" fmla="*/ 620 w 4405"/>
                <a:gd name="T39" fmla="*/ 7951 h 13716"/>
                <a:gd name="T40" fmla="*/ 487 w 4405"/>
                <a:gd name="T41" fmla="*/ 7191 h 13716"/>
                <a:gd name="T42" fmla="*/ 607 w 4405"/>
                <a:gd name="T43" fmla="*/ 5566 h 13716"/>
                <a:gd name="T44" fmla="*/ 765 w 4405"/>
                <a:gd name="T45" fmla="*/ 2630 h 13716"/>
                <a:gd name="T46" fmla="*/ 1269 w 4405"/>
                <a:gd name="T47" fmla="*/ 2131 h 13716"/>
                <a:gd name="T48" fmla="*/ 1362 w 4405"/>
                <a:gd name="T49" fmla="*/ 803 h 13716"/>
                <a:gd name="T50" fmla="*/ 1975 w 4405"/>
                <a:gd name="T51" fmla="*/ 27 h 13716"/>
                <a:gd name="T52" fmla="*/ 1815 w 4405"/>
                <a:gd name="T53" fmla="*/ 3030 h 13716"/>
                <a:gd name="T54" fmla="*/ 2221 w 4405"/>
                <a:gd name="T55" fmla="*/ 4147 h 13716"/>
                <a:gd name="T56" fmla="*/ 2509 w 4405"/>
                <a:gd name="T57" fmla="*/ 3816 h 13716"/>
                <a:gd name="T58" fmla="*/ 2704 w 4405"/>
                <a:gd name="T59" fmla="*/ 2929 h 13716"/>
                <a:gd name="T60" fmla="*/ 2522 w 4405"/>
                <a:gd name="T61" fmla="*/ 2422 h 13716"/>
                <a:gd name="T62" fmla="*/ 1883 w 4405"/>
                <a:gd name="T63" fmla="*/ 2385 h 13716"/>
                <a:gd name="T64" fmla="*/ 3266 w 4405"/>
                <a:gd name="T65" fmla="*/ 4068 h 13716"/>
                <a:gd name="T66" fmla="*/ 3394 w 4405"/>
                <a:gd name="T67" fmla="*/ 4810 h 13716"/>
                <a:gd name="T68" fmla="*/ 3922 w 4405"/>
                <a:gd name="T69" fmla="*/ 5810 h 13716"/>
                <a:gd name="T70" fmla="*/ 3588 w 4405"/>
                <a:gd name="T71" fmla="*/ 4545 h 13716"/>
                <a:gd name="T72" fmla="*/ 3396 w 4405"/>
                <a:gd name="T73" fmla="*/ 3935 h 13716"/>
                <a:gd name="T74" fmla="*/ 1263 w 4405"/>
                <a:gd name="T75" fmla="*/ 4158 h 13716"/>
                <a:gd name="T76" fmla="*/ 1123 w 4405"/>
                <a:gd name="T77" fmla="*/ 6241 h 13716"/>
                <a:gd name="T78" fmla="*/ 1012 w 4405"/>
                <a:gd name="T79" fmla="*/ 7442 h 13716"/>
                <a:gd name="T80" fmla="*/ 1113 w 4405"/>
                <a:gd name="T81" fmla="*/ 7352 h 13716"/>
                <a:gd name="T82" fmla="*/ 1207 w 4405"/>
                <a:gd name="T83" fmla="*/ 6702 h 13716"/>
                <a:gd name="T84" fmla="*/ 1407 w 4405"/>
                <a:gd name="T85" fmla="*/ 4905 h 13716"/>
                <a:gd name="T86" fmla="*/ 2233 w 4405"/>
                <a:gd name="T87" fmla="*/ 6473 h 13716"/>
                <a:gd name="T88" fmla="*/ 2491 w 4405"/>
                <a:gd name="T89" fmla="*/ 5361 h 13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05" h="13716">
                  <a:moveTo>
                    <a:pt x="1975" y="27"/>
                  </a:moveTo>
                  <a:cubicBezTo>
                    <a:pt x="2105" y="3"/>
                    <a:pt x="2244" y="0"/>
                    <a:pt x="2367" y="51"/>
                  </a:cubicBezTo>
                  <a:cubicBezTo>
                    <a:pt x="2463" y="89"/>
                    <a:pt x="2542" y="159"/>
                    <a:pt x="2603" y="241"/>
                  </a:cubicBezTo>
                  <a:cubicBezTo>
                    <a:pt x="2703" y="376"/>
                    <a:pt x="2766" y="533"/>
                    <a:pt x="2855" y="675"/>
                  </a:cubicBezTo>
                  <a:cubicBezTo>
                    <a:pt x="2904" y="747"/>
                    <a:pt x="2981" y="792"/>
                    <a:pt x="3031" y="863"/>
                  </a:cubicBezTo>
                  <a:cubicBezTo>
                    <a:pt x="3057" y="900"/>
                    <a:pt x="3067" y="954"/>
                    <a:pt x="3044" y="996"/>
                  </a:cubicBezTo>
                  <a:cubicBezTo>
                    <a:pt x="3024" y="1026"/>
                    <a:pt x="2995" y="1048"/>
                    <a:pt x="2980" y="1081"/>
                  </a:cubicBezTo>
                  <a:cubicBezTo>
                    <a:pt x="2957" y="1144"/>
                    <a:pt x="2976" y="1223"/>
                    <a:pt x="3034" y="1262"/>
                  </a:cubicBezTo>
                  <a:cubicBezTo>
                    <a:pt x="3099" y="1313"/>
                    <a:pt x="3197" y="1342"/>
                    <a:pt x="3221" y="1430"/>
                  </a:cubicBezTo>
                  <a:cubicBezTo>
                    <a:pt x="3195" y="1682"/>
                    <a:pt x="3176" y="1953"/>
                    <a:pt x="3295" y="2187"/>
                  </a:cubicBezTo>
                  <a:cubicBezTo>
                    <a:pt x="3310" y="2227"/>
                    <a:pt x="3355" y="2240"/>
                    <a:pt x="3392" y="2252"/>
                  </a:cubicBezTo>
                  <a:cubicBezTo>
                    <a:pt x="3460" y="2273"/>
                    <a:pt x="3541" y="2282"/>
                    <a:pt x="3589" y="2342"/>
                  </a:cubicBezTo>
                  <a:cubicBezTo>
                    <a:pt x="3646" y="2420"/>
                    <a:pt x="3675" y="2514"/>
                    <a:pt x="3705" y="2605"/>
                  </a:cubicBezTo>
                  <a:cubicBezTo>
                    <a:pt x="3772" y="2826"/>
                    <a:pt x="3818" y="3053"/>
                    <a:pt x="3859" y="3281"/>
                  </a:cubicBezTo>
                  <a:cubicBezTo>
                    <a:pt x="3890" y="3440"/>
                    <a:pt x="3934" y="3597"/>
                    <a:pt x="3972" y="3755"/>
                  </a:cubicBezTo>
                  <a:cubicBezTo>
                    <a:pt x="4012" y="3923"/>
                    <a:pt x="4010" y="4098"/>
                    <a:pt x="4053" y="4266"/>
                  </a:cubicBezTo>
                  <a:cubicBezTo>
                    <a:pt x="4082" y="4372"/>
                    <a:pt x="4142" y="4465"/>
                    <a:pt x="4177" y="4568"/>
                  </a:cubicBezTo>
                  <a:cubicBezTo>
                    <a:pt x="4270" y="4840"/>
                    <a:pt x="4341" y="5120"/>
                    <a:pt x="4375" y="5405"/>
                  </a:cubicBezTo>
                  <a:cubicBezTo>
                    <a:pt x="4405" y="5642"/>
                    <a:pt x="4392" y="5885"/>
                    <a:pt x="4342" y="6119"/>
                  </a:cubicBezTo>
                  <a:cubicBezTo>
                    <a:pt x="4316" y="6228"/>
                    <a:pt x="4284" y="6346"/>
                    <a:pt x="4199" y="6425"/>
                  </a:cubicBezTo>
                  <a:cubicBezTo>
                    <a:pt x="4165" y="6459"/>
                    <a:pt x="4120" y="6478"/>
                    <a:pt x="4073" y="6485"/>
                  </a:cubicBezTo>
                  <a:cubicBezTo>
                    <a:pt x="4047" y="6576"/>
                    <a:pt x="3960" y="6630"/>
                    <a:pt x="3926" y="6717"/>
                  </a:cubicBezTo>
                  <a:cubicBezTo>
                    <a:pt x="3885" y="6864"/>
                    <a:pt x="3928" y="7017"/>
                    <a:pt x="3921" y="7167"/>
                  </a:cubicBezTo>
                  <a:cubicBezTo>
                    <a:pt x="3909" y="7500"/>
                    <a:pt x="3901" y="7833"/>
                    <a:pt x="3893" y="8166"/>
                  </a:cubicBezTo>
                  <a:cubicBezTo>
                    <a:pt x="3887" y="8462"/>
                    <a:pt x="3872" y="8758"/>
                    <a:pt x="3864" y="9054"/>
                  </a:cubicBezTo>
                  <a:cubicBezTo>
                    <a:pt x="3858" y="9471"/>
                    <a:pt x="3869" y="9888"/>
                    <a:pt x="3847" y="10305"/>
                  </a:cubicBezTo>
                  <a:cubicBezTo>
                    <a:pt x="3779" y="11240"/>
                    <a:pt x="3729" y="12179"/>
                    <a:pt x="3566" y="13104"/>
                  </a:cubicBezTo>
                  <a:cubicBezTo>
                    <a:pt x="3542" y="13226"/>
                    <a:pt x="3515" y="13349"/>
                    <a:pt x="3461" y="13461"/>
                  </a:cubicBezTo>
                  <a:cubicBezTo>
                    <a:pt x="3438" y="13512"/>
                    <a:pt x="3398" y="13554"/>
                    <a:pt x="3347" y="13577"/>
                  </a:cubicBezTo>
                  <a:cubicBezTo>
                    <a:pt x="3338" y="13612"/>
                    <a:pt x="3331" y="13647"/>
                    <a:pt x="3318" y="13681"/>
                  </a:cubicBezTo>
                  <a:cubicBezTo>
                    <a:pt x="3188" y="13713"/>
                    <a:pt x="3052" y="13716"/>
                    <a:pt x="2920" y="13695"/>
                  </a:cubicBezTo>
                  <a:cubicBezTo>
                    <a:pt x="2876" y="13691"/>
                    <a:pt x="2842" y="13657"/>
                    <a:pt x="2825" y="13618"/>
                  </a:cubicBezTo>
                  <a:cubicBezTo>
                    <a:pt x="2797" y="13556"/>
                    <a:pt x="2794" y="13483"/>
                    <a:pt x="2755" y="13425"/>
                  </a:cubicBezTo>
                  <a:cubicBezTo>
                    <a:pt x="2716" y="13364"/>
                    <a:pt x="2662" y="13306"/>
                    <a:pt x="2654" y="13230"/>
                  </a:cubicBezTo>
                  <a:cubicBezTo>
                    <a:pt x="2623" y="13026"/>
                    <a:pt x="2651" y="12819"/>
                    <a:pt x="2677" y="12616"/>
                  </a:cubicBezTo>
                  <a:cubicBezTo>
                    <a:pt x="2756" y="12060"/>
                    <a:pt x="2754" y="11498"/>
                    <a:pt x="2816" y="10941"/>
                  </a:cubicBezTo>
                  <a:cubicBezTo>
                    <a:pt x="2842" y="10721"/>
                    <a:pt x="2873" y="10501"/>
                    <a:pt x="2882" y="10279"/>
                  </a:cubicBezTo>
                  <a:cubicBezTo>
                    <a:pt x="2902" y="9875"/>
                    <a:pt x="2882" y="9470"/>
                    <a:pt x="2858" y="9067"/>
                  </a:cubicBezTo>
                  <a:cubicBezTo>
                    <a:pt x="2833" y="8518"/>
                    <a:pt x="2673" y="7988"/>
                    <a:pt x="2520" y="7465"/>
                  </a:cubicBezTo>
                  <a:cubicBezTo>
                    <a:pt x="2452" y="7543"/>
                    <a:pt x="2413" y="7641"/>
                    <a:pt x="2385" y="7739"/>
                  </a:cubicBezTo>
                  <a:cubicBezTo>
                    <a:pt x="2233" y="8260"/>
                    <a:pt x="2118" y="8792"/>
                    <a:pt x="1977" y="9316"/>
                  </a:cubicBezTo>
                  <a:cubicBezTo>
                    <a:pt x="1908" y="9576"/>
                    <a:pt x="1828" y="9833"/>
                    <a:pt x="1757" y="10093"/>
                  </a:cubicBezTo>
                  <a:cubicBezTo>
                    <a:pt x="1604" y="10644"/>
                    <a:pt x="1464" y="11198"/>
                    <a:pt x="1328" y="11754"/>
                  </a:cubicBezTo>
                  <a:cubicBezTo>
                    <a:pt x="1262" y="12035"/>
                    <a:pt x="1188" y="12315"/>
                    <a:pt x="1102" y="12591"/>
                  </a:cubicBezTo>
                  <a:cubicBezTo>
                    <a:pt x="1042" y="12788"/>
                    <a:pt x="1014" y="12995"/>
                    <a:pt x="933" y="13186"/>
                  </a:cubicBezTo>
                  <a:cubicBezTo>
                    <a:pt x="886" y="13295"/>
                    <a:pt x="812" y="13395"/>
                    <a:pt x="708" y="13455"/>
                  </a:cubicBezTo>
                  <a:cubicBezTo>
                    <a:pt x="683" y="13526"/>
                    <a:pt x="682" y="13610"/>
                    <a:pt x="629" y="13668"/>
                  </a:cubicBezTo>
                  <a:cubicBezTo>
                    <a:pt x="497" y="13698"/>
                    <a:pt x="355" y="13710"/>
                    <a:pt x="224" y="13668"/>
                  </a:cubicBezTo>
                  <a:cubicBezTo>
                    <a:pt x="187" y="13659"/>
                    <a:pt x="161" y="13629"/>
                    <a:pt x="146" y="13597"/>
                  </a:cubicBezTo>
                  <a:cubicBezTo>
                    <a:pt x="116" y="13537"/>
                    <a:pt x="110" y="13470"/>
                    <a:pt x="87" y="13408"/>
                  </a:cubicBezTo>
                  <a:cubicBezTo>
                    <a:pt x="62" y="13340"/>
                    <a:pt x="20" y="13277"/>
                    <a:pt x="10" y="13204"/>
                  </a:cubicBezTo>
                  <a:cubicBezTo>
                    <a:pt x="0" y="13123"/>
                    <a:pt x="32" y="13046"/>
                    <a:pt x="48" y="12968"/>
                  </a:cubicBezTo>
                  <a:cubicBezTo>
                    <a:pt x="77" y="12835"/>
                    <a:pt x="54" y="12697"/>
                    <a:pt x="82" y="12564"/>
                  </a:cubicBezTo>
                  <a:cubicBezTo>
                    <a:pt x="126" y="12317"/>
                    <a:pt x="197" y="12075"/>
                    <a:pt x="257" y="11831"/>
                  </a:cubicBezTo>
                  <a:cubicBezTo>
                    <a:pt x="331" y="11532"/>
                    <a:pt x="390" y="11229"/>
                    <a:pt x="456" y="10928"/>
                  </a:cubicBezTo>
                  <a:cubicBezTo>
                    <a:pt x="511" y="10668"/>
                    <a:pt x="586" y="10413"/>
                    <a:pt x="647" y="10155"/>
                  </a:cubicBezTo>
                  <a:cubicBezTo>
                    <a:pt x="715" y="9881"/>
                    <a:pt x="736" y="9597"/>
                    <a:pt x="829" y="9329"/>
                  </a:cubicBezTo>
                  <a:cubicBezTo>
                    <a:pt x="864" y="9226"/>
                    <a:pt x="917" y="9129"/>
                    <a:pt x="936" y="9021"/>
                  </a:cubicBezTo>
                  <a:cubicBezTo>
                    <a:pt x="951" y="8900"/>
                    <a:pt x="892" y="8788"/>
                    <a:pt x="856" y="8676"/>
                  </a:cubicBezTo>
                  <a:cubicBezTo>
                    <a:pt x="780" y="8434"/>
                    <a:pt x="695" y="8194"/>
                    <a:pt x="620" y="7951"/>
                  </a:cubicBezTo>
                  <a:cubicBezTo>
                    <a:pt x="589" y="7852"/>
                    <a:pt x="549" y="7755"/>
                    <a:pt x="535" y="7652"/>
                  </a:cubicBezTo>
                  <a:cubicBezTo>
                    <a:pt x="524" y="7566"/>
                    <a:pt x="538" y="7478"/>
                    <a:pt x="573" y="7400"/>
                  </a:cubicBezTo>
                  <a:cubicBezTo>
                    <a:pt x="533" y="7336"/>
                    <a:pt x="489" y="7269"/>
                    <a:pt x="487" y="7191"/>
                  </a:cubicBezTo>
                  <a:cubicBezTo>
                    <a:pt x="485" y="7094"/>
                    <a:pt x="513" y="6999"/>
                    <a:pt x="526" y="6903"/>
                  </a:cubicBezTo>
                  <a:cubicBezTo>
                    <a:pt x="575" y="6602"/>
                    <a:pt x="665" y="6300"/>
                    <a:pt x="634" y="5992"/>
                  </a:cubicBezTo>
                  <a:cubicBezTo>
                    <a:pt x="624" y="5850"/>
                    <a:pt x="608" y="5709"/>
                    <a:pt x="607" y="5566"/>
                  </a:cubicBezTo>
                  <a:cubicBezTo>
                    <a:pt x="606" y="4891"/>
                    <a:pt x="614" y="4215"/>
                    <a:pt x="658" y="3541"/>
                  </a:cubicBezTo>
                  <a:cubicBezTo>
                    <a:pt x="671" y="3334"/>
                    <a:pt x="673" y="3125"/>
                    <a:pt x="698" y="2918"/>
                  </a:cubicBezTo>
                  <a:cubicBezTo>
                    <a:pt x="710" y="2821"/>
                    <a:pt x="724" y="2721"/>
                    <a:pt x="765" y="2630"/>
                  </a:cubicBezTo>
                  <a:cubicBezTo>
                    <a:pt x="797" y="2559"/>
                    <a:pt x="871" y="2520"/>
                    <a:pt x="940" y="2490"/>
                  </a:cubicBezTo>
                  <a:cubicBezTo>
                    <a:pt x="1050" y="2441"/>
                    <a:pt x="1170" y="2412"/>
                    <a:pt x="1270" y="2342"/>
                  </a:cubicBezTo>
                  <a:cubicBezTo>
                    <a:pt x="1289" y="2273"/>
                    <a:pt x="1279" y="2200"/>
                    <a:pt x="1269" y="2131"/>
                  </a:cubicBezTo>
                  <a:cubicBezTo>
                    <a:pt x="1241" y="1966"/>
                    <a:pt x="1162" y="1817"/>
                    <a:pt x="1122" y="1656"/>
                  </a:cubicBezTo>
                  <a:cubicBezTo>
                    <a:pt x="1091" y="1536"/>
                    <a:pt x="1085" y="1409"/>
                    <a:pt x="1112" y="1288"/>
                  </a:cubicBezTo>
                  <a:cubicBezTo>
                    <a:pt x="1145" y="1103"/>
                    <a:pt x="1306" y="978"/>
                    <a:pt x="1362" y="803"/>
                  </a:cubicBezTo>
                  <a:cubicBezTo>
                    <a:pt x="1384" y="731"/>
                    <a:pt x="1411" y="661"/>
                    <a:pt x="1442" y="593"/>
                  </a:cubicBezTo>
                  <a:cubicBezTo>
                    <a:pt x="1510" y="441"/>
                    <a:pt x="1583" y="285"/>
                    <a:pt x="1705" y="168"/>
                  </a:cubicBezTo>
                  <a:cubicBezTo>
                    <a:pt x="1778" y="95"/>
                    <a:pt x="1873" y="44"/>
                    <a:pt x="1975" y="27"/>
                  </a:cubicBezTo>
                  <a:close/>
                  <a:moveTo>
                    <a:pt x="1753" y="2256"/>
                  </a:moveTo>
                  <a:cubicBezTo>
                    <a:pt x="1758" y="2351"/>
                    <a:pt x="1774" y="2446"/>
                    <a:pt x="1773" y="2541"/>
                  </a:cubicBezTo>
                  <a:cubicBezTo>
                    <a:pt x="1775" y="2705"/>
                    <a:pt x="1801" y="2867"/>
                    <a:pt x="1815" y="3030"/>
                  </a:cubicBezTo>
                  <a:cubicBezTo>
                    <a:pt x="1830" y="3200"/>
                    <a:pt x="1853" y="3371"/>
                    <a:pt x="1873" y="3541"/>
                  </a:cubicBezTo>
                  <a:cubicBezTo>
                    <a:pt x="1906" y="3611"/>
                    <a:pt x="1947" y="3678"/>
                    <a:pt x="1981" y="3748"/>
                  </a:cubicBezTo>
                  <a:cubicBezTo>
                    <a:pt x="2050" y="3887"/>
                    <a:pt x="2141" y="4014"/>
                    <a:pt x="2221" y="4147"/>
                  </a:cubicBezTo>
                  <a:cubicBezTo>
                    <a:pt x="2266" y="4226"/>
                    <a:pt x="2322" y="4299"/>
                    <a:pt x="2372" y="4375"/>
                  </a:cubicBezTo>
                  <a:cubicBezTo>
                    <a:pt x="2387" y="4293"/>
                    <a:pt x="2395" y="4209"/>
                    <a:pt x="2414" y="4127"/>
                  </a:cubicBezTo>
                  <a:cubicBezTo>
                    <a:pt x="2448" y="4024"/>
                    <a:pt x="2477" y="3920"/>
                    <a:pt x="2509" y="3816"/>
                  </a:cubicBezTo>
                  <a:cubicBezTo>
                    <a:pt x="2532" y="3737"/>
                    <a:pt x="2568" y="3662"/>
                    <a:pt x="2576" y="3580"/>
                  </a:cubicBezTo>
                  <a:cubicBezTo>
                    <a:pt x="2596" y="3450"/>
                    <a:pt x="2612" y="3319"/>
                    <a:pt x="2653" y="3194"/>
                  </a:cubicBezTo>
                  <a:cubicBezTo>
                    <a:pt x="2681" y="3108"/>
                    <a:pt x="2693" y="3018"/>
                    <a:pt x="2704" y="2929"/>
                  </a:cubicBezTo>
                  <a:cubicBezTo>
                    <a:pt x="2707" y="2824"/>
                    <a:pt x="2701" y="2720"/>
                    <a:pt x="2710" y="2616"/>
                  </a:cubicBezTo>
                  <a:cubicBezTo>
                    <a:pt x="2723" y="2492"/>
                    <a:pt x="2689" y="2370"/>
                    <a:pt x="2678" y="2247"/>
                  </a:cubicBezTo>
                  <a:cubicBezTo>
                    <a:pt x="2631" y="2310"/>
                    <a:pt x="2585" y="2374"/>
                    <a:pt x="2522" y="2422"/>
                  </a:cubicBezTo>
                  <a:cubicBezTo>
                    <a:pt x="2415" y="2457"/>
                    <a:pt x="2303" y="2468"/>
                    <a:pt x="2191" y="2477"/>
                  </a:cubicBezTo>
                  <a:cubicBezTo>
                    <a:pt x="2128" y="2472"/>
                    <a:pt x="2066" y="2461"/>
                    <a:pt x="2004" y="2449"/>
                  </a:cubicBezTo>
                  <a:cubicBezTo>
                    <a:pt x="1962" y="2431"/>
                    <a:pt x="1922" y="2408"/>
                    <a:pt x="1883" y="2385"/>
                  </a:cubicBezTo>
                  <a:cubicBezTo>
                    <a:pt x="1837" y="2344"/>
                    <a:pt x="1797" y="2299"/>
                    <a:pt x="1753" y="2256"/>
                  </a:cubicBezTo>
                  <a:close/>
                  <a:moveTo>
                    <a:pt x="3297" y="3809"/>
                  </a:moveTo>
                  <a:cubicBezTo>
                    <a:pt x="3271" y="3893"/>
                    <a:pt x="3272" y="3981"/>
                    <a:pt x="3266" y="4068"/>
                  </a:cubicBezTo>
                  <a:cubicBezTo>
                    <a:pt x="3247" y="4150"/>
                    <a:pt x="3240" y="4233"/>
                    <a:pt x="3233" y="4317"/>
                  </a:cubicBezTo>
                  <a:cubicBezTo>
                    <a:pt x="3236" y="4385"/>
                    <a:pt x="3245" y="4454"/>
                    <a:pt x="3263" y="4520"/>
                  </a:cubicBezTo>
                  <a:cubicBezTo>
                    <a:pt x="3301" y="4619"/>
                    <a:pt x="3348" y="4715"/>
                    <a:pt x="3394" y="4810"/>
                  </a:cubicBezTo>
                  <a:cubicBezTo>
                    <a:pt x="3503" y="5017"/>
                    <a:pt x="3571" y="5241"/>
                    <a:pt x="3661" y="5456"/>
                  </a:cubicBezTo>
                  <a:cubicBezTo>
                    <a:pt x="3724" y="5604"/>
                    <a:pt x="3759" y="5762"/>
                    <a:pt x="3832" y="5907"/>
                  </a:cubicBezTo>
                  <a:cubicBezTo>
                    <a:pt x="3865" y="5877"/>
                    <a:pt x="3894" y="5844"/>
                    <a:pt x="3922" y="5810"/>
                  </a:cubicBezTo>
                  <a:cubicBezTo>
                    <a:pt x="3944" y="5755"/>
                    <a:pt x="3961" y="5694"/>
                    <a:pt x="3942" y="5636"/>
                  </a:cubicBezTo>
                  <a:cubicBezTo>
                    <a:pt x="3909" y="5433"/>
                    <a:pt x="3811" y="5250"/>
                    <a:pt x="3730" y="5063"/>
                  </a:cubicBezTo>
                  <a:cubicBezTo>
                    <a:pt x="3669" y="4894"/>
                    <a:pt x="3645" y="4715"/>
                    <a:pt x="3588" y="4545"/>
                  </a:cubicBezTo>
                  <a:cubicBezTo>
                    <a:pt x="3570" y="4479"/>
                    <a:pt x="3533" y="4420"/>
                    <a:pt x="3517" y="4353"/>
                  </a:cubicBezTo>
                  <a:cubicBezTo>
                    <a:pt x="3497" y="4276"/>
                    <a:pt x="3457" y="4205"/>
                    <a:pt x="3442" y="4126"/>
                  </a:cubicBezTo>
                  <a:cubicBezTo>
                    <a:pt x="3425" y="4063"/>
                    <a:pt x="3416" y="3997"/>
                    <a:pt x="3396" y="3935"/>
                  </a:cubicBezTo>
                  <a:cubicBezTo>
                    <a:pt x="3375" y="3891"/>
                    <a:pt x="3354" y="3847"/>
                    <a:pt x="3343" y="3800"/>
                  </a:cubicBezTo>
                  <a:cubicBezTo>
                    <a:pt x="3328" y="3803"/>
                    <a:pt x="3312" y="3806"/>
                    <a:pt x="3297" y="3809"/>
                  </a:cubicBezTo>
                  <a:close/>
                  <a:moveTo>
                    <a:pt x="1263" y="4158"/>
                  </a:moveTo>
                  <a:cubicBezTo>
                    <a:pt x="1256" y="4248"/>
                    <a:pt x="1252" y="4338"/>
                    <a:pt x="1248" y="4428"/>
                  </a:cubicBezTo>
                  <a:cubicBezTo>
                    <a:pt x="1237" y="4712"/>
                    <a:pt x="1217" y="4995"/>
                    <a:pt x="1201" y="5279"/>
                  </a:cubicBezTo>
                  <a:cubicBezTo>
                    <a:pt x="1183" y="5600"/>
                    <a:pt x="1136" y="5919"/>
                    <a:pt x="1123" y="6241"/>
                  </a:cubicBezTo>
                  <a:cubicBezTo>
                    <a:pt x="1115" y="6416"/>
                    <a:pt x="1104" y="6591"/>
                    <a:pt x="1095" y="6766"/>
                  </a:cubicBezTo>
                  <a:cubicBezTo>
                    <a:pt x="1096" y="6916"/>
                    <a:pt x="1099" y="7069"/>
                    <a:pt x="1059" y="7215"/>
                  </a:cubicBezTo>
                  <a:cubicBezTo>
                    <a:pt x="1040" y="7290"/>
                    <a:pt x="1062" y="7377"/>
                    <a:pt x="1012" y="7442"/>
                  </a:cubicBezTo>
                  <a:cubicBezTo>
                    <a:pt x="1018" y="7465"/>
                    <a:pt x="1022" y="7489"/>
                    <a:pt x="1034" y="7510"/>
                  </a:cubicBezTo>
                  <a:cubicBezTo>
                    <a:pt x="1056" y="7530"/>
                    <a:pt x="1081" y="7546"/>
                    <a:pt x="1105" y="7564"/>
                  </a:cubicBezTo>
                  <a:cubicBezTo>
                    <a:pt x="1106" y="7493"/>
                    <a:pt x="1101" y="7422"/>
                    <a:pt x="1113" y="7352"/>
                  </a:cubicBezTo>
                  <a:cubicBezTo>
                    <a:pt x="1138" y="7177"/>
                    <a:pt x="1158" y="7002"/>
                    <a:pt x="1197" y="6830"/>
                  </a:cubicBezTo>
                  <a:cubicBezTo>
                    <a:pt x="1217" y="6784"/>
                    <a:pt x="1248" y="6745"/>
                    <a:pt x="1272" y="6702"/>
                  </a:cubicBezTo>
                  <a:cubicBezTo>
                    <a:pt x="1250" y="6702"/>
                    <a:pt x="1229" y="6702"/>
                    <a:pt x="1207" y="6702"/>
                  </a:cubicBezTo>
                  <a:cubicBezTo>
                    <a:pt x="1226" y="6569"/>
                    <a:pt x="1246" y="6437"/>
                    <a:pt x="1264" y="6304"/>
                  </a:cubicBezTo>
                  <a:cubicBezTo>
                    <a:pt x="1291" y="6143"/>
                    <a:pt x="1292" y="5979"/>
                    <a:pt x="1306" y="5817"/>
                  </a:cubicBezTo>
                  <a:cubicBezTo>
                    <a:pt x="1323" y="5512"/>
                    <a:pt x="1349" y="5206"/>
                    <a:pt x="1407" y="4905"/>
                  </a:cubicBezTo>
                  <a:cubicBezTo>
                    <a:pt x="1414" y="4813"/>
                    <a:pt x="1414" y="4719"/>
                    <a:pt x="1392" y="4629"/>
                  </a:cubicBezTo>
                  <a:cubicBezTo>
                    <a:pt x="1355" y="4471"/>
                    <a:pt x="1294" y="4318"/>
                    <a:pt x="1263" y="4158"/>
                  </a:cubicBezTo>
                  <a:close/>
                  <a:moveTo>
                    <a:pt x="2233" y="6473"/>
                  </a:moveTo>
                  <a:cubicBezTo>
                    <a:pt x="2360" y="6469"/>
                    <a:pt x="2488" y="6467"/>
                    <a:pt x="2616" y="6461"/>
                  </a:cubicBezTo>
                  <a:cubicBezTo>
                    <a:pt x="2745" y="6450"/>
                    <a:pt x="2874" y="6438"/>
                    <a:pt x="3002" y="6426"/>
                  </a:cubicBezTo>
                  <a:cubicBezTo>
                    <a:pt x="2830" y="6071"/>
                    <a:pt x="2663" y="5715"/>
                    <a:pt x="2491" y="5361"/>
                  </a:cubicBezTo>
                  <a:cubicBezTo>
                    <a:pt x="2407" y="5732"/>
                    <a:pt x="2318" y="6102"/>
                    <a:pt x="2233" y="647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6" name="Freeform 173"/>
            <p:cNvSpPr>
              <a:spLocks noEditPoints="1"/>
            </p:cNvSpPr>
            <p:nvPr/>
          </p:nvSpPr>
          <p:spPr bwMode="auto">
            <a:xfrm>
              <a:off x="4396" y="1679"/>
              <a:ext cx="869" cy="2452"/>
            </a:xfrm>
            <a:custGeom>
              <a:avLst/>
              <a:gdLst>
                <a:gd name="T0" fmla="*/ 1728 w 4458"/>
                <a:gd name="T1" fmla="*/ 0 h 12566"/>
                <a:gd name="T2" fmla="*/ 2020 w 4458"/>
                <a:gd name="T3" fmla="*/ 714 h 12566"/>
                <a:gd name="T4" fmla="*/ 2167 w 4458"/>
                <a:gd name="T5" fmla="*/ 547 h 12566"/>
                <a:gd name="T6" fmla="*/ 2075 w 4458"/>
                <a:gd name="T7" fmla="*/ 437 h 12566"/>
                <a:gd name="T8" fmla="*/ 2390 w 4458"/>
                <a:gd name="T9" fmla="*/ 418 h 12566"/>
                <a:gd name="T10" fmla="*/ 2317 w 4458"/>
                <a:gd name="T11" fmla="*/ 520 h 12566"/>
                <a:gd name="T12" fmla="*/ 2403 w 4458"/>
                <a:gd name="T13" fmla="*/ 1147 h 12566"/>
                <a:gd name="T14" fmla="*/ 2624 w 4458"/>
                <a:gd name="T15" fmla="*/ 284 h 12566"/>
                <a:gd name="T16" fmla="*/ 3290 w 4458"/>
                <a:gd name="T17" fmla="*/ 389 h 12566"/>
                <a:gd name="T18" fmla="*/ 4009 w 4458"/>
                <a:gd name="T19" fmla="*/ 835 h 12566"/>
                <a:gd name="T20" fmla="*/ 4118 w 4458"/>
                <a:gd name="T21" fmla="*/ 2946 h 12566"/>
                <a:gd name="T22" fmla="*/ 3719 w 4458"/>
                <a:gd name="T23" fmla="*/ 3815 h 12566"/>
                <a:gd name="T24" fmla="*/ 3563 w 4458"/>
                <a:gd name="T25" fmla="*/ 4582 h 12566"/>
                <a:gd name="T26" fmla="*/ 3524 w 4458"/>
                <a:gd name="T27" fmla="*/ 5034 h 12566"/>
                <a:gd name="T28" fmla="*/ 3704 w 4458"/>
                <a:gd name="T29" fmla="*/ 6394 h 12566"/>
                <a:gd name="T30" fmla="*/ 3965 w 4458"/>
                <a:gd name="T31" fmla="*/ 8795 h 12566"/>
                <a:gd name="T32" fmla="*/ 3911 w 4458"/>
                <a:gd name="T33" fmla="*/ 11371 h 12566"/>
                <a:gd name="T34" fmla="*/ 3808 w 4458"/>
                <a:gd name="T35" fmla="*/ 11456 h 12566"/>
                <a:gd name="T36" fmla="*/ 4269 w 4458"/>
                <a:gd name="T37" fmla="*/ 12088 h 12566"/>
                <a:gd name="T38" fmla="*/ 3808 w 4458"/>
                <a:gd name="T39" fmla="*/ 12462 h 12566"/>
                <a:gd name="T40" fmla="*/ 3404 w 4458"/>
                <a:gd name="T41" fmla="*/ 11997 h 12566"/>
                <a:gd name="T42" fmla="*/ 2970 w 4458"/>
                <a:gd name="T43" fmla="*/ 9923 h 12566"/>
                <a:gd name="T44" fmla="*/ 2965 w 4458"/>
                <a:gd name="T45" fmla="*/ 8771 h 12566"/>
                <a:gd name="T46" fmla="*/ 2835 w 4458"/>
                <a:gd name="T47" fmla="*/ 7996 h 12566"/>
                <a:gd name="T48" fmla="*/ 2627 w 4458"/>
                <a:gd name="T49" fmla="*/ 7465 h 12566"/>
                <a:gd name="T50" fmla="*/ 2077 w 4458"/>
                <a:gd name="T51" fmla="*/ 5734 h 12566"/>
                <a:gd name="T52" fmla="*/ 1840 w 4458"/>
                <a:gd name="T53" fmla="*/ 8384 h 12566"/>
                <a:gd name="T54" fmla="*/ 1822 w 4458"/>
                <a:gd name="T55" fmla="*/ 9832 h 12566"/>
                <a:gd name="T56" fmla="*/ 1970 w 4458"/>
                <a:gd name="T57" fmla="*/ 11019 h 12566"/>
                <a:gd name="T58" fmla="*/ 1855 w 4458"/>
                <a:gd name="T59" fmla="*/ 11035 h 12566"/>
                <a:gd name="T60" fmla="*/ 2053 w 4458"/>
                <a:gd name="T61" fmla="*/ 12053 h 12566"/>
                <a:gd name="T62" fmla="*/ 1329 w 4458"/>
                <a:gd name="T63" fmla="*/ 11913 h 12566"/>
                <a:gd name="T64" fmla="*/ 1228 w 4458"/>
                <a:gd name="T65" fmla="*/ 11397 h 12566"/>
                <a:gd name="T66" fmla="*/ 1170 w 4458"/>
                <a:gd name="T67" fmla="*/ 11100 h 12566"/>
                <a:gd name="T68" fmla="*/ 1026 w 4458"/>
                <a:gd name="T69" fmla="*/ 10196 h 12566"/>
                <a:gd name="T70" fmla="*/ 818 w 4458"/>
                <a:gd name="T71" fmla="*/ 6772 h 12566"/>
                <a:gd name="T72" fmla="*/ 749 w 4458"/>
                <a:gd name="T73" fmla="*/ 4458 h 12566"/>
                <a:gd name="T74" fmla="*/ 575 w 4458"/>
                <a:gd name="T75" fmla="*/ 4007 h 12566"/>
                <a:gd name="T76" fmla="*/ 22 w 4458"/>
                <a:gd name="T77" fmla="*/ 3047 h 12566"/>
                <a:gd name="T78" fmla="*/ 149 w 4458"/>
                <a:gd name="T79" fmla="*/ 1334 h 12566"/>
                <a:gd name="T80" fmla="*/ 631 w 4458"/>
                <a:gd name="T81" fmla="*/ 616 h 12566"/>
                <a:gd name="T82" fmla="*/ 1324 w 4458"/>
                <a:gd name="T83" fmla="*/ 225 h 12566"/>
                <a:gd name="T84" fmla="*/ 2011 w 4458"/>
                <a:gd name="T85" fmla="*/ 3886 h 12566"/>
                <a:gd name="T86" fmla="*/ 2457 w 4458"/>
                <a:gd name="T87" fmla="*/ 3651 h 12566"/>
                <a:gd name="T88" fmla="*/ 2261 w 4458"/>
                <a:gd name="T89" fmla="*/ 3599 h 12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8" h="12566">
                  <a:moveTo>
                    <a:pt x="1324" y="225"/>
                  </a:moveTo>
                  <a:cubicBezTo>
                    <a:pt x="1457" y="147"/>
                    <a:pt x="1593" y="74"/>
                    <a:pt x="1728" y="0"/>
                  </a:cubicBezTo>
                  <a:cubicBezTo>
                    <a:pt x="1778" y="124"/>
                    <a:pt x="1824" y="250"/>
                    <a:pt x="1885" y="369"/>
                  </a:cubicBezTo>
                  <a:cubicBezTo>
                    <a:pt x="1943" y="478"/>
                    <a:pt x="1975" y="599"/>
                    <a:pt x="2020" y="714"/>
                  </a:cubicBezTo>
                  <a:cubicBezTo>
                    <a:pt x="2038" y="754"/>
                    <a:pt x="2060" y="792"/>
                    <a:pt x="2077" y="832"/>
                  </a:cubicBezTo>
                  <a:cubicBezTo>
                    <a:pt x="2108" y="737"/>
                    <a:pt x="2138" y="642"/>
                    <a:pt x="2167" y="547"/>
                  </a:cubicBezTo>
                  <a:cubicBezTo>
                    <a:pt x="2145" y="533"/>
                    <a:pt x="2123" y="519"/>
                    <a:pt x="2104" y="502"/>
                  </a:cubicBezTo>
                  <a:cubicBezTo>
                    <a:pt x="2092" y="482"/>
                    <a:pt x="2084" y="459"/>
                    <a:pt x="2075" y="437"/>
                  </a:cubicBezTo>
                  <a:cubicBezTo>
                    <a:pt x="2136" y="390"/>
                    <a:pt x="2199" y="345"/>
                    <a:pt x="2261" y="298"/>
                  </a:cubicBezTo>
                  <a:cubicBezTo>
                    <a:pt x="2303" y="339"/>
                    <a:pt x="2347" y="379"/>
                    <a:pt x="2390" y="418"/>
                  </a:cubicBezTo>
                  <a:cubicBezTo>
                    <a:pt x="2391" y="446"/>
                    <a:pt x="2390" y="474"/>
                    <a:pt x="2391" y="502"/>
                  </a:cubicBezTo>
                  <a:cubicBezTo>
                    <a:pt x="2366" y="509"/>
                    <a:pt x="2342" y="515"/>
                    <a:pt x="2317" y="520"/>
                  </a:cubicBezTo>
                  <a:cubicBezTo>
                    <a:pt x="2352" y="635"/>
                    <a:pt x="2376" y="752"/>
                    <a:pt x="2398" y="870"/>
                  </a:cubicBezTo>
                  <a:cubicBezTo>
                    <a:pt x="2403" y="962"/>
                    <a:pt x="2397" y="1054"/>
                    <a:pt x="2403" y="1147"/>
                  </a:cubicBezTo>
                  <a:cubicBezTo>
                    <a:pt x="2432" y="974"/>
                    <a:pt x="2471" y="803"/>
                    <a:pt x="2516" y="634"/>
                  </a:cubicBezTo>
                  <a:cubicBezTo>
                    <a:pt x="2542" y="515"/>
                    <a:pt x="2582" y="399"/>
                    <a:pt x="2624" y="284"/>
                  </a:cubicBezTo>
                  <a:cubicBezTo>
                    <a:pt x="2649" y="203"/>
                    <a:pt x="2691" y="125"/>
                    <a:pt x="2694" y="38"/>
                  </a:cubicBezTo>
                  <a:cubicBezTo>
                    <a:pt x="2914" y="115"/>
                    <a:pt x="3081" y="289"/>
                    <a:pt x="3290" y="389"/>
                  </a:cubicBezTo>
                  <a:cubicBezTo>
                    <a:pt x="3481" y="475"/>
                    <a:pt x="3696" y="514"/>
                    <a:pt x="3867" y="640"/>
                  </a:cubicBezTo>
                  <a:cubicBezTo>
                    <a:pt x="3933" y="688"/>
                    <a:pt x="3985" y="756"/>
                    <a:pt x="4009" y="835"/>
                  </a:cubicBezTo>
                  <a:cubicBezTo>
                    <a:pt x="4111" y="1136"/>
                    <a:pt x="4118" y="1456"/>
                    <a:pt x="4131" y="1771"/>
                  </a:cubicBezTo>
                  <a:cubicBezTo>
                    <a:pt x="4142" y="2163"/>
                    <a:pt x="4142" y="2555"/>
                    <a:pt x="4118" y="2946"/>
                  </a:cubicBezTo>
                  <a:cubicBezTo>
                    <a:pt x="4109" y="3060"/>
                    <a:pt x="4108" y="3177"/>
                    <a:pt x="4066" y="3285"/>
                  </a:cubicBezTo>
                  <a:cubicBezTo>
                    <a:pt x="3991" y="3485"/>
                    <a:pt x="3845" y="3646"/>
                    <a:pt x="3719" y="3815"/>
                  </a:cubicBezTo>
                  <a:cubicBezTo>
                    <a:pt x="3595" y="3981"/>
                    <a:pt x="3467" y="4145"/>
                    <a:pt x="3354" y="4319"/>
                  </a:cubicBezTo>
                  <a:cubicBezTo>
                    <a:pt x="3388" y="4431"/>
                    <a:pt x="3491" y="4496"/>
                    <a:pt x="3563" y="4582"/>
                  </a:cubicBezTo>
                  <a:cubicBezTo>
                    <a:pt x="3591" y="4615"/>
                    <a:pt x="3616" y="4659"/>
                    <a:pt x="3604" y="4703"/>
                  </a:cubicBezTo>
                  <a:cubicBezTo>
                    <a:pt x="3535" y="4798"/>
                    <a:pt x="3525" y="4920"/>
                    <a:pt x="3524" y="5034"/>
                  </a:cubicBezTo>
                  <a:cubicBezTo>
                    <a:pt x="3520" y="5252"/>
                    <a:pt x="3553" y="5469"/>
                    <a:pt x="3594" y="5683"/>
                  </a:cubicBezTo>
                  <a:cubicBezTo>
                    <a:pt x="3646" y="5917"/>
                    <a:pt x="3665" y="6157"/>
                    <a:pt x="3704" y="6394"/>
                  </a:cubicBezTo>
                  <a:cubicBezTo>
                    <a:pt x="3795" y="7030"/>
                    <a:pt x="3850" y="7670"/>
                    <a:pt x="3909" y="8309"/>
                  </a:cubicBezTo>
                  <a:cubicBezTo>
                    <a:pt x="3924" y="8471"/>
                    <a:pt x="3974" y="8631"/>
                    <a:pt x="3965" y="8795"/>
                  </a:cubicBezTo>
                  <a:cubicBezTo>
                    <a:pt x="3936" y="9425"/>
                    <a:pt x="3844" y="10052"/>
                    <a:pt x="3851" y="10683"/>
                  </a:cubicBezTo>
                  <a:cubicBezTo>
                    <a:pt x="3855" y="10913"/>
                    <a:pt x="3870" y="11144"/>
                    <a:pt x="3911" y="11371"/>
                  </a:cubicBezTo>
                  <a:cubicBezTo>
                    <a:pt x="3917" y="11389"/>
                    <a:pt x="3910" y="11407"/>
                    <a:pt x="3903" y="11424"/>
                  </a:cubicBezTo>
                  <a:cubicBezTo>
                    <a:pt x="3872" y="11435"/>
                    <a:pt x="3837" y="11439"/>
                    <a:pt x="3808" y="11456"/>
                  </a:cubicBezTo>
                  <a:cubicBezTo>
                    <a:pt x="3792" y="11465"/>
                    <a:pt x="3806" y="11484"/>
                    <a:pt x="3811" y="11496"/>
                  </a:cubicBezTo>
                  <a:cubicBezTo>
                    <a:pt x="3932" y="11716"/>
                    <a:pt x="4117" y="11890"/>
                    <a:pt x="4269" y="12088"/>
                  </a:cubicBezTo>
                  <a:cubicBezTo>
                    <a:pt x="4356" y="12202"/>
                    <a:pt x="4433" y="12330"/>
                    <a:pt x="4458" y="12474"/>
                  </a:cubicBezTo>
                  <a:cubicBezTo>
                    <a:pt x="4252" y="12566"/>
                    <a:pt x="4014" y="12540"/>
                    <a:pt x="3808" y="12462"/>
                  </a:cubicBezTo>
                  <a:cubicBezTo>
                    <a:pt x="3698" y="12419"/>
                    <a:pt x="3591" y="12367"/>
                    <a:pt x="3492" y="12303"/>
                  </a:cubicBezTo>
                  <a:cubicBezTo>
                    <a:pt x="3429" y="12213"/>
                    <a:pt x="3433" y="12097"/>
                    <a:pt x="3404" y="11997"/>
                  </a:cubicBezTo>
                  <a:cubicBezTo>
                    <a:pt x="3273" y="11932"/>
                    <a:pt x="3115" y="11898"/>
                    <a:pt x="3020" y="11777"/>
                  </a:cubicBezTo>
                  <a:cubicBezTo>
                    <a:pt x="3069" y="11158"/>
                    <a:pt x="2934" y="10542"/>
                    <a:pt x="2970" y="9923"/>
                  </a:cubicBezTo>
                  <a:cubicBezTo>
                    <a:pt x="2985" y="9772"/>
                    <a:pt x="3021" y="9623"/>
                    <a:pt x="3021" y="9471"/>
                  </a:cubicBezTo>
                  <a:cubicBezTo>
                    <a:pt x="3019" y="9237"/>
                    <a:pt x="2973" y="9005"/>
                    <a:pt x="2965" y="8771"/>
                  </a:cubicBezTo>
                  <a:cubicBezTo>
                    <a:pt x="2960" y="8599"/>
                    <a:pt x="3015" y="8429"/>
                    <a:pt x="2993" y="8257"/>
                  </a:cubicBezTo>
                  <a:cubicBezTo>
                    <a:pt x="2974" y="8152"/>
                    <a:pt x="2881" y="8087"/>
                    <a:pt x="2835" y="7996"/>
                  </a:cubicBezTo>
                  <a:cubicBezTo>
                    <a:pt x="2783" y="7895"/>
                    <a:pt x="2811" y="7774"/>
                    <a:pt x="2758" y="7674"/>
                  </a:cubicBezTo>
                  <a:cubicBezTo>
                    <a:pt x="2722" y="7599"/>
                    <a:pt x="2651" y="7546"/>
                    <a:pt x="2627" y="7465"/>
                  </a:cubicBezTo>
                  <a:cubicBezTo>
                    <a:pt x="2584" y="7320"/>
                    <a:pt x="2604" y="7167"/>
                    <a:pt x="2574" y="7020"/>
                  </a:cubicBezTo>
                  <a:cubicBezTo>
                    <a:pt x="2489" y="6564"/>
                    <a:pt x="2263" y="6154"/>
                    <a:pt x="2077" y="5734"/>
                  </a:cubicBezTo>
                  <a:cubicBezTo>
                    <a:pt x="1950" y="6025"/>
                    <a:pt x="1974" y="6350"/>
                    <a:pt x="1994" y="6659"/>
                  </a:cubicBezTo>
                  <a:cubicBezTo>
                    <a:pt x="2034" y="7239"/>
                    <a:pt x="1877" y="7808"/>
                    <a:pt x="1840" y="8384"/>
                  </a:cubicBezTo>
                  <a:cubicBezTo>
                    <a:pt x="1825" y="8563"/>
                    <a:pt x="1830" y="8742"/>
                    <a:pt x="1827" y="8920"/>
                  </a:cubicBezTo>
                  <a:cubicBezTo>
                    <a:pt x="1821" y="9224"/>
                    <a:pt x="1816" y="9528"/>
                    <a:pt x="1822" y="9832"/>
                  </a:cubicBezTo>
                  <a:cubicBezTo>
                    <a:pt x="1833" y="10188"/>
                    <a:pt x="1855" y="10546"/>
                    <a:pt x="1938" y="10893"/>
                  </a:cubicBezTo>
                  <a:cubicBezTo>
                    <a:pt x="1948" y="10935"/>
                    <a:pt x="1964" y="10976"/>
                    <a:pt x="1970" y="11019"/>
                  </a:cubicBezTo>
                  <a:cubicBezTo>
                    <a:pt x="1975" y="11037"/>
                    <a:pt x="1964" y="11052"/>
                    <a:pt x="1951" y="11063"/>
                  </a:cubicBezTo>
                  <a:cubicBezTo>
                    <a:pt x="1920" y="11053"/>
                    <a:pt x="1888" y="11042"/>
                    <a:pt x="1855" y="11035"/>
                  </a:cubicBezTo>
                  <a:cubicBezTo>
                    <a:pt x="1872" y="11292"/>
                    <a:pt x="2007" y="11520"/>
                    <a:pt x="2058" y="11770"/>
                  </a:cubicBezTo>
                  <a:cubicBezTo>
                    <a:pt x="2077" y="11863"/>
                    <a:pt x="2078" y="11961"/>
                    <a:pt x="2053" y="12053"/>
                  </a:cubicBezTo>
                  <a:cubicBezTo>
                    <a:pt x="1927" y="12125"/>
                    <a:pt x="1777" y="12161"/>
                    <a:pt x="1634" y="12129"/>
                  </a:cubicBezTo>
                  <a:cubicBezTo>
                    <a:pt x="1508" y="12102"/>
                    <a:pt x="1399" y="12020"/>
                    <a:pt x="1329" y="11913"/>
                  </a:cubicBezTo>
                  <a:cubicBezTo>
                    <a:pt x="1314" y="11889"/>
                    <a:pt x="1293" y="11866"/>
                    <a:pt x="1292" y="11836"/>
                  </a:cubicBezTo>
                  <a:cubicBezTo>
                    <a:pt x="1280" y="11688"/>
                    <a:pt x="1249" y="11543"/>
                    <a:pt x="1228" y="11397"/>
                  </a:cubicBezTo>
                  <a:cubicBezTo>
                    <a:pt x="1216" y="11310"/>
                    <a:pt x="1220" y="11214"/>
                    <a:pt x="1274" y="11140"/>
                  </a:cubicBezTo>
                  <a:cubicBezTo>
                    <a:pt x="1239" y="11127"/>
                    <a:pt x="1193" y="11133"/>
                    <a:pt x="1170" y="11100"/>
                  </a:cubicBezTo>
                  <a:cubicBezTo>
                    <a:pt x="1083" y="10989"/>
                    <a:pt x="1054" y="10846"/>
                    <a:pt x="1045" y="10709"/>
                  </a:cubicBezTo>
                  <a:cubicBezTo>
                    <a:pt x="1035" y="10538"/>
                    <a:pt x="1044" y="10366"/>
                    <a:pt x="1026" y="10196"/>
                  </a:cubicBezTo>
                  <a:cubicBezTo>
                    <a:pt x="947" y="9569"/>
                    <a:pt x="912" y="8938"/>
                    <a:pt x="884" y="8308"/>
                  </a:cubicBezTo>
                  <a:cubicBezTo>
                    <a:pt x="859" y="7796"/>
                    <a:pt x="848" y="7283"/>
                    <a:pt x="818" y="6772"/>
                  </a:cubicBezTo>
                  <a:cubicBezTo>
                    <a:pt x="766" y="6156"/>
                    <a:pt x="632" y="5542"/>
                    <a:pt x="675" y="4921"/>
                  </a:cubicBezTo>
                  <a:cubicBezTo>
                    <a:pt x="682" y="4764"/>
                    <a:pt x="701" y="4607"/>
                    <a:pt x="749" y="4458"/>
                  </a:cubicBezTo>
                  <a:cubicBezTo>
                    <a:pt x="765" y="4392"/>
                    <a:pt x="792" y="4328"/>
                    <a:pt x="797" y="4260"/>
                  </a:cubicBezTo>
                  <a:cubicBezTo>
                    <a:pt x="735" y="4166"/>
                    <a:pt x="652" y="4088"/>
                    <a:pt x="575" y="4007"/>
                  </a:cubicBezTo>
                  <a:cubicBezTo>
                    <a:pt x="435" y="3867"/>
                    <a:pt x="295" y="3723"/>
                    <a:pt x="191" y="3553"/>
                  </a:cubicBezTo>
                  <a:cubicBezTo>
                    <a:pt x="96" y="3401"/>
                    <a:pt x="36" y="3226"/>
                    <a:pt x="22" y="3047"/>
                  </a:cubicBezTo>
                  <a:cubicBezTo>
                    <a:pt x="0" y="2763"/>
                    <a:pt x="33" y="2479"/>
                    <a:pt x="58" y="2196"/>
                  </a:cubicBezTo>
                  <a:cubicBezTo>
                    <a:pt x="88" y="1909"/>
                    <a:pt x="101" y="1619"/>
                    <a:pt x="149" y="1334"/>
                  </a:cubicBezTo>
                  <a:cubicBezTo>
                    <a:pt x="173" y="1200"/>
                    <a:pt x="201" y="1063"/>
                    <a:pt x="271" y="944"/>
                  </a:cubicBezTo>
                  <a:cubicBezTo>
                    <a:pt x="356" y="802"/>
                    <a:pt x="491" y="700"/>
                    <a:pt x="631" y="616"/>
                  </a:cubicBezTo>
                  <a:cubicBezTo>
                    <a:pt x="763" y="537"/>
                    <a:pt x="902" y="472"/>
                    <a:pt x="1037" y="398"/>
                  </a:cubicBezTo>
                  <a:cubicBezTo>
                    <a:pt x="1135" y="345"/>
                    <a:pt x="1227" y="281"/>
                    <a:pt x="1324" y="225"/>
                  </a:cubicBezTo>
                  <a:close/>
                  <a:moveTo>
                    <a:pt x="2111" y="3423"/>
                  </a:moveTo>
                  <a:cubicBezTo>
                    <a:pt x="2087" y="3579"/>
                    <a:pt x="2042" y="3731"/>
                    <a:pt x="2011" y="3886"/>
                  </a:cubicBezTo>
                  <a:cubicBezTo>
                    <a:pt x="2176" y="3917"/>
                    <a:pt x="2344" y="3901"/>
                    <a:pt x="2511" y="3904"/>
                  </a:cubicBezTo>
                  <a:cubicBezTo>
                    <a:pt x="2494" y="3820"/>
                    <a:pt x="2473" y="3736"/>
                    <a:pt x="2457" y="3651"/>
                  </a:cubicBezTo>
                  <a:cubicBezTo>
                    <a:pt x="2448" y="3579"/>
                    <a:pt x="2444" y="3506"/>
                    <a:pt x="2437" y="3433"/>
                  </a:cubicBezTo>
                  <a:cubicBezTo>
                    <a:pt x="2378" y="3489"/>
                    <a:pt x="2319" y="3544"/>
                    <a:pt x="2261" y="3599"/>
                  </a:cubicBezTo>
                  <a:cubicBezTo>
                    <a:pt x="2210" y="3541"/>
                    <a:pt x="2161" y="3482"/>
                    <a:pt x="2111" y="3423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7" name="Freeform 174"/>
            <p:cNvSpPr>
              <a:spLocks noEditPoints="1"/>
            </p:cNvSpPr>
            <p:nvPr/>
          </p:nvSpPr>
          <p:spPr bwMode="auto">
            <a:xfrm>
              <a:off x="2436" y="1775"/>
              <a:ext cx="907" cy="2316"/>
            </a:xfrm>
            <a:custGeom>
              <a:avLst/>
              <a:gdLst>
                <a:gd name="T0" fmla="*/ 2391 w 4657"/>
                <a:gd name="T1" fmla="*/ 0 h 11868"/>
                <a:gd name="T2" fmla="*/ 2700 w 4657"/>
                <a:gd name="T3" fmla="*/ 532 h 11868"/>
                <a:gd name="T4" fmla="*/ 3074 w 4657"/>
                <a:gd name="T5" fmla="*/ 1458 h 11868"/>
                <a:gd name="T6" fmla="*/ 3053 w 4657"/>
                <a:gd name="T7" fmla="*/ 754 h 11868"/>
                <a:gd name="T8" fmla="*/ 3091 w 4657"/>
                <a:gd name="T9" fmla="*/ 403 h 11868"/>
                <a:gd name="T10" fmla="*/ 3310 w 4657"/>
                <a:gd name="T11" fmla="*/ 546 h 11868"/>
                <a:gd name="T12" fmla="*/ 3297 w 4657"/>
                <a:gd name="T13" fmla="*/ 693 h 11868"/>
                <a:gd name="T14" fmla="*/ 3591 w 4657"/>
                <a:gd name="T15" fmla="*/ 1799 h 11868"/>
                <a:gd name="T16" fmla="*/ 3802 w 4657"/>
                <a:gd name="T17" fmla="*/ 3341 h 11868"/>
                <a:gd name="T18" fmla="*/ 3870 w 4657"/>
                <a:gd name="T19" fmla="*/ 3532 h 11868"/>
                <a:gd name="T20" fmla="*/ 3834 w 4657"/>
                <a:gd name="T21" fmla="*/ 2367 h 11868"/>
                <a:gd name="T22" fmla="*/ 3787 w 4657"/>
                <a:gd name="T23" fmla="*/ 1607 h 11868"/>
                <a:gd name="T24" fmla="*/ 3429 w 4657"/>
                <a:gd name="T25" fmla="*/ 503 h 11868"/>
                <a:gd name="T26" fmla="*/ 3328 w 4657"/>
                <a:gd name="T27" fmla="*/ 236 h 11868"/>
                <a:gd name="T28" fmla="*/ 3843 w 4657"/>
                <a:gd name="T29" fmla="*/ 563 h 11868"/>
                <a:gd name="T30" fmla="*/ 4119 w 4657"/>
                <a:gd name="T31" fmla="*/ 979 h 11868"/>
                <a:gd name="T32" fmla="*/ 4133 w 4657"/>
                <a:gd name="T33" fmla="*/ 2680 h 11868"/>
                <a:gd name="T34" fmla="*/ 4615 w 4657"/>
                <a:gd name="T35" fmla="*/ 3865 h 11868"/>
                <a:gd name="T36" fmla="*/ 4296 w 4657"/>
                <a:gd name="T37" fmla="*/ 4634 h 11868"/>
                <a:gd name="T38" fmla="*/ 4091 w 4657"/>
                <a:gd name="T39" fmla="*/ 4994 h 11868"/>
                <a:gd name="T40" fmla="*/ 3945 w 4657"/>
                <a:gd name="T41" fmla="*/ 5281 h 11868"/>
                <a:gd name="T42" fmla="*/ 3898 w 4657"/>
                <a:gd name="T43" fmla="*/ 5943 h 11868"/>
                <a:gd name="T44" fmla="*/ 3856 w 4657"/>
                <a:gd name="T45" fmla="*/ 7842 h 11868"/>
                <a:gd name="T46" fmla="*/ 3733 w 4657"/>
                <a:gd name="T47" fmla="*/ 8854 h 11868"/>
                <a:gd name="T48" fmla="*/ 3883 w 4657"/>
                <a:gd name="T49" fmla="*/ 10178 h 11868"/>
                <a:gd name="T50" fmla="*/ 4001 w 4657"/>
                <a:gd name="T51" fmla="*/ 11002 h 11868"/>
                <a:gd name="T52" fmla="*/ 4494 w 4657"/>
                <a:gd name="T53" fmla="*/ 11223 h 11868"/>
                <a:gd name="T54" fmla="*/ 4491 w 4657"/>
                <a:gd name="T55" fmla="*/ 11542 h 11868"/>
                <a:gd name="T56" fmla="*/ 3415 w 4657"/>
                <a:gd name="T57" fmla="*/ 11404 h 11868"/>
                <a:gd name="T58" fmla="*/ 2817 w 4657"/>
                <a:gd name="T59" fmla="*/ 11383 h 11868"/>
                <a:gd name="T60" fmla="*/ 2657 w 4657"/>
                <a:gd name="T61" fmla="*/ 9146 h 11868"/>
                <a:gd name="T62" fmla="*/ 2586 w 4657"/>
                <a:gd name="T63" fmla="*/ 10429 h 11868"/>
                <a:gd name="T64" fmla="*/ 2417 w 4657"/>
                <a:gd name="T65" fmla="*/ 11053 h 11868"/>
                <a:gd name="T66" fmla="*/ 2398 w 4657"/>
                <a:gd name="T67" fmla="*/ 11703 h 11868"/>
                <a:gd name="T68" fmla="*/ 1658 w 4657"/>
                <a:gd name="T69" fmla="*/ 11763 h 11868"/>
                <a:gd name="T70" fmla="*/ 1759 w 4657"/>
                <a:gd name="T71" fmla="*/ 11166 h 11868"/>
                <a:gd name="T72" fmla="*/ 1642 w 4657"/>
                <a:gd name="T73" fmla="*/ 10479 h 11868"/>
                <a:gd name="T74" fmla="*/ 1417 w 4657"/>
                <a:gd name="T75" fmla="*/ 9047 h 11868"/>
                <a:gd name="T76" fmla="*/ 0 w 4657"/>
                <a:gd name="T77" fmla="*/ 6330 h 11868"/>
                <a:gd name="T78" fmla="*/ 1086 w 4657"/>
                <a:gd name="T79" fmla="*/ 5879 h 11868"/>
                <a:gd name="T80" fmla="*/ 1099 w 4657"/>
                <a:gd name="T81" fmla="*/ 4254 h 11868"/>
                <a:gd name="T82" fmla="*/ 1147 w 4657"/>
                <a:gd name="T83" fmla="*/ 1331 h 11868"/>
                <a:gd name="T84" fmla="*/ 1409 w 4657"/>
                <a:gd name="T85" fmla="*/ 523 h 11868"/>
                <a:gd name="T86" fmla="*/ 1081 w 4657"/>
                <a:gd name="T87" fmla="*/ 6107 h 11868"/>
                <a:gd name="T88" fmla="*/ 1020 w 4657"/>
                <a:gd name="T89" fmla="*/ 6390 h 11868"/>
                <a:gd name="T90" fmla="*/ 1350 w 4657"/>
                <a:gd name="T91" fmla="*/ 6184 h 11868"/>
                <a:gd name="T92" fmla="*/ 1179 w 4657"/>
                <a:gd name="T93" fmla="*/ 6167 h 1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657" h="11868">
                  <a:moveTo>
                    <a:pt x="1888" y="280"/>
                  </a:moveTo>
                  <a:cubicBezTo>
                    <a:pt x="2068" y="213"/>
                    <a:pt x="2259" y="146"/>
                    <a:pt x="2391" y="0"/>
                  </a:cubicBezTo>
                  <a:cubicBezTo>
                    <a:pt x="2408" y="80"/>
                    <a:pt x="2468" y="141"/>
                    <a:pt x="2505" y="213"/>
                  </a:cubicBezTo>
                  <a:cubicBezTo>
                    <a:pt x="2578" y="314"/>
                    <a:pt x="2645" y="419"/>
                    <a:pt x="2700" y="532"/>
                  </a:cubicBezTo>
                  <a:cubicBezTo>
                    <a:pt x="2789" y="726"/>
                    <a:pt x="2872" y="923"/>
                    <a:pt x="2943" y="1125"/>
                  </a:cubicBezTo>
                  <a:cubicBezTo>
                    <a:pt x="2982" y="1238"/>
                    <a:pt x="3035" y="1345"/>
                    <a:pt x="3074" y="1458"/>
                  </a:cubicBezTo>
                  <a:cubicBezTo>
                    <a:pt x="3076" y="1244"/>
                    <a:pt x="3066" y="1030"/>
                    <a:pt x="3066" y="816"/>
                  </a:cubicBezTo>
                  <a:cubicBezTo>
                    <a:pt x="3063" y="796"/>
                    <a:pt x="3071" y="769"/>
                    <a:pt x="3053" y="754"/>
                  </a:cubicBezTo>
                  <a:cubicBezTo>
                    <a:pt x="2997" y="705"/>
                    <a:pt x="2934" y="665"/>
                    <a:pt x="2888" y="605"/>
                  </a:cubicBezTo>
                  <a:cubicBezTo>
                    <a:pt x="2956" y="538"/>
                    <a:pt x="3024" y="471"/>
                    <a:pt x="3091" y="403"/>
                  </a:cubicBezTo>
                  <a:cubicBezTo>
                    <a:pt x="3135" y="414"/>
                    <a:pt x="3179" y="429"/>
                    <a:pt x="3221" y="449"/>
                  </a:cubicBezTo>
                  <a:cubicBezTo>
                    <a:pt x="3253" y="479"/>
                    <a:pt x="3282" y="512"/>
                    <a:pt x="3310" y="546"/>
                  </a:cubicBezTo>
                  <a:cubicBezTo>
                    <a:pt x="3323" y="574"/>
                    <a:pt x="3324" y="607"/>
                    <a:pt x="3327" y="638"/>
                  </a:cubicBezTo>
                  <a:cubicBezTo>
                    <a:pt x="3319" y="657"/>
                    <a:pt x="3308" y="675"/>
                    <a:pt x="3297" y="693"/>
                  </a:cubicBezTo>
                  <a:cubicBezTo>
                    <a:pt x="3370" y="923"/>
                    <a:pt x="3434" y="1157"/>
                    <a:pt x="3504" y="1388"/>
                  </a:cubicBezTo>
                  <a:cubicBezTo>
                    <a:pt x="3536" y="1524"/>
                    <a:pt x="3563" y="1662"/>
                    <a:pt x="3591" y="1799"/>
                  </a:cubicBezTo>
                  <a:cubicBezTo>
                    <a:pt x="3626" y="2075"/>
                    <a:pt x="3656" y="2352"/>
                    <a:pt x="3691" y="2629"/>
                  </a:cubicBezTo>
                  <a:cubicBezTo>
                    <a:pt x="3732" y="2866"/>
                    <a:pt x="3769" y="3103"/>
                    <a:pt x="3802" y="3341"/>
                  </a:cubicBezTo>
                  <a:cubicBezTo>
                    <a:pt x="3815" y="3409"/>
                    <a:pt x="3817" y="3478"/>
                    <a:pt x="3820" y="3546"/>
                  </a:cubicBezTo>
                  <a:cubicBezTo>
                    <a:pt x="3836" y="3541"/>
                    <a:pt x="3853" y="3536"/>
                    <a:pt x="3870" y="3532"/>
                  </a:cubicBezTo>
                  <a:cubicBezTo>
                    <a:pt x="3872" y="3443"/>
                    <a:pt x="3876" y="3355"/>
                    <a:pt x="3879" y="3266"/>
                  </a:cubicBezTo>
                  <a:cubicBezTo>
                    <a:pt x="3865" y="2966"/>
                    <a:pt x="3849" y="2667"/>
                    <a:pt x="3834" y="2367"/>
                  </a:cubicBezTo>
                  <a:cubicBezTo>
                    <a:pt x="3823" y="2209"/>
                    <a:pt x="3823" y="2050"/>
                    <a:pt x="3823" y="1892"/>
                  </a:cubicBezTo>
                  <a:cubicBezTo>
                    <a:pt x="3813" y="1797"/>
                    <a:pt x="3815" y="1699"/>
                    <a:pt x="3787" y="1607"/>
                  </a:cubicBezTo>
                  <a:cubicBezTo>
                    <a:pt x="3720" y="1355"/>
                    <a:pt x="3658" y="1102"/>
                    <a:pt x="3577" y="855"/>
                  </a:cubicBezTo>
                  <a:cubicBezTo>
                    <a:pt x="3528" y="737"/>
                    <a:pt x="3501" y="609"/>
                    <a:pt x="3429" y="503"/>
                  </a:cubicBezTo>
                  <a:cubicBezTo>
                    <a:pt x="3404" y="460"/>
                    <a:pt x="3378" y="418"/>
                    <a:pt x="3353" y="376"/>
                  </a:cubicBezTo>
                  <a:cubicBezTo>
                    <a:pt x="3325" y="335"/>
                    <a:pt x="3333" y="283"/>
                    <a:pt x="3328" y="236"/>
                  </a:cubicBezTo>
                  <a:cubicBezTo>
                    <a:pt x="3360" y="295"/>
                    <a:pt x="3411" y="340"/>
                    <a:pt x="3467" y="376"/>
                  </a:cubicBezTo>
                  <a:cubicBezTo>
                    <a:pt x="3586" y="451"/>
                    <a:pt x="3722" y="491"/>
                    <a:pt x="3843" y="563"/>
                  </a:cubicBezTo>
                  <a:cubicBezTo>
                    <a:pt x="3910" y="603"/>
                    <a:pt x="3981" y="638"/>
                    <a:pt x="4034" y="697"/>
                  </a:cubicBezTo>
                  <a:cubicBezTo>
                    <a:pt x="4094" y="778"/>
                    <a:pt x="4110" y="881"/>
                    <a:pt x="4119" y="979"/>
                  </a:cubicBezTo>
                  <a:cubicBezTo>
                    <a:pt x="4139" y="1306"/>
                    <a:pt x="4058" y="1628"/>
                    <a:pt x="4055" y="1954"/>
                  </a:cubicBezTo>
                  <a:cubicBezTo>
                    <a:pt x="4060" y="2197"/>
                    <a:pt x="4082" y="2442"/>
                    <a:pt x="4133" y="2680"/>
                  </a:cubicBezTo>
                  <a:cubicBezTo>
                    <a:pt x="4182" y="2914"/>
                    <a:pt x="4301" y="3124"/>
                    <a:pt x="4411" y="3333"/>
                  </a:cubicBezTo>
                  <a:cubicBezTo>
                    <a:pt x="4499" y="3501"/>
                    <a:pt x="4590" y="3674"/>
                    <a:pt x="4615" y="3865"/>
                  </a:cubicBezTo>
                  <a:cubicBezTo>
                    <a:pt x="4634" y="4037"/>
                    <a:pt x="4626" y="4219"/>
                    <a:pt x="4549" y="4377"/>
                  </a:cubicBezTo>
                  <a:cubicBezTo>
                    <a:pt x="4496" y="4488"/>
                    <a:pt x="4404" y="4578"/>
                    <a:pt x="4296" y="4634"/>
                  </a:cubicBezTo>
                  <a:cubicBezTo>
                    <a:pt x="4274" y="4745"/>
                    <a:pt x="4250" y="4864"/>
                    <a:pt x="4175" y="4953"/>
                  </a:cubicBezTo>
                  <a:cubicBezTo>
                    <a:pt x="4155" y="4977"/>
                    <a:pt x="4125" y="5003"/>
                    <a:pt x="4091" y="4994"/>
                  </a:cubicBezTo>
                  <a:cubicBezTo>
                    <a:pt x="4048" y="4971"/>
                    <a:pt x="4028" y="4917"/>
                    <a:pt x="3976" y="4910"/>
                  </a:cubicBezTo>
                  <a:cubicBezTo>
                    <a:pt x="3915" y="5024"/>
                    <a:pt x="3920" y="5158"/>
                    <a:pt x="3945" y="5281"/>
                  </a:cubicBezTo>
                  <a:cubicBezTo>
                    <a:pt x="3967" y="5411"/>
                    <a:pt x="4004" y="5550"/>
                    <a:pt x="3950" y="5678"/>
                  </a:cubicBezTo>
                  <a:cubicBezTo>
                    <a:pt x="3913" y="5762"/>
                    <a:pt x="3907" y="5854"/>
                    <a:pt x="3898" y="5943"/>
                  </a:cubicBezTo>
                  <a:cubicBezTo>
                    <a:pt x="3869" y="6258"/>
                    <a:pt x="3881" y="6575"/>
                    <a:pt x="3883" y="6891"/>
                  </a:cubicBezTo>
                  <a:cubicBezTo>
                    <a:pt x="3888" y="7208"/>
                    <a:pt x="3870" y="7525"/>
                    <a:pt x="3856" y="7842"/>
                  </a:cubicBezTo>
                  <a:cubicBezTo>
                    <a:pt x="3845" y="7997"/>
                    <a:pt x="3837" y="8152"/>
                    <a:pt x="3810" y="8305"/>
                  </a:cubicBezTo>
                  <a:cubicBezTo>
                    <a:pt x="3777" y="8487"/>
                    <a:pt x="3739" y="8669"/>
                    <a:pt x="3733" y="8854"/>
                  </a:cubicBezTo>
                  <a:cubicBezTo>
                    <a:pt x="3725" y="9127"/>
                    <a:pt x="3789" y="9395"/>
                    <a:pt x="3831" y="9664"/>
                  </a:cubicBezTo>
                  <a:cubicBezTo>
                    <a:pt x="3858" y="9834"/>
                    <a:pt x="3882" y="10006"/>
                    <a:pt x="3883" y="10178"/>
                  </a:cubicBezTo>
                  <a:cubicBezTo>
                    <a:pt x="3887" y="10345"/>
                    <a:pt x="3875" y="10512"/>
                    <a:pt x="3888" y="10679"/>
                  </a:cubicBezTo>
                  <a:cubicBezTo>
                    <a:pt x="3898" y="10793"/>
                    <a:pt x="3921" y="10914"/>
                    <a:pt x="4001" y="11002"/>
                  </a:cubicBezTo>
                  <a:cubicBezTo>
                    <a:pt x="4030" y="11030"/>
                    <a:pt x="4061" y="11062"/>
                    <a:pt x="4102" y="11067"/>
                  </a:cubicBezTo>
                  <a:cubicBezTo>
                    <a:pt x="4241" y="11094"/>
                    <a:pt x="4382" y="11135"/>
                    <a:pt x="4494" y="11223"/>
                  </a:cubicBezTo>
                  <a:cubicBezTo>
                    <a:pt x="4568" y="11280"/>
                    <a:pt x="4619" y="11360"/>
                    <a:pt x="4657" y="11444"/>
                  </a:cubicBezTo>
                  <a:cubicBezTo>
                    <a:pt x="4624" y="11504"/>
                    <a:pt x="4552" y="11523"/>
                    <a:pt x="4491" y="11542"/>
                  </a:cubicBezTo>
                  <a:cubicBezTo>
                    <a:pt x="4287" y="11596"/>
                    <a:pt x="4073" y="11599"/>
                    <a:pt x="3865" y="11579"/>
                  </a:cubicBezTo>
                  <a:cubicBezTo>
                    <a:pt x="3705" y="11558"/>
                    <a:pt x="3532" y="11524"/>
                    <a:pt x="3415" y="11404"/>
                  </a:cubicBezTo>
                  <a:cubicBezTo>
                    <a:pt x="3328" y="11440"/>
                    <a:pt x="3233" y="11454"/>
                    <a:pt x="3139" y="11444"/>
                  </a:cubicBezTo>
                  <a:cubicBezTo>
                    <a:pt x="3030" y="11432"/>
                    <a:pt x="2924" y="11403"/>
                    <a:pt x="2817" y="11383"/>
                  </a:cubicBezTo>
                  <a:cubicBezTo>
                    <a:pt x="2864" y="11096"/>
                    <a:pt x="2871" y="10804"/>
                    <a:pt x="2847" y="10516"/>
                  </a:cubicBezTo>
                  <a:cubicBezTo>
                    <a:pt x="2814" y="10055"/>
                    <a:pt x="2710" y="9604"/>
                    <a:pt x="2657" y="9146"/>
                  </a:cubicBezTo>
                  <a:cubicBezTo>
                    <a:pt x="2577" y="9146"/>
                    <a:pt x="2497" y="9146"/>
                    <a:pt x="2417" y="9146"/>
                  </a:cubicBezTo>
                  <a:cubicBezTo>
                    <a:pt x="2476" y="9573"/>
                    <a:pt x="2588" y="9995"/>
                    <a:pt x="2586" y="10429"/>
                  </a:cubicBezTo>
                  <a:cubicBezTo>
                    <a:pt x="2586" y="10615"/>
                    <a:pt x="2564" y="10809"/>
                    <a:pt x="2468" y="10972"/>
                  </a:cubicBezTo>
                  <a:cubicBezTo>
                    <a:pt x="2453" y="11001"/>
                    <a:pt x="2427" y="11023"/>
                    <a:pt x="2417" y="11053"/>
                  </a:cubicBezTo>
                  <a:cubicBezTo>
                    <a:pt x="2420" y="11118"/>
                    <a:pt x="2462" y="11175"/>
                    <a:pt x="2458" y="11241"/>
                  </a:cubicBezTo>
                  <a:cubicBezTo>
                    <a:pt x="2452" y="11397"/>
                    <a:pt x="2395" y="11546"/>
                    <a:pt x="2398" y="11703"/>
                  </a:cubicBezTo>
                  <a:cubicBezTo>
                    <a:pt x="2323" y="11795"/>
                    <a:pt x="2204" y="11836"/>
                    <a:pt x="2090" y="11850"/>
                  </a:cubicBezTo>
                  <a:cubicBezTo>
                    <a:pt x="1942" y="11868"/>
                    <a:pt x="1784" y="11846"/>
                    <a:pt x="1658" y="11763"/>
                  </a:cubicBezTo>
                  <a:cubicBezTo>
                    <a:pt x="1646" y="11649"/>
                    <a:pt x="1610" y="11532"/>
                    <a:pt x="1644" y="11418"/>
                  </a:cubicBezTo>
                  <a:cubicBezTo>
                    <a:pt x="1669" y="11327"/>
                    <a:pt x="1756" y="11264"/>
                    <a:pt x="1759" y="11166"/>
                  </a:cubicBezTo>
                  <a:cubicBezTo>
                    <a:pt x="1761" y="11072"/>
                    <a:pt x="1724" y="10983"/>
                    <a:pt x="1704" y="10893"/>
                  </a:cubicBezTo>
                  <a:cubicBezTo>
                    <a:pt x="1671" y="10756"/>
                    <a:pt x="1682" y="10614"/>
                    <a:pt x="1642" y="10479"/>
                  </a:cubicBezTo>
                  <a:cubicBezTo>
                    <a:pt x="1595" y="10310"/>
                    <a:pt x="1509" y="10153"/>
                    <a:pt x="1477" y="9980"/>
                  </a:cubicBezTo>
                  <a:cubicBezTo>
                    <a:pt x="1423" y="9671"/>
                    <a:pt x="1485" y="9354"/>
                    <a:pt x="1417" y="9047"/>
                  </a:cubicBezTo>
                  <a:cubicBezTo>
                    <a:pt x="945" y="9046"/>
                    <a:pt x="472" y="9046"/>
                    <a:pt x="0" y="9046"/>
                  </a:cubicBezTo>
                  <a:lnTo>
                    <a:pt x="0" y="6330"/>
                  </a:lnTo>
                  <a:cubicBezTo>
                    <a:pt x="285" y="6330"/>
                    <a:pt x="571" y="6330"/>
                    <a:pt x="857" y="6331"/>
                  </a:cubicBezTo>
                  <a:cubicBezTo>
                    <a:pt x="922" y="6174"/>
                    <a:pt x="1040" y="6044"/>
                    <a:pt x="1086" y="5879"/>
                  </a:cubicBezTo>
                  <a:cubicBezTo>
                    <a:pt x="1114" y="5786"/>
                    <a:pt x="1105" y="5686"/>
                    <a:pt x="1080" y="5593"/>
                  </a:cubicBezTo>
                  <a:cubicBezTo>
                    <a:pt x="1091" y="5147"/>
                    <a:pt x="1100" y="4700"/>
                    <a:pt x="1099" y="4254"/>
                  </a:cubicBezTo>
                  <a:cubicBezTo>
                    <a:pt x="1099" y="3900"/>
                    <a:pt x="1095" y="3545"/>
                    <a:pt x="1072" y="3192"/>
                  </a:cubicBezTo>
                  <a:cubicBezTo>
                    <a:pt x="1042" y="2571"/>
                    <a:pt x="1064" y="1947"/>
                    <a:pt x="1147" y="1331"/>
                  </a:cubicBezTo>
                  <a:cubicBezTo>
                    <a:pt x="1169" y="1157"/>
                    <a:pt x="1185" y="981"/>
                    <a:pt x="1237" y="812"/>
                  </a:cubicBezTo>
                  <a:cubicBezTo>
                    <a:pt x="1270" y="704"/>
                    <a:pt x="1323" y="599"/>
                    <a:pt x="1409" y="523"/>
                  </a:cubicBezTo>
                  <a:cubicBezTo>
                    <a:pt x="1547" y="406"/>
                    <a:pt x="1720" y="343"/>
                    <a:pt x="1888" y="280"/>
                  </a:cubicBezTo>
                  <a:close/>
                  <a:moveTo>
                    <a:pt x="1081" y="6107"/>
                  </a:moveTo>
                  <a:cubicBezTo>
                    <a:pt x="1084" y="6163"/>
                    <a:pt x="1055" y="6211"/>
                    <a:pt x="1033" y="6261"/>
                  </a:cubicBezTo>
                  <a:cubicBezTo>
                    <a:pt x="1013" y="6301"/>
                    <a:pt x="1019" y="6346"/>
                    <a:pt x="1020" y="6390"/>
                  </a:cubicBezTo>
                  <a:cubicBezTo>
                    <a:pt x="1129" y="6374"/>
                    <a:pt x="1238" y="6398"/>
                    <a:pt x="1348" y="6387"/>
                  </a:cubicBezTo>
                  <a:cubicBezTo>
                    <a:pt x="1351" y="6319"/>
                    <a:pt x="1349" y="6252"/>
                    <a:pt x="1350" y="6184"/>
                  </a:cubicBezTo>
                  <a:cubicBezTo>
                    <a:pt x="1315" y="6182"/>
                    <a:pt x="1283" y="6168"/>
                    <a:pt x="1260" y="6141"/>
                  </a:cubicBezTo>
                  <a:cubicBezTo>
                    <a:pt x="1236" y="6156"/>
                    <a:pt x="1209" y="6184"/>
                    <a:pt x="1179" y="6167"/>
                  </a:cubicBezTo>
                  <a:cubicBezTo>
                    <a:pt x="1137" y="6156"/>
                    <a:pt x="1132" y="6088"/>
                    <a:pt x="1081" y="6107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8" name="Freeform 175"/>
            <p:cNvSpPr>
              <a:spLocks noEditPoints="1"/>
            </p:cNvSpPr>
            <p:nvPr/>
          </p:nvSpPr>
          <p:spPr bwMode="auto">
            <a:xfrm>
              <a:off x="3434" y="1797"/>
              <a:ext cx="953" cy="2331"/>
            </a:xfrm>
            <a:custGeom>
              <a:avLst/>
              <a:gdLst>
                <a:gd name="T0" fmla="*/ 1556 w 4891"/>
                <a:gd name="T1" fmla="*/ 0 h 11949"/>
                <a:gd name="T2" fmla="*/ 1571 w 4891"/>
                <a:gd name="T3" fmla="*/ 1231 h 11949"/>
                <a:gd name="T4" fmla="*/ 1471 w 4891"/>
                <a:gd name="T5" fmla="*/ 2282 h 11949"/>
                <a:gd name="T6" fmla="*/ 2590 w 4891"/>
                <a:gd name="T7" fmla="*/ 2612 h 11949"/>
                <a:gd name="T8" fmla="*/ 2505 w 4891"/>
                <a:gd name="T9" fmla="*/ 1143 h 11949"/>
                <a:gd name="T10" fmla="*/ 2483 w 4891"/>
                <a:gd name="T11" fmla="*/ 342 h 11949"/>
                <a:gd name="T12" fmla="*/ 2819 w 4891"/>
                <a:gd name="T13" fmla="*/ 273 h 11949"/>
                <a:gd name="T14" fmla="*/ 4407 w 4891"/>
                <a:gd name="T15" fmla="*/ 1610 h 11949"/>
                <a:gd name="T16" fmla="*/ 4867 w 4891"/>
                <a:gd name="T17" fmla="*/ 2375 h 11949"/>
                <a:gd name="T18" fmla="*/ 4438 w 4891"/>
                <a:gd name="T19" fmla="*/ 2881 h 11949"/>
                <a:gd name="T20" fmla="*/ 3776 w 4891"/>
                <a:gd name="T21" fmla="*/ 3469 h 11949"/>
                <a:gd name="T22" fmla="*/ 3488 w 4891"/>
                <a:gd name="T23" fmla="*/ 3310 h 11949"/>
                <a:gd name="T24" fmla="*/ 3818 w 4891"/>
                <a:gd name="T25" fmla="*/ 4042 h 11949"/>
                <a:gd name="T26" fmla="*/ 3840 w 4891"/>
                <a:gd name="T27" fmla="*/ 6657 h 11949"/>
                <a:gd name="T28" fmla="*/ 3483 w 4891"/>
                <a:gd name="T29" fmla="*/ 7191 h 11949"/>
                <a:gd name="T30" fmla="*/ 3785 w 4891"/>
                <a:gd name="T31" fmla="*/ 8356 h 11949"/>
                <a:gd name="T32" fmla="*/ 4071 w 4891"/>
                <a:gd name="T33" fmla="*/ 10096 h 11949"/>
                <a:gd name="T34" fmla="*/ 4498 w 4891"/>
                <a:gd name="T35" fmla="*/ 11846 h 11949"/>
                <a:gd name="T36" fmla="*/ 3863 w 4891"/>
                <a:gd name="T37" fmla="*/ 11780 h 11949"/>
                <a:gd name="T38" fmla="*/ 3868 w 4891"/>
                <a:gd name="T39" fmla="*/ 10980 h 11949"/>
                <a:gd name="T40" fmla="*/ 3324 w 4891"/>
                <a:gd name="T41" fmla="*/ 9505 h 11949"/>
                <a:gd name="T42" fmla="*/ 2997 w 4891"/>
                <a:gd name="T43" fmla="*/ 8819 h 11949"/>
                <a:gd name="T44" fmla="*/ 2429 w 4891"/>
                <a:gd name="T45" fmla="*/ 10166 h 11949"/>
                <a:gd name="T46" fmla="*/ 2272 w 4891"/>
                <a:gd name="T47" fmla="*/ 11579 h 11949"/>
                <a:gd name="T48" fmla="*/ 1854 w 4891"/>
                <a:gd name="T49" fmla="*/ 11672 h 11949"/>
                <a:gd name="T50" fmla="*/ 1659 w 4891"/>
                <a:gd name="T51" fmla="*/ 11473 h 11949"/>
                <a:gd name="T52" fmla="*/ 2401 w 4891"/>
                <a:gd name="T53" fmla="*/ 7292 h 11949"/>
                <a:gd name="T54" fmla="*/ 2026 w 4891"/>
                <a:gd name="T55" fmla="*/ 7353 h 11949"/>
                <a:gd name="T56" fmla="*/ 1076 w 4891"/>
                <a:gd name="T57" fmla="*/ 4635 h 11949"/>
                <a:gd name="T58" fmla="*/ 752 w 4891"/>
                <a:gd name="T59" fmla="*/ 4606 h 11949"/>
                <a:gd name="T60" fmla="*/ 645 w 4891"/>
                <a:gd name="T61" fmla="*/ 4432 h 11949"/>
                <a:gd name="T62" fmla="*/ 675 w 4891"/>
                <a:gd name="T63" fmla="*/ 5494 h 11949"/>
                <a:gd name="T64" fmla="*/ 419 w 4891"/>
                <a:gd name="T65" fmla="*/ 5892 h 11949"/>
                <a:gd name="T66" fmla="*/ 228 w 4891"/>
                <a:gd name="T67" fmla="*/ 5073 h 11949"/>
                <a:gd name="T68" fmla="*/ 38 w 4891"/>
                <a:gd name="T69" fmla="*/ 5005 h 11949"/>
                <a:gd name="T70" fmla="*/ 66 w 4891"/>
                <a:gd name="T71" fmla="*/ 3980 h 11949"/>
                <a:gd name="T72" fmla="*/ 349 w 4891"/>
                <a:gd name="T73" fmla="*/ 930 h 11949"/>
                <a:gd name="T74" fmla="*/ 604 w 4891"/>
                <a:gd name="T75" fmla="*/ 313 h 11949"/>
                <a:gd name="T76" fmla="*/ 3390 w 4891"/>
                <a:gd name="T77" fmla="*/ 1722 h 11949"/>
                <a:gd name="T78" fmla="*/ 3241 w 4891"/>
                <a:gd name="T79" fmla="*/ 1983 h 11949"/>
                <a:gd name="T80" fmla="*/ 3144 w 4891"/>
                <a:gd name="T81" fmla="*/ 2398 h 11949"/>
                <a:gd name="T82" fmla="*/ 3433 w 4891"/>
                <a:gd name="T83" fmla="*/ 2625 h 11949"/>
                <a:gd name="T84" fmla="*/ 3870 w 4891"/>
                <a:gd name="T85" fmla="*/ 2575 h 11949"/>
                <a:gd name="T86" fmla="*/ 4182 w 4891"/>
                <a:gd name="T87" fmla="*/ 2317 h 11949"/>
                <a:gd name="T88" fmla="*/ 4012 w 4891"/>
                <a:gd name="T89" fmla="*/ 1994 h 11949"/>
                <a:gd name="T90" fmla="*/ 3474 w 4891"/>
                <a:gd name="T91" fmla="*/ 1697 h 11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1" h="11949">
                  <a:moveTo>
                    <a:pt x="1225" y="177"/>
                  </a:moveTo>
                  <a:cubicBezTo>
                    <a:pt x="1345" y="138"/>
                    <a:pt x="1457" y="78"/>
                    <a:pt x="1556" y="0"/>
                  </a:cubicBezTo>
                  <a:cubicBezTo>
                    <a:pt x="1563" y="227"/>
                    <a:pt x="1581" y="454"/>
                    <a:pt x="1576" y="681"/>
                  </a:cubicBezTo>
                  <a:cubicBezTo>
                    <a:pt x="1574" y="864"/>
                    <a:pt x="1575" y="1048"/>
                    <a:pt x="1571" y="1231"/>
                  </a:cubicBezTo>
                  <a:cubicBezTo>
                    <a:pt x="1561" y="1398"/>
                    <a:pt x="1565" y="1567"/>
                    <a:pt x="1539" y="1733"/>
                  </a:cubicBezTo>
                  <a:cubicBezTo>
                    <a:pt x="1512" y="1915"/>
                    <a:pt x="1500" y="2100"/>
                    <a:pt x="1471" y="2282"/>
                  </a:cubicBezTo>
                  <a:cubicBezTo>
                    <a:pt x="1443" y="2497"/>
                    <a:pt x="1419" y="2712"/>
                    <a:pt x="1427" y="2929"/>
                  </a:cubicBezTo>
                  <a:cubicBezTo>
                    <a:pt x="1814" y="2823"/>
                    <a:pt x="2202" y="2717"/>
                    <a:pt x="2590" y="2612"/>
                  </a:cubicBezTo>
                  <a:cubicBezTo>
                    <a:pt x="2577" y="2314"/>
                    <a:pt x="2572" y="2016"/>
                    <a:pt x="2543" y="1718"/>
                  </a:cubicBezTo>
                  <a:cubicBezTo>
                    <a:pt x="2525" y="1527"/>
                    <a:pt x="2519" y="1335"/>
                    <a:pt x="2505" y="1143"/>
                  </a:cubicBezTo>
                  <a:cubicBezTo>
                    <a:pt x="2490" y="971"/>
                    <a:pt x="2501" y="797"/>
                    <a:pt x="2496" y="625"/>
                  </a:cubicBezTo>
                  <a:cubicBezTo>
                    <a:pt x="2492" y="530"/>
                    <a:pt x="2486" y="436"/>
                    <a:pt x="2483" y="342"/>
                  </a:cubicBezTo>
                  <a:cubicBezTo>
                    <a:pt x="2478" y="249"/>
                    <a:pt x="2490" y="154"/>
                    <a:pt x="2467" y="61"/>
                  </a:cubicBezTo>
                  <a:cubicBezTo>
                    <a:pt x="2558" y="168"/>
                    <a:pt x="2690" y="227"/>
                    <a:pt x="2819" y="273"/>
                  </a:cubicBezTo>
                  <a:cubicBezTo>
                    <a:pt x="3030" y="346"/>
                    <a:pt x="3250" y="400"/>
                    <a:pt x="3449" y="503"/>
                  </a:cubicBezTo>
                  <a:cubicBezTo>
                    <a:pt x="3768" y="872"/>
                    <a:pt x="4085" y="1243"/>
                    <a:pt x="4407" y="1610"/>
                  </a:cubicBezTo>
                  <a:cubicBezTo>
                    <a:pt x="4542" y="1753"/>
                    <a:pt x="4700" y="1880"/>
                    <a:pt x="4801" y="2052"/>
                  </a:cubicBezTo>
                  <a:cubicBezTo>
                    <a:pt x="4858" y="2148"/>
                    <a:pt x="4891" y="2264"/>
                    <a:pt x="4867" y="2375"/>
                  </a:cubicBezTo>
                  <a:cubicBezTo>
                    <a:pt x="4843" y="2461"/>
                    <a:pt x="4787" y="2532"/>
                    <a:pt x="4730" y="2598"/>
                  </a:cubicBezTo>
                  <a:cubicBezTo>
                    <a:pt x="4639" y="2699"/>
                    <a:pt x="4536" y="2787"/>
                    <a:pt x="4438" y="2881"/>
                  </a:cubicBezTo>
                  <a:cubicBezTo>
                    <a:pt x="4266" y="3055"/>
                    <a:pt x="4122" y="3260"/>
                    <a:pt x="3919" y="3401"/>
                  </a:cubicBezTo>
                  <a:cubicBezTo>
                    <a:pt x="3875" y="3430"/>
                    <a:pt x="3830" y="3466"/>
                    <a:pt x="3776" y="3469"/>
                  </a:cubicBezTo>
                  <a:cubicBezTo>
                    <a:pt x="3721" y="3477"/>
                    <a:pt x="3663" y="3470"/>
                    <a:pt x="3617" y="3438"/>
                  </a:cubicBezTo>
                  <a:cubicBezTo>
                    <a:pt x="3566" y="3404"/>
                    <a:pt x="3533" y="3350"/>
                    <a:pt x="3488" y="3310"/>
                  </a:cubicBezTo>
                  <a:cubicBezTo>
                    <a:pt x="3526" y="3547"/>
                    <a:pt x="3698" y="3726"/>
                    <a:pt x="3789" y="3941"/>
                  </a:cubicBezTo>
                  <a:cubicBezTo>
                    <a:pt x="3804" y="3973"/>
                    <a:pt x="3815" y="4007"/>
                    <a:pt x="3818" y="4042"/>
                  </a:cubicBezTo>
                  <a:cubicBezTo>
                    <a:pt x="3911" y="4886"/>
                    <a:pt x="4082" y="5719"/>
                    <a:pt x="4162" y="6564"/>
                  </a:cubicBezTo>
                  <a:cubicBezTo>
                    <a:pt x="4050" y="6574"/>
                    <a:pt x="3940" y="6604"/>
                    <a:pt x="3840" y="6657"/>
                  </a:cubicBezTo>
                  <a:cubicBezTo>
                    <a:pt x="3690" y="6735"/>
                    <a:pt x="3547" y="6838"/>
                    <a:pt x="3376" y="6865"/>
                  </a:cubicBezTo>
                  <a:cubicBezTo>
                    <a:pt x="3437" y="6963"/>
                    <a:pt x="3470" y="7077"/>
                    <a:pt x="3483" y="7191"/>
                  </a:cubicBezTo>
                  <a:cubicBezTo>
                    <a:pt x="3502" y="7345"/>
                    <a:pt x="3497" y="7503"/>
                    <a:pt x="3525" y="7656"/>
                  </a:cubicBezTo>
                  <a:cubicBezTo>
                    <a:pt x="3574" y="7903"/>
                    <a:pt x="3719" y="8115"/>
                    <a:pt x="3785" y="8356"/>
                  </a:cubicBezTo>
                  <a:cubicBezTo>
                    <a:pt x="3902" y="8788"/>
                    <a:pt x="3890" y="9239"/>
                    <a:pt x="3959" y="9679"/>
                  </a:cubicBezTo>
                  <a:cubicBezTo>
                    <a:pt x="3984" y="9821"/>
                    <a:pt x="4008" y="9966"/>
                    <a:pt x="4071" y="10096"/>
                  </a:cubicBezTo>
                  <a:cubicBezTo>
                    <a:pt x="4172" y="10310"/>
                    <a:pt x="4332" y="10496"/>
                    <a:pt x="4388" y="10729"/>
                  </a:cubicBezTo>
                  <a:cubicBezTo>
                    <a:pt x="4481" y="11094"/>
                    <a:pt x="4482" y="11472"/>
                    <a:pt x="4498" y="11846"/>
                  </a:cubicBezTo>
                  <a:cubicBezTo>
                    <a:pt x="4423" y="11920"/>
                    <a:pt x="4315" y="11949"/>
                    <a:pt x="4212" y="11946"/>
                  </a:cubicBezTo>
                  <a:cubicBezTo>
                    <a:pt x="4080" y="11943"/>
                    <a:pt x="3941" y="11891"/>
                    <a:pt x="3863" y="11780"/>
                  </a:cubicBezTo>
                  <a:cubicBezTo>
                    <a:pt x="3807" y="11701"/>
                    <a:pt x="3805" y="11599"/>
                    <a:pt x="3811" y="11505"/>
                  </a:cubicBezTo>
                  <a:cubicBezTo>
                    <a:pt x="3824" y="11329"/>
                    <a:pt x="3858" y="11156"/>
                    <a:pt x="3868" y="10980"/>
                  </a:cubicBezTo>
                  <a:cubicBezTo>
                    <a:pt x="3885" y="10750"/>
                    <a:pt x="3819" y="10523"/>
                    <a:pt x="3732" y="10312"/>
                  </a:cubicBezTo>
                  <a:cubicBezTo>
                    <a:pt x="3616" y="10034"/>
                    <a:pt x="3450" y="9779"/>
                    <a:pt x="3324" y="9505"/>
                  </a:cubicBezTo>
                  <a:cubicBezTo>
                    <a:pt x="3221" y="9289"/>
                    <a:pt x="3169" y="9048"/>
                    <a:pt x="3030" y="8850"/>
                  </a:cubicBezTo>
                  <a:cubicBezTo>
                    <a:pt x="3019" y="8839"/>
                    <a:pt x="3013" y="8821"/>
                    <a:pt x="2997" y="8819"/>
                  </a:cubicBezTo>
                  <a:cubicBezTo>
                    <a:pt x="2892" y="9033"/>
                    <a:pt x="2759" y="9233"/>
                    <a:pt x="2653" y="9447"/>
                  </a:cubicBezTo>
                  <a:cubicBezTo>
                    <a:pt x="2539" y="9672"/>
                    <a:pt x="2451" y="9913"/>
                    <a:pt x="2429" y="10166"/>
                  </a:cubicBezTo>
                  <a:cubicBezTo>
                    <a:pt x="2393" y="10503"/>
                    <a:pt x="2432" y="10844"/>
                    <a:pt x="2385" y="11180"/>
                  </a:cubicBezTo>
                  <a:cubicBezTo>
                    <a:pt x="2368" y="11317"/>
                    <a:pt x="2332" y="11454"/>
                    <a:pt x="2272" y="11579"/>
                  </a:cubicBezTo>
                  <a:cubicBezTo>
                    <a:pt x="2262" y="11600"/>
                    <a:pt x="2252" y="11624"/>
                    <a:pt x="2230" y="11634"/>
                  </a:cubicBezTo>
                  <a:cubicBezTo>
                    <a:pt x="2117" y="11698"/>
                    <a:pt x="1978" y="11704"/>
                    <a:pt x="1854" y="11672"/>
                  </a:cubicBezTo>
                  <a:cubicBezTo>
                    <a:pt x="1775" y="11648"/>
                    <a:pt x="1695" y="11602"/>
                    <a:pt x="1658" y="11524"/>
                  </a:cubicBezTo>
                  <a:cubicBezTo>
                    <a:pt x="1647" y="11508"/>
                    <a:pt x="1656" y="11489"/>
                    <a:pt x="1659" y="11473"/>
                  </a:cubicBezTo>
                  <a:cubicBezTo>
                    <a:pt x="1798" y="10919"/>
                    <a:pt x="1967" y="10373"/>
                    <a:pt x="2105" y="9819"/>
                  </a:cubicBezTo>
                  <a:cubicBezTo>
                    <a:pt x="2315" y="8995"/>
                    <a:pt x="2444" y="8144"/>
                    <a:pt x="2401" y="7292"/>
                  </a:cubicBezTo>
                  <a:cubicBezTo>
                    <a:pt x="2402" y="7259"/>
                    <a:pt x="2360" y="7260"/>
                    <a:pt x="2338" y="7262"/>
                  </a:cubicBezTo>
                  <a:cubicBezTo>
                    <a:pt x="2230" y="7278"/>
                    <a:pt x="2134" y="7338"/>
                    <a:pt x="2026" y="7353"/>
                  </a:cubicBezTo>
                  <a:cubicBezTo>
                    <a:pt x="1692" y="6464"/>
                    <a:pt x="1381" y="5565"/>
                    <a:pt x="1125" y="4650"/>
                  </a:cubicBezTo>
                  <a:cubicBezTo>
                    <a:pt x="1110" y="4642"/>
                    <a:pt x="1094" y="4633"/>
                    <a:pt x="1076" y="4635"/>
                  </a:cubicBezTo>
                  <a:cubicBezTo>
                    <a:pt x="988" y="4638"/>
                    <a:pt x="901" y="4675"/>
                    <a:pt x="812" y="4657"/>
                  </a:cubicBezTo>
                  <a:cubicBezTo>
                    <a:pt x="787" y="4650"/>
                    <a:pt x="752" y="4637"/>
                    <a:pt x="752" y="4606"/>
                  </a:cubicBezTo>
                  <a:cubicBezTo>
                    <a:pt x="728" y="4225"/>
                    <a:pt x="782" y="3845"/>
                    <a:pt x="788" y="3464"/>
                  </a:cubicBezTo>
                  <a:cubicBezTo>
                    <a:pt x="708" y="3781"/>
                    <a:pt x="660" y="4105"/>
                    <a:pt x="645" y="4432"/>
                  </a:cubicBezTo>
                  <a:cubicBezTo>
                    <a:pt x="631" y="4785"/>
                    <a:pt x="651" y="5149"/>
                    <a:pt x="787" y="5480"/>
                  </a:cubicBezTo>
                  <a:cubicBezTo>
                    <a:pt x="764" y="5514"/>
                    <a:pt x="704" y="5529"/>
                    <a:pt x="675" y="5494"/>
                  </a:cubicBezTo>
                  <a:cubicBezTo>
                    <a:pt x="624" y="5440"/>
                    <a:pt x="606" y="5349"/>
                    <a:pt x="526" y="5330"/>
                  </a:cubicBezTo>
                  <a:cubicBezTo>
                    <a:pt x="453" y="5509"/>
                    <a:pt x="510" y="5717"/>
                    <a:pt x="419" y="5892"/>
                  </a:cubicBezTo>
                  <a:cubicBezTo>
                    <a:pt x="325" y="5884"/>
                    <a:pt x="260" y="5800"/>
                    <a:pt x="243" y="5713"/>
                  </a:cubicBezTo>
                  <a:cubicBezTo>
                    <a:pt x="197" y="5502"/>
                    <a:pt x="249" y="5286"/>
                    <a:pt x="228" y="5073"/>
                  </a:cubicBezTo>
                  <a:cubicBezTo>
                    <a:pt x="226" y="5054"/>
                    <a:pt x="208" y="5044"/>
                    <a:pt x="193" y="5037"/>
                  </a:cubicBezTo>
                  <a:cubicBezTo>
                    <a:pt x="143" y="5017"/>
                    <a:pt x="87" y="5025"/>
                    <a:pt x="38" y="5005"/>
                  </a:cubicBezTo>
                  <a:cubicBezTo>
                    <a:pt x="14" y="4995"/>
                    <a:pt x="0" y="4969"/>
                    <a:pt x="4" y="4943"/>
                  </a:cubicBezTo>
                  <a:cubicBezTo>
                    <a:pt x="19" y="4622"/>
                    <a:pt x="42" y="4301"/>
                    <a:pt x="66" y="3980"/>
                  </a:cubicBezTo>
                  <a:cubicBezTo>
                    <a:pt x="129" y="3213"/>
                    <a:pt x="169" y="2445"/>
                    <a:pt x="248" y="1680"/>
                  </a:cubicBezTo>
                  <a:cubicBezTo>
                    <a:pt x="275" y="1429"/>
                    <a:pt x="305" y="1178"/>
                    <a:pt x="349" y="930"/>
                  </a:cubicBezTo>
                  <a:cubicBezTo>
                    <a:pt x="381" y="767"/>
                    <a:pt x="412" y="601"/>
                    <a:pt x="480" y="448"/>
                  </a:cubicBezTo>
                  <a:cubicBezTo>
                    <a:pt x="506" y="393"/>
                    <a:pt x="539" y="327"/>
                    <a:pt x="604" y="313"/>
                  </a:cubicBezTo>
                  <a:cubicBezTo>
                    <a:pt x="810" y="263"/>
                    <a:pt x="1023" y="242"/>
                    <a:pt x="1225" y="177"/>
                  </a:cubicBezTo>
                  <a:close/>
                  <a:moveTo>
                    <a:pt x="3390" y="1722"/>
                  </a:moveTo>
                  <a:cubicBezTo>
                    <a:pt x="3363" y="1755"/>
                    <a:pt x="3350" y="1797"/>
                    <a:pt x="3331" y="1835"/>
                  </a:cubicBezTo>
                  <a:cubicBezTo>
                    <a:pt x="3306" y="1888"/>
                    <a:pt x="3267" y="1932"/>
                    <a:pt x="3241" y="1983"/>
                  </a:cubicBezTo>
                  <a:cubicBezTo>
                    <a:pt x="3213" y="2047"/>
                    <a:pt x="3194" y="2115"/>
                    <a:pt x="3156" y="2175"/>
                  </a:cubicBezTo>
                  <a:cubicBezTo>
                    <a:pt x="3112" y="2239"/>
                    <a:pt x="3104" y="2330"/>
                    <a:pt x="3144" y="2398"/>
                  </a:cubicBezTo>
                  <a:cubicBezTo>
                    <a:pt x="3153" y="2417"/>
                    <a:pt x="3161" y="2437"/>
                    <a:pt x="3173" y="2455"/>
                  </a:cubicBezTo>
                  <a:cubicBezTo>
                    <a:pt x="3250" y="2525"/>
                    <a:pt x="3342" y="2575"/>
                    <a:pt x="3433" y="2625"/>
                  </a:cubicBezTo>
                  <a:cubicBezTo>
                    <a:pt x="3497" y="2674"/>
                    <a:pt x="3567" y="2714"/>
                    <a:pt x="3627" y="2768"/>
                  </a:cubicBezTo>
                  <a:cubicBezTo>
                    <a:pt x="3713" y="2710"/>
                    <a:pt x="3787" y="2636"/>
                    <a:pt x="3870" y="2575"/>
                  </a:cubicBezTo>
                  <a:cubicBezTo>
                    <a:pt x="3925" y="2534"/>
                    <a:pt x="3971" y="2482"/>
                    <a:pt x="4032" y="2448"/>
                  </a:cubicBezTo>
                  <a:cubicBezTo>
                    <a:pt x="4087" y="2412"/>
                    <a:pt x="4157" y="2384"/>
                    <a:pt x="4182" y="2317"/>
                  </a:cubicBezTo>
                  <a:cubicBezTo>
                    <a:pt x="4197" y="2256"/>
                    <a:pt x="4171" y="2196"/>
                    <a:pt x="4154" y="2139"/>
                  </a:cubicBezTo>
                  <a:cubicBezTo>
                    <a:pt x="4107" y="2090"/>
                    <a:pt x="4059" y="2042"/>
                    <a:pt x="4012" y="1994"/>
                  </a:cubicBezTo>
                  <a:cubicBezTo>
                    <a:pt x="3931" y="1940"/>
                    <a:pt x="3842" y="1897"/>
                    <a:pt x="3759" y="1846"/>
                  </a:cubicBezTo>
                  <a:cubicBezTo>
                    <a:pt x="3666" y="1793"/>
                    <a:pt x="3576" y="1732"/>
                    <a:pt x="3474" y="1697"/>
                  </a:cubicBezTo>
                  <a:cubicBezTo>
                    <a:pt x="3445" y="1696"/>
                    <a:pt x="3409" y="1696"/>
                    <a:pt x="3390" y="1722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19" name="Freeform 176"/>
            <p:cNvSpPr>
              <a:spLocks/>
            </p:cNvSpPr>
            <p:nvPr/>
          </p:nvSpPr>
          <p:spPr bwMode="auto">
            <a:xfrm>
              <a:off x="1575" y="2735"/>
              <a:ext cx="132" cy="203"/>
            </a:xfrm>
            <a:custGeom>
              <a:avLst/>
              <a:gdLst>
                <a:gd name="T0" fmla="*/ 130 w 678"/>
                <a:gd name="T1" fmla="*/ 105 h 1036"/>
                <a:gd name="T2" fmla="*/ 470 w 678"/>
                <a:gd name="T3" fmla="*/ 8 h 1036"/>
                <a:gd name="T4" fmla="*/ 678 w 678"/>
                <a:gd name="T5" fmla="*/ 91 h 1036"/>
                <a:gd name="T6" fmla="*/ 549 w 678"/>
                <a:gd name="T7" fmla="*/ 587 h 1036"/>
                <a:gd name="T8" fmla="*/ 447 w 678"/>
                <a:gd name="T9" fmla="*/ 678 h 1036"/>
                <a:gd name="T10" fmla="*/ 410 w 678"/>
                <a:gd name="T11" fmla="*/ 520 h 1036"/>
                <a:gd name="T12" fmla="*/ 489 w 678"/>
                <a:gd name="T13" fmla="*/ 463 h 1036"/>
                <a:gd name="T14" fmla="*/ 442 w 678"/>
                <a:gd name="T15" fmla="*/ 301 h 1036"/>
                <a:gd name="T16" fmla="*/ 320 w 678"/>
                <a:gd name="T17" fmla="*/ 482 h 1036"/>
                <a:gd name="T18" fmla="*/ 540 w 678"/>
                <a:gd name="T19" fmla="*/ 1009 h 1036"/>
                <a:gd name="T20" fmla="*/ 296 w 678"/>
                <a:gd name="T21" fmla="*/ 958 h 1036"/>
                <a:gd name="T22" fmla="*/ 102 w 678"/>
                <a:gd name="T23" fmla="*/ 789 h 1036"/>
                <a:gd name="T24" fmla="*/ 45 w 678"/>
                <a:gd name="T25" fmla="*/ 620 h 1036"/>
                <a:gd name="T26" fmla="*/ 0 w 678"/>
                <a:gd name="T27" fmla="*/ 394 h 1036"/>
                <a:gd name="T28" fmla="*/ 130 w 678"/>
                <a:gd name="T29" fmla="*/ 10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8" h="1036">
                  <a:moveTo>
                    <a:pt x="130" y="105"/>
                  </a:moveTo>
                  <a:cubicBezTo>
                    <a:pt x="219" y="18"/>
                    <a:pt x="351" y="0"/>
                    <a:pt x="470" y="8"/>
                  </a:cubicBezTo>
                  <a:cubicBezTo>
                    <a:pt x="546" y="11"/>
                    <a:pt x="624" y="35"/>
                    <a:pt x="678" y="91"/>
                  </a:cubicBezTo>
                  <a:cubicBezTo>
                    <a:pt x="583" y="240"/>
                    <a:pt x="626" y="431"/>
                    <a:pt x="549" y="587"/>
                  </a:cubicBezTo>
                  <a:cubicBezTo>
                    <a:pt x="528" y="629"/>
                    <a:pt x="490" y="660"/>
                    <a:pt x="447" y="678"/>
                  </a:cubicBezTo>
                  <a:cubicBezTo>
                    <a:pt x="437" y="625"/>
                    <a:pt x="403" y="576"/>
                    <a:pt x="410" y="520"/>
                  </a:cubicBezTo>
                  <a:cubicBezTo>
                    <a:pt x="416" y="483"/>
                    <a:pt x="459" y="474"/>
                    <a:pt x="489" y="463"/>
                  </a:cubicBezTo>
                  <a:cubicBezTo>
                    <a:pt x="429" y="433"/>
                    <a:pt x="444" y="356"/>
                    <a:pt x="442" y="301"/>
                  </a:cubicBezTo>
                  <a:cubicBezTo>
                    <a:pt x="372" y="333"/>
                    <a:pt x="313" y="401"/>
                    <a:pt x="320" y="482"/>
                  </a:cubicBezTo>
                  <a:cubicBezTo>
                    <a:pt x="338" y="677"/>
                    <a:pt x="488" y="824"/>
                    <a:pt x="540" y="1009"/>
                  </a:cubicBezTo>
                  <a:cubicBezTo>
                    <a:pt x="455" y="1036"/>
                    <a:pt x="368" y="1001"/>
                    <a:pt x="296" y="958"/>
                  </a:cubicBezTo>
                  <a:cubicBezTo>
                    <a:pt x="222" y="913"/>
                    <a:pt x="154" y="858"/>
                    <a:pt x="102" y="789"/>
                  </a:cubicBezTo>
                  <a:cubicBezTo>
                    <a:pt x="64" y="740"/>
                    <a:pt x="63" y="676"/>
                    <a:pt x="45" y="620"/>
                  </a:cubicBezTo>
                  <a:cubicBezTo>
                    <a:pt x="29" y="545"/>
                    <a:pt x="1" y="471"/>
                    <a:pt x="0" y="394"/>
                  </a:cubicBezTo>
                  <a:cubicBezTo>
                    <a:pt x="5" y="281"/>
                    <a:pt x="136" y="220"/>
                    <a:pt x="130" y="105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20" name="Freeform 177"/>
            <p:cNvSpPr>
              <a:spLocks/>
            </p:cNvSpPr>
            <p:nvPr/>
          </p:nvSpPr>
          <p:spPr bwMode="auto">
            <a:xfrm>
              <a:off x="2329" y="2837"/>
              <a:ext cx="138" cy="176"/>
            </a:xfrm>
            <a:custGeom>
              <a:avLst/>
              <a:gdLst>
                <a:gd name="T0" fmla="*/ 276 w 710"/>
                <a:gd name="T1" fmla="*/ 0 h 902"/>
                <a:gd name="T2" fmla="*/ 604 w 710"/>
                <a:gd name="T3" fmla="*/ 36 h 902"/>
                <a:gd name="T4" fmla="*/ 701 w 710"/>
                <a:gd name="T5" fmla="*/ 300 h 902"/>
                <a:gd name="T6" fmla="*/ 572 w 710"/>
                <a:gd name="T7" fmla="*/ 710 h 902"/>
                <a:gd name="T8" fmla="*/ 187 w 710"/>
                <a:gd name="T9" fmla="*/ 896 h 902"/>
                <a:gd name="T10" fmla="*/ 22 w 710"/>
                <a:gd name="T11" fmla="*/ 863 h 902"/>
                <a:gd name="T12" fmla="*/ 41 w 710"/>
                <a:gd name="T13" fmla="*/ 717 h 902"/>
                <a:gd name="T14" fmla="*/ 255 w 710"/>
                <a:gd name="T15" fmla="*/ 592 h 902"/>
                <a:gd name="T16" fmla="*/ 327 w 710"/>
                <a:gd name="T17" fmla="*/ 426 h 902"/>
                <a:gd name="T18" fmla="*/ 205 w 710"/>
                <a:gd name="T19" fmla="*/ 132 h 902"/>
                <a:gd name="T20" fmla="*/ 192 w 710"/>
                <a:gd name="T21" fmla="*/ 94 h 902"/>
                <a:gd name="T22" fmla="*/ 276 w 710"/>
                <a:gd name="T23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0" h="902">
                  <a:moveTo>
                    <a:pt x="276" y="0"/>
                  </a:moveTo>
                  <a:cubicBezTo>
                    <a:pt x="385" y="15"/>
                    <a:pt x="497" y="8"/>
                    <a:pt x="604" y="36"/>
                  </a:cubicBezTo>
                  <a:cubicBezTo>
                    <a:pt x="632" y="126"/>
                    <a:pt x="693" y="205"/>
                    <a:pt x="701" y="300"/>
                  </a:cubicBezTo>
                  <a:cubicBezTo>
                    <a:pt x="710" y="446"/>
                    <a:pt x="667" y="597"/>
                    <a:pt x="572" y="710"/>
                  </a:cubicBezTo>
                  <a:cubicBezTo>
                    <a:pt x="479" y="825"/>
                    <a:pt x="331" y="881"/>
                    <a:pt x="187" y="896"/>
                  </a:cubicBezTo>
                  <a:cubicBezTo>
                    <a:pt x="131" y="899"/>
                    <a:pt x="67" y="902"/>
                    <a:pt x="22" y="863"/>
                  </a:cubicBezTo>
                  <a:cubicBezTo>
                    <a:pt x="0" y="816"/>
                    <a:pt x="0" y="752"/>
                    <a:pt x="41" y="717"/>
                  </a:cubicBezTo>
                  <a:cubicBezTo>
                    <a:pt x="103" y="660"/>
                    <a:pt x="191" y="646"/>
                    <a:pt x="255" y="592"/>
                  </a:cubicBezTo>
                  <a:cubicBezTo>
                    <a:pt x="305" y="552"/>
                    <a:pt x="321" y="486"/>
                    <a:pt x="327" y="426"/>
                  </a:cubicBezTo>
                  <a:cubicBezTo>
                    <a:pt x="329" y="314"/>
                    <a:pt x="256" y="224"/>
                    <a:pt x="205" y="132"/>
                  </a:cubicBezTo>
                  <a:cubicBezTo>
                    <a:pt x="200" y="119"/>
                    <a:pt x="186" y="108"/>
                    <a:pt x="192" y="94"/>
                  </a:cubicBezTo>
                  <a:cubicBezTo>
                    <a:pt x="213" y="57"/>
                    <a:pt x="244" y="27"/>
                    <a:pt x="276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</p:grpSp>
      <p:grpSp>
        <p:nvGrpSpPr>
          <p:cNvPr id="172" name="Earth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929460" y="2213310"/>
            <a:ext cx="770548" cy="770548"/>
            <a:chOff x="31" y="32"/>
            <a:chExt cx="423" cy="423"/>
          </a:xfrm>
          <a:solidFill>
            <a:schemeClr val="tx2"/>
          </a:solidFill>
        </p:grpSpPr>
        <p:sp>
          <p:nvSpPr>
            <p:cNvPr id="173" name="Earth2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55" y="163"/>
              <a:ext cx="33" cy="20"/>
            </a:xfrm>
            <a:custGeom>
              <a:avLst/>
              <a:gdLst>
                <a:gd name="T0" fmla="*/ 9 w 88"/>
                <a:gd name="T1" fmla="*/ 53 h 55"/>
                <a:gd name="T2" fmla="*/ 48 w 88"/>
                <a:gd name="T3" fmla="*/ 47 h 55"/>
                <a:gd name="T4" fmla="*/ 77 w 88"/>
                <a:gd name="T5" fmla="*/ 55 h 55"/>
                <a:gd name="T6" fmla="*/ 88 w 88"/>
                <a:gd name="T7" fmla="*/ 35 h 55"/>
                <a:gd name="T8" fmla="*/ 20 w 88"/>
                <a:gd name="T9" fmla="*/ 0 h 55"/>
                <a:gd name="T10" fmla="*/ 0 w 88"/>
                <a:gd name="T11" fmla="*/ 37 h 55"/>
                <a:gd name="T12" fmla="*/ 9 w 88"/>
                <a:gd name="T1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55">
                  <a:moveTo>
                    <a:pt x="9" y="53"/>
                  </a:moveTo>
                  <a:lnTo>
                    <a:pt x="48" y="47"/>
                  </a:lnTo>
                  <a:lnTo>
                    <a:pt x="77" y="55"/>
                  </a:lnTo>
                  <a:lnTo>
                    <a:pt x="88" y="35"/>
                  </a:lnTo>
                  <a:lnTo>
                    <a:pt x="20" y="0"/>
                  </a:lnTo>
                  <a:lnTo>
                    <a:pt x="0" y="37"/>
                  </a:lnTo>
                  <a:lnTo>
                    <a:pt x="9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74" name="Earth2"/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auto">
            <a:xfrm>
              <a:off x="31" y="32"/>
              <a:ext cx="423" cy="423"/>
            </a:xfrm>
            <a:custGeom>
              <a:avLst/>
              <a:gdLst>
                <a:gd name="T0" fmla="*/ 761 w 1126"/>
                <a:gd name="T1" fmla="*/ 35 h 1125"/>
                <a:gd name="T2" fmla="*/ 719 w 1126"/>
                <a:gd name="T3" fmla="*/ 21 h 1125"/>
                <a:gd name="T4" fmla="*/ 656 w 1126"/>
                <a:gd name="T5" fmla="*/ 7 h 1125"/>
                <a:gd name="T6" fmla="*/ 608 w 1126"/>
                <a:gd name="T7" fmla="*/ 1 h 1125"/>
                <a:gd name="T8" fmla="*/ 544 w 1126"/>
                <a:gd name="T9" fmla="*/ 0 h 1125"/>
                <a:gd name="T10" fmla="*/ 506 w 1126"/>
                <a:gd name="T11" fmla="*/ 2 h 1125"/>
                <a:gd name="T12" fmla="*/ 469 w 1126"/>
                <a:gd name="T13" fmla="*/ 7 h 1125"/>
                <a:gd name="T14" fmla="*/ 437 w 1126"/>
                <a:gd name="T15" fmla="*/ 14 h 1125"/>
                <a:gd name="T16" fmla="*/ 400 w 1126"/>
                <a:gd name="T17" fmla="*/ 24 h 1125"/>
                <a:gd name="T18" fmla="*/ 371 w 1126"/>
                <a:gd name="T19" fmla="*/ 33 h 1125"/>
                <a:gd name="T20" fmla="*/ 334 w 1126"/>
                <a:gd name="T21" fmla="*/ 48 h 1125"/>
                <a:gd name="T22" fmla="*/ 308 w 1126"/>
                <a:gd name="T23" fmla="*/ 60 h 1125"/>
                <a:gd name="T24" fmla="*/ 273 w 1126"/>
                <a:gd name="T25" fmla="*/ 80 h 1125"/>
                <a:gd name="T26" fmla="*/ 250 w 1126"/>
                <a:gd name="T27" fmla="*/ 94 h 1125"/>
                <a:gd name="T28" fmla="*/ 218 w 1126"/>
                <a:gd name="T29" fmla="*/ 118 h 1125"/>
                <a:gd name="T30" fmla="*/ 197 w 1126"/>
                <a:gd name="T31" fmla="*/ 135 h 1125"/>
                <a:gd name="T32" fmla="*/ 167 w 1126"/>
                <a:gd name="T33" fmla="*/ 162 h 1125"/>
                <a:gd name="T34" fmla="*/ 48 w 1126"/>
                <a:gd name="T35" fmla="*/ 335 h 1125"/>
                <a:gd name="T36" fmla="*/ 35 w 1126"/>
                <a:gd name="T37" fmla="*/ 367 h 1125"/>
                <a:gd name="T38" fmla="*/ 17 w 1126"/>
                <a:gd name="T39" fmla="*/ 426 h 1125"/>
                <a:gd name="T40" fmla="*/ 9 w 1126"/>
                <a:gd name="T41" fmla="*/ 462 h 1125"/>
                <a:gd name="T42" fmla="*/ 3 w 1126"/>
                <a:gd name="T43" fmla="*/ 508 h 1125"/>
                <a:gd name="T44" fmla="*/ 1 w 1126"/>
                <a:gd name="T45" fmla="*/ 546 h 1125"/>
                <a:gd name="T46" fmla="*/ 1013 w 1126"/>
                <a:gd name="T47" fmla="*/ 344 h 1125"/>
                <a:gd name="T48" fmla="*/ 1015 w 1126"/>
                <a:gd name="T49" fmla="*/ 387 h 1125"/>
                <a:gd name="T50" fmla="*/ 1020 w 1126"/>
                <a:gd name="T51" fmla="*/ 494 h 1125"/>
                <a:gd name="T52" fmla="*/ 1062 w 1126"/>
                <a:gd name="T53" fmla="*/ 532 h 1125"/>
                <a:gd name="T54" fmla="*/ 953 w 1126"/>
                <a:gd name="T55" fmla="*/ 613 h 1125"/>
                <a:gd name="T56" fmla="*/ 916 w 1126"/>
                <a:gd name="T57" fmla="*/ 784 h 1125"/>
                <a:gd name="T58" fmla="*/ 745 w 1126"/>
                <a:gd name="T59" fmla="*/ 639 h 1125"/>
                <a:gd name="T60" fmla="*/ 758 w 1126"/>
                <a:gd name="T61" fmla="*/ 423 h 1125"/>
                <a:gd name="T62" fmla="*/ 903 w 1126"/>
                <a:gd name="T63" fmla="*/ 462 h 1125"/>
                <a:gd name="T64" fmla="*/ 832 w 1126"/>
                <a:gd name="T65" fmla="*/ 431 h 1125"/>
                <a:gd name="T66" fmla="*/ 773 w 1126"/>
                <a:gd name="T67" fmla="*/ 378 h 1125"/>
                <a:gd name="T68" fmla="*/ 709 w 1126"/>
                <a:gd name="T69" fmla="*/ 388 h 1125"/>
                <a:gd name="T70" fmla="*/ 674 w 1126"/>
                <a:gd name="T71" fmla="*/ 349 h 1125"/>
                <a:gd name="T72" fmla="*/ 741 w 1126"/>
                <a:gd name="T73" fmla="*/ 266 h 1125"/>
                <a:gd name="T74" fmla="*/ 846 w 1126"/>
                <a:gd name="T75" fmla="*/ 248 h 1125"/>
                <a:gd name="T76" fmla="*/ 824 w 1126"/>
                <a:gd name="T77" fmla="*/ 186 h 1125"/>
                <a:gd name="T78" fmla="*/ 838 w 1126"/>
                <a:gd name="T79" fmla="*/ 145 h 1125"/>
                <a:gd name="T80" fmla="*/ 999 w 1126"/>
                <a:gd name="T81" fmla="*/ 765 h 1125"/>
                <a:gd name="T82" fmla="*/ 524 w 1126"/>
                <a:gd name="T83" fmla="*/ 177 h 1125"/>
                <a:gd name="T84" fmla="*/ 393 w 1126"/>
                <a:gd name="T85" fmla="*/ 92 h 1125"/>
                <a:gd name="T86" fmla="*/ 812 w 1126"/>
                <a:gd name="T87" fmla="*/ 161 h 1125"/>
                <a:gd name="T88" fmla="*/ 761 w 1126"/>
                <a:gd name="T89" fmla="*/ 219 h 1125"/>
                <a:gd name="T90" fmla="*/ 765 w 1126"/>
                <a:gd name="T91" fmla="*/ 120 h 1125"/>
                <a:gd name="T92" fmla="*/ 631 w 1126"/>
                <a:gd name="T93" fmla="*/ 220 h 1125"/>
                <a:gd name="T94" fmla="*/ 696 w 1126"/>
                <a:gd name="T95" fmla="*/ 246 h 1125"/>
                <a:gd name="T96" fmla="*/ 316 w 1126"/>
                <a:gd name="T97" fmla="*/ 146 h 1125"/>
                <a:gd name="T98" fmla="*/ 316 w 1126"/>
                <a:gd name="T99" fmla="*/ 331 h 1125"/>
                <a:gd name="T100" fmla="*/ 446 w 1126"/>
                <a:gd name="T101" fmla="*/ 382 h 1125"/>
                <a:gd name="T102" fmla="*/ 281 w 1126"/>
                <a:gd name="T103" fmla="*/ 519 h 1125"/>
                <a:gd name="T104" fmla="*/ 238 w 1126"/>
                <a:gd name="T105" fmla="*/ 537 h 1125"/>
                <a:gd name="T106" fmla="*/ 297 w 1126"/>
                <a:gd name="T107" fmla="*/ 606 h 1125"/>
                <a:gd name="T108" fmla="*/ 526 w 1126"/>
                <a:gd name="T109" fmla="*/ 703 h 1125"/>
                <a:gd name="T110" fmla="*/ 316 w 1126"/>
                <a:gd name="T111" fmla="*/ 971 h 1125"/>
                <a:gd name="T112" fmla="*/ 328 w 1126"/>
                <a:gd name="T113" fmla="*/ 758 h 1125"/>
                <a:gd name="T114" fmla="*/ 244 w 1126"/>
                <a:gd name="T115" fmla="*/ 580 h 1125"/>
                <a:gd name="T116" fmla="*/ 86 w 1126"/>
                <a:gd name="T117" fmla="*/ 41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6" h="1125">
                  <a:moveTo>
                    <a:pt x="839" y="72"/>
                  </a:moveTo>
                  <a:cubicBezTo>
                    <a:pt x="839" y="72"/>
                    <a:pt x="839" y="72"/>
                    <a:pt x="839" y="72"/>
                  </a:cubicBezTo>
                  <a:cubicBezTo>
                    <a:pt x="826" y="65"/>
                    <a:pt x="814" y="58"/>
                    <a:pt x="801" y="52"/>
                  </a:cubicBezTo>
                  <a:cubicBezTo>
                    <a:pt x="801" y="52"/>
                    <a:pt x="800" y="52"/>
                    <a:pt x="800" y="52"/>
                  </a:cubicBezTo>
                  <a:cubicBezTo>
                    <a:pt x="787" y="46"/>
                    <a:pt x="774" y="40"/>
                    <a:pt x="761" y="35"/>
                  </a:cubicBezTo>
                  <a:cubicBezTo>
                    <a:pt x="761" y="35"/>
                    <a:pt x="760" y="35"/>
                    <a:pt x="760" y="35"/>
                  </a:cubicBezTo>
                  <a:cubicBezTo>
                    <a:pt x="753" y="32"/>
                    <a:pt x="747" y="30"/>
                    <a:pt x="740" y="28"/>
                  </a:cubicBezTo>
                  <a:cubicBezTo>
                    <a:pt x="740" y="28"/>
                    <a:pt x="739" y="28"/>
                    <a:pt x="738" y="27"/>
                  </a:cubicBezTo>
                  <a:cubicBezTo>
                    <a:pt x="732" y="25"/>
                    <a:pt x="725" y="23"/>
                    <a:pt x="719" y="21"/>
                  </a:cubicBezTo>
                  <a:cubicBezTo>
                    <a:pt x="719" y="21"/>
                    <a:pt x="719" y="21"/>
                    <a:pt x="719" y="21"/>
                  </a:cubicBezTo>
                  <a:cubicBezTo>
                    <a:pt x="712" y="19"/>
                    <a:pt x="705" y="18"/>
                    <a:pt x="699" y="16"/>
                  </a:cubicBezTo>
                  <a:cubicBezTo>
                    <a:pt x="698" y="16"/>
                    <a:pt x="697" y="15"/>
                    <a:pt x="696" y="15"/>
                  </a:cubicBezTo>
                  <a:cubicBezTo>
                    <a:pt x="689" y="14"/>
                    <a:pt x="682" y="12"/>
                    <a:pt x="676" y="11"/>
                  </a:cubicBezTo>
                  <a:lnTo>
                    <a:pt x="675" y="11"/>
                  </a:lnTo>
                  <a:cubicBezTo>
                    <a:pt x="669" y="9"/>
                    <a:pt x="662" y="8"/>
                    <a:pt x="656" y="7"/>
                  </a:cubicBezTo>
                  <a:cubicBezTo>
                    <a:pt x="654" y="7"/>
                    <a:pt x="653" y="7"/>
                    <a:pt x="652" y="7"/>
                  </a:cubicBezTo>
                  <a:cubicBezTo>
                    <a:pt x="646" y="5"/>
                    <a:pt x="639" y="5"/>
                    <a:pt x="632" y="4"/>
                  </a:cubicBezTo>
                  <a:cubicBezTo>
                    <a:pt x="631" y="4"/>
                    <a:pt x="630" y="3"/>
                    <a:pt x="629" y="3"/>
                  </a:cubicBezTo>
                  <a:cubicBezTo>
                    <a:pt x="623" y="3"/>
                    <a:pt x="617" y="2"/>
                    <a:pt x="611" y="2"/>
                  </a:cubicBezTo>
                  <a:cubicBezTo>
                    <a:pt x="610" y="1"/>
                    <a:pt x="609" y="1"/>
                    <a:pt x="608" y="1"/>
                  </a:cubicBezTo>
                  <a:cubicBezTo>
                    <a:pt x="601" y="1"/>
                    <a:pt x="595" y="0"/>
                    <a:pt x="588" y="0"/>
                  </a:cubicBezTo>
                  <a:cubicBezTo>
                    <a:pt x="586" y="0"/>
                    <a:pt x="585" y="0"/>
                    <a:pt x="583" y="0"/>
                  </a:cubicBezTo>
                  <a:cubicBezTo>
                    <a:pt x="577" y="0"/>
                    <a:pt x="570" y="0"/>
                    <a:pt x="563" y="0"/>
                  </a:cubicBezTo>
                  <a:cubicBezTo>
                    <a:pt x="558" y="0"/>
                    <a:pt x="553" y="0"/>
                    <a:pt x="548" y="0"/>
                  </a:cubicBezTo>
                  <a:cubicBezTo>
                    <a:pt x="547" y="0"/>
                    <a:pt x="546" y="0"/>
                    <a:pt x="544" y="0"/>
                  </a:cubicBezTo>
                  <a:cubicBezTo>
                    <a:pt x="541" y="0"/>
                    <a:pt x="538" y="0"/>
                    <a:pt x="534" y="0"/>
                  </a:cubicBezTo>
                  <a:cubicBezTo>
                    <a:pt x="532" y="0"/>
                    <a:pt x="530" y="0"/>
                    <a:pt x="528" y="1"/>
                  </a:cubicBezTo>
                  <a:cubicBezTo>
                    <a:pt x="525" y="1"/>
                    <a:pt x="522" y="1"/>
                    <a:pt x="520" y="1"/>
                  </a:cubicBezTo>
                  <a:cubicBezTo>
                    <a:pt x="517" y="1"/>
                    <a:pt x="515" y="2"/>
                    <a:pt x="513" y="2"/>
                  </a:cubicBezTo>
                  <a:cubicBezTo>
                    <a:pt x="511" y="2"/>
                    <a:pt x="508" y="2"/>
                    <a:pt x="506" y="2"/>
                  </a:cubicBezTo>
                  <a:cubicBezTo>
                    <a:pt x="503" y="3"/>
                    <a:pt x="501" y="3"/>
                    <a:pt x="498" y="3"/>
                  </a:cubicBezTo>
                  <a:cubicBezTo>
                    <a:pt x="496" y="4"/>
                    <a:pt x="494" y="4"/>
                    <a:pt x="492" y="4"/>
                  </a:cubicBezTo>
                  <a:cubicBezTo>
                    <a:pt x="489" y="4"/>
                    <a:pt x="486" y="5"/>
                    <a:pt x="483" y="5"/>
                  </a:cubicBezTo>
                  <a:cubicBezTo>
                    <a:pt x="481" y="5"/>
                    <a:pt x="480" y="6"/>
                    <a:pt x="478" y="6"/>
                  </a:cubicBezTo>
                  <a:cubicBezTo>
                    <a:pt x="475" y="6"/>
                    <a:pt x="472" y="7"/>
                    <a:pt x="469" y="7"/>
                  </a:cubicBezTo>
                  <a:cubicBezTo>
                    <a:pt x="467" y="8"/>
                    <a:pt x="465" y="8"/>
                    <a:pt x="464" y="8"/>
                  </a:cubicBezTo>
                  <a:cubicBezTo>
                    <a:pt x="461" y="9"/>
                    <a:pt x="458" y="9"/>
                    <a:pt x="455" y="10"/>
                  </a:cubicBezTo>
                  <a:cubicBezTo>
                    <a:pt x="453" y="10"/>
                    <a:pt x="452" y="10"/>
                    <a:pt x="450" y="11"/>
                  </a:cubicBezTo>
                  <a:cubicBezTo>
                    <a:pt x="447" y="11"/>
                    <a:pt x="444" y="12"/>
                    <a:pt x="441" y="13"/>
                  </a:cubicBezTo>
                  <a:cubicBezTo>
                    <a:pt x="439" y="13"/>
                    <a:pt x="438" y="13"/>
                    <a:pt x="437" y="14"/>
                  </a:cubicBezTo>
                  <a:cubicBezTo>
                    <a:pt x="433" y="15"/>
                    <a:pt x="430" y="15"/>
                    <a:pt x="427" y="16"/>
                  </a:cubicBezTo>
                  <a:cubicBezTo>
                    <a:pt x="426" y="16"/>
                    <a:pt x="424" y="17"/>
                    <a:pt x="423" y="17"/>
                  </a:cubicBezTo>
                  <a:cubicBezTo>
                    <a:pt x="420" y="18"/>
                    <a:pt x="417" y="19"/>
                    <a:pt x="413" y="20"/>
                  </a:cubicBezTo>
                  <a:cubicBezTo>
                    <a:pt x="412" y="20"/>
                    <a:pt x="411" y="20"/>
                    <a:pt x="410" y="21"/>
                  </a:cubicBezTo>
                  <a:cubicBezTo>
                    <a:pt x="406" y="22"/>
                    <a:pt x="403" y="23"/>
                    <a:pt x="400" y="24"/>
                  </a:cubicBezTo>
                  <a:cubicBezTo>
                    <a:pt x="399" y="24"/>
                    <a:pt x="398" y="24"/>
                    <a:pt x="397" y="25"/>
                  </a:cubicBezTo>
                  <a:cubicBezTo>
                    <a:pt x="393" y="26"/>
                    <a:pt x="390" y="27"/>
                    <a:pt x="386" y="28"/>
                  </a:cubicBezTo>
                  <a:cubicBezTo>
                    <a:pt x="385" y="28"/>
                    <a:pt x="384" y="28"/>
                    <a:pt x="383" y="29"/>
                  </a:cubicBezTo>
                  <a:cubicBezTo>
                    <a:pt x="380" y="30"/>
                    <a:pt x="376" y="31"/>
                    <a:pt x="373" y="32"/>
                  </a:cubicBezTo>
                  <a:cubicBezTo>
                    <a:pt x="372" y="33"/>
                    <a:pt x="371" y="33"/>
                    <a:pt x="371" y="33"/>
                  </a:cubicBezTo>
                  <a:cubicBezTo>
                    <a:pt x="367" y="35"/>
                    <a:pt x="363" y="36"/>
                    <a:pt x="360" y="37"/>
                  </a:cubicBezTo>
                  <a:cubicBezTo>
                    <a:pt x="359" y="38"/>
                    <a:pt x="359" y="38"/>
                    <a:pt x="358" y="38"/>
                  </a:cubicBezTo>
                  <a:cubicBezTo>
                    <a:pt x="354" y="40"/>
                    <a:pt x="351" y="41"/>
                    <a:pt x="347" y="42"/>
                  </a:cubicBezTo>
                  <a:cubicBezTo>
                    <a:pt x="346" y="43"/>
                    <a:pt x="346" y="43"/>
                    <a:pt x="345" y="43"/>
                  </a:cubicBezTo>
                  <a:cubicBezTo>
                    <a:pt x="342" y="45"/>
                    <a:pt x="338" y="46"/>
                    <a:pt x="334" y="48"/>
                  </a:cubicBezTo>
                  <a:cubicBezTo>
                    <a:pt x="334" y="48"/>
                    <a:pt x="333" y="48"/>
                    <a:pt x="333" y="49"/>
                  </a:cubicBezTo>
                  <a:cubicBezTo>
                    <a:pt x="329" y="50"/>
                    <a:pt x="325" y="52"/>
                    <a:pt x="322" y="54"/>
                  </a:cubicBezTo>
                  <a:cubicBezTo>
                    <a:pt x="321" y="54"/>
                    <a:pt x="321" y="54"/>
                    <a:pt x="320" y="54"/>
                  </a:cubicBezTo>
                  <a:cubicBezTo>
                    <a:pt x="317" y="56"/>
                    <a:pt x="313" y="58"/>
                    <a:pt x="309" y="60"/>
                  </a:cubicBezTo>
                  <a:cubicBezTo>
                    <a:pt x="309" y="60"/>
                    <a:pt x="309" y="60"/>
                    <a:pt x="308" y="60"/>
                  </a:cubicBezTo>
                  <a:cubicBezTo>
                    <a:pt x="305" y="62"/>
                    <a:pt x="301" y="64"/>
                    <a:pt x="297" y="66"/>
                  </a:cubicBezTo>
                  <a:cubicBezTo>
                    <a:pt x="297" y="66"/>
                    <a:pt x="297" y="67"/>
                    <a:pt x="296" y="67"/>
                  </a:cubicBezTo>
                  <a:cubicBezTo>
                    <a:pt x="293" y="69"/>
                    <a:pt x="289" y="71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1" y="75"/>
                    <a:pt x="277" y="77"/>
                    <a:pt x="273" y="80"/>
                  </a:cubicBezTo>
                  <a:lnTo>
                    <a:pt x="273" y="80"/>
                  </a:lnTo>
                  <a:cubicBezTo>
                    <a:pt x="269" y="82"/>
                    <a:pt x="266" y="85"/>
                    <a:pt x="262" y="87"/>
                  </a:cubicBezTo>
                  <a:lnTo>
                    <a:pt x="262" y="87"/>
                  </a:lnTo>
                  <a:cubicBezTo>
                    <a:pt x="258" y="89"/>
                    <a:pt x="254" y="92"/>
                    <a:pt x="251" y="94"/>
                  </a:cubicBezTo>
                  <a:cubicBezTo>
                    <a:pt x="250" y="94"/>
                    <a:pt x="250" y="94"/>
                    <a:pt x="250" y="94"/>
                  </a:cubicBezTo>
                  <a:cubicBezTo>
                    <a:pt x="247" y="97"/>
                    <a:pt x="243" y="99"/>
                    <a:pt x="239" y="102"/>
                  </a:cubicBezTo>
                  <a:lnTo>
                    <a:pt x="239" y="102"/>
                  </a:lnTo>
                  <a:cubicBezTo>
                    <a:pt x="236" y="105"/>
                    <a:pt x="232" y="107"/>
                    <a:pt x="228" y="110"/>
                  </a:cubicBezTo>
                  <a:lnTo>
                    <a:pt x="228" y="110"/>
                  </a:lnTo>
                  <a:cubicBezTo>
                    <a:pt x="225" y="113"/>
                    <a:pt x="221" y="115"/>
                    <a:pt x="218" y="118"/>
                  </a:cubicBezTo>
                  <a:lnTo>
                    <a:pt x="218" y="118"/>
                  </a:lnTo>
                  <a:cubicBezTo>
                    <a:pt x="214" y="121"/>
                    <a:pt x="211" y="124"/>
                    <a:pt x="207" y="126"/>
                  </a:cubicBezTo>
                  <a:lnTo>
                    <a:pt x="207" y="126"/>
                  </a:lnTo>
                  <a:cubicBezTo>
                    <a:pt x="204" y="129"/>
                    <a:pt x="200" y="132"/>
                    <a:pt x="197" y="135"/>
                  </a:cubicBezTo>
                  <a:lnTo>
                    <a:pt x="197" y="135"/>
                  </a:lnTo>
                  <a:cubicBezTo>
                    <a:pt x="193" y="138"/>
                    <a:pt x="190" y="141"/>
                    <a:pt x="187" y="144"/>
                  </a:cubicBezTo>
                  <a:lnTo>
                    <a:pt x="187" y="144"/>
                  </a:lnTo>
                  <a:cubicBezTo>
                    <a:pt x="184" y="147"/>
                    <a:pt x="180" y="150"/>
                    <a:pt x="177" y="153"/>
                  </a:cubicBezTo>
                  <a:lnTo>
                    <a:pt x="177" y="153"/>
                  </a:lnTo>
                  <a:cubicBezTo>
                    <a:pt x="174" y="156"/>
                    <a:pt x="171" y="159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lnTo>
                    <a:pt x="167" y="162"/>
                  </a:lnTo>
                  <a:cubicBezTo>
                    <a:pt x="121" y="208"/>
                    <a:pt x="83" y="261"/>
                    <a:pt x="55" y="321"/>
                  </a:cubicBezTo>
                  <a:cubicBezTo>
                    <a:pt x="54" y="322"/>
                    <a:pt x="54" y="323"/>
                    <a:pt x="53" y="324"/>
                  </a:cubicBezTo>
                  <a:cubicBezTo>
                    <a:pt x="52" y="327"/>
                    <a:pt x="50" y="331"/>
                    <a:pt x="48" y="335"/>
                  </a:cubicBezTo>
                  <a:cubicBezTo>
                    <a:pt x="48" y="336"/>
                    <a:pt x="47" y="337"/>
                    <a:pt x="47" y="338"/>
                  </a:cubicBezTo>
                  <a:cubicBezTo>
                    <a:pt x="45" y="342"/>
                    <a:pt x="44" y="345"/>
                    <a:pt x="42" y="349"/>
                  </a:cubicBezTo>
                  <a:cubicBezTo>
                    <a:pt x="42" y="350"/>
                    <a:pt x="41" y="351"/>
                    <a:pt x="41" y="353"/>
                  </a:cubicBezTo>
                  <a:cubicBezTo>
                    <a:pt x="39" y="356"/>
                    <a:pt x="38" y="360"/>
                    <a:pt x="36" y="364"/>
                  </a:cubicBezTo>
                  <a:cubicBezTo>
                    <a:pt x="36" y="365"/>
                    <a:pt x="36" y="366"/>
                    <a:pt x="35" y="367"/>
                  </a:cubicBezTo>
                  <a:cubicBezTo>
                    <a:pt x="32" y="377"/>
                    <a:pt x="28" y="386"/>
                    <a:pt x="25" y="396"/>
                  </a:cubicBezTo>
                  <a:cubicBezTo>
                    <a:pt x="25" y="397"/>
                    <a:pt x="25" y="399"/>
                    <a:pt x="24" y="400"/>
                  </a:cubicBezTo>
                  <a:cubicBezTo>
                    <a:pt x="23" y="403"/>
                    <a:pt x="22" y="407"/>
                    <a:pt x="21" y="411"/>
                  </a:cubicBezTo>
                  <a:cubicBezTo>
                    <a:pt x="21" y="413"/>
                    <a:pt x="20" y="414"/>
                    <a:pt x="20" y="416"/>
                  </a:cubicBezTo>
                  <a:cubicBezTo>
                    <a:pt x="19" y="419"/>
                    <a:pt x="18" y="423"/>
                    <a:pt x="17" y="426"/>
                  </a:cubicBezTo>
                  <a:cubicBezTo>
                    <a:pt x="17" y="428"/>
                    <a:pt x="16" y="429"/>
                    <a:pt x="16" y="431"/>
                  </a:cubicBezTo>
                  <a:cubicBezTo>
                    <a:pt x="15" y="435"/>
                    <a:pt x="14" y="438"/>
                    <a:pt x="13" y="442"/>
                  </a:cubicBezTo>
                  <a:cubicBezTo>
                    <a:pt x="13" y="443"/>
                    <a:pt x="13" y="445"/>
                    <a:pt x="12" y="446"/>
                  </a:cubicBezTo>
                  <a:cubicBezTo>
                    <a:pt x="12" y="451"/>
                    <a:pt x="11" y="455"/>
                    <a:pt x="10" y="459"/>
                  </a:cubicBezTo>
                  <a:cubicBezTo>
                    <a:pt x="10" y="460"/>
                    <a:pt x="10" y="461"/>
                    <a:pt x="9" y="462"/>
                  </a:cubicBezTo>
                  <a:cubicBezTo>
                    <a:pt x="8" y="467"/>
                    <a:pt x="8" y="472"/>
                    <a:pt x="7" y="477"/>
                  </a:cubicBezTo>
                  <a:cubicBezTo>
                    <a:pt x="7" y="478"/>
                    <a:pt x="7" y="479"/>
                    <a:pt x="6" y="480"/>
                  </a:cubicBezTo>
                  <a:cubicBezTo>
                    <a:pt x="6" y="484"/>
                    <a:pt x="5" y="489"/>
                    <a:pt x="5" y="493"/>
                  </a:cubicBezTo>
                  <a:cubicBezTo>
                    <a:pt x="5" y="494"/>
                    <a:pt x="4" y="496"/>
                    <a:pt x="4" y="498"/>
                  </a:cubicBezTo>
                  <a:cubicBezTo>
                    <a:pt x="4" y="501"/>
                    <a:pt x="3" y="505"/>
                    <a:pt x="3" y="508"/>
                  </a:cubicBezTo>
                  <a:cubicBezTo>
                    <a:pt x="3" y="510"/>
                    <a:pt x="3" y="512"/>
                    <a:pt x="3" y="514"/>
                  </a:cubicBezTo>
                  <a:cubicBezTo>
                    <a:pt x="2" y="517"/>
                    <a:pt x="2" y="521"/>
                    <a:pt x="2" y="524"/>
                  </a:cubicBezTo>
                  <a:cubicBezTo>
                    <a:pt x="2" y="526"/>
                    <a:pt x="2" y="528"/>
                    <a:pt x="1" y="530"/>
                  </a:cubicBezTo>
                  <a:cubicBezTo>
                    <a:pt x="1" y="534"/>
                    <a:pt x="1" y="537"/>
                    <a:pt x="1" y="541"/>
                  </a:cubicBezTo>
                  <a:cubicBezTo>
                    <a:pt x="1" y="543"/>
                    <a:pt x="1" y="544"/>
                    <a:pt x="1" y="546"/>
                  </a:cubicBezTo>
                  <a:cubicBezTo>
                    <a:pt x="1" y="551"/>
                    <a:pt x="0" y="557"/>
                    <a:pt x="0" y="562"/>
                  </a:cubicBezTo>
                  <a:cubicBezTo>
                    <a:pt x="0" y="873"/>
                    <a:pt x="252" y="1125"/>
                    <a:pt x="563" y="1125"/>
                  </a:cubicBezTo>
                  <a:cubicBezTo>
                    <a:pt x="874" y="1125"/>
                    <a:pt x="1126" y="873"/>
                    <a:pt x="1126" y="562"/>
                  </a:cubicBezTo>
                  <a:cubicBezTo>
                    <a:pt x="1126" y="352"/>
                    <a:pt x="1010" y="168"/>
                    <a:pt x="839" y="72"/>
                  </a:cubicBezTo>
                  <a:close/>
                  <a:moveTo>
                    <a:pt x="1013" y="344"/>
                  </a:moveTo>
                  <a:lnTo>
                    <a:pt x="977" y="364"/>
                  </a:lnTo>
                  <a:lnTo>
                    <a:pt x="991" y="400"/>
                  </a:lnTo>
                  <a:lnTo>
                    <a:pt x="985" y="425"/>
                  </a:lnTo>
                  <a:lnTo>
                    <a:pt x="1021" y="428"/>
                  </a:lnTo>
                  <a:lnTo>
                    <a:pt x="1015" y="387"/>
                  </a:lnTo>
                  <a:lnTo>
                    <a:pt x="1001" y="368"/>
                  </a:lnTo>
                  <a:lnTo>
                    <a:pt x="1017" y="361"/>
                  </a:lnTo>
                  <a:lnTo>
                    <a:pt x="1017" y="353"/>
                  </a:lnTo>
                  <a:cubicBezTo>
                    <a:pt x="1038" y="399"/>
                    <a:pt x="1053" y="449"/>
                    <a:pt x="1059" y="501"/>
                  </a:cubicBezTo>
                  <a:lnTo>
                    <a:pt x="1020" y="494"/>
                  </a:lnTo>
                  <a:lnTo>
                    <a:pt x="998" y="475"/>
                  </a:lnTo>
                  <a:lnTo>
                    <a:pt x="986" y="481"/>
                  </a:lnTo>
                  <a:lnTo>
                    <a:pt x="1003" y="520"/>
                  </a:lnTo>
                  <a:lnTo>
                    <a:pt x="1028" y="507"/>
                  </a:lnTo>
                  <a:lnTo>
                    <a:pt x="1062" y="532"/>
                  </a:lnTo>
                  <a:lnTo>
                    <a:pt x="1062" y="533"/>
                  </a:lnTo>
                  <a:lnTo>
                    <a:pt x="962" y="592"/>
                  </a:lnTo>
                  <a:lnTo>
                    <a:pt x="911" y="491"/>
                  </a:lnTo>
                  <a:lnTo>
                    <a:pt x="900" y="492"/>
                  </a:lnTo>
                  <a:lnTo>
                    <a:pt x="953" y="613"/>
                  </a:lnTo>
                  <a:lnTo>
                    <a:pt x="1004" y="589"/>
                  </a:lnTo>
                  <a:lnTo>
                    <a:pt x="988" y="645"/>
                  </a:lnTo>
                  <a:lnTo>
                    <a:pt x="937" y="692"/>
                  </a:lnTo>
                  <a:lnTo>
                    <a:pt x="944" y="761"/>
                  </a:lnTo>
                  <a:lnTo>
                    <a:pt x="916" y="784"/>
                  </a:lnTo>
                  <a:lnTo>
                    <a:pt x="862" y="884"/>
                  </a:lnTo>
                  <a:lnTo>
                    <a:pt x="809" y="894"/>
                  </a:lnTo>
                  <a:lnTo>
                    <a:pt x="762" y="781"/>
                  </a:lnTo>
                  <a:lnTo>
                    <a:pt x="774" y="729"/>
                  </a:lnTo>
                  <a:lnTo>
                    <a:pt x="745" y="639"/>
                  </a:lnTo>
                  <a:lnTo>
                    <a:pt x="646" y="645"/>
                  </a:lnTo>
                  <a:lnTo>
                    <a:pt x="592" y="592"/>
                  </a:lnTo>
                  <a:lnTo>
                    <a:pt x="601" y="505"/>
                  </a:lnTo>
                  <a:lnTo>
                    <a:pt x="654" y="441"/>
                  </a:lnTo>
                  <a:lnTo>
                    <a:pt x="758" y="423"/>
                  </a:lnTo>
                  <a:lnTo>
                    <a:pt x="764" y="450"/>
                  </a:lnTo>
                  <a:lnTo>
                    <a:pt x="806" y="478"/>
                  </a:lnTo>
                  <a:lnTo>
                    <a:pt x="822" y="455"/>
                  </a:lnTo>
                  <a:lnTo>
                    <a:pt x="886" y="472"/>
                  </a:lnTo>
                  <a:lnTo>
                    <a:pt x="903" y="462"/>
                  </a:lnTo>
                  <a:lnTo>
                    <a:pt x="910" y="437"/>
                  </a:lnTo>
                  <a:lnTo>
                    <a:pt x="866" y="430"/>
                  </a:lnTo>
                  <a:lnTo>
                    <a:pt x="851" y="405"/>
                  </a:lnTo>
                  <a:lnTo>
                    <a:pt x="841" y="400"/>
                  </a:lnTo>
                  <a:lnTo>
                    <a:pt x="832" y="431"/>
                  </a:lnTo>
                  <a:lnTo>
                    <a:pt x="812" y="407"/>
                  </a:lnTo>
                  <a:lnTo>
                    <a:pt x="814" y="386"/>
                  </a:lnTo>
                  <a:lnTo>
                    <a:pt x="787" y="365"/>
                  </a:lnTo>
                  <a:lnTo>
                    <a:pt x="772" y="357"/>
                  </a:lnTo>
                  <a:lnTo>
                    <a:pt x="773" y="378"/>
                  </a:lnTo>
                  <a:lnTo>
                    <a:pt x="806" y="400"/>
                  </a:lnTo>
                  <a:lnTo>
                    <a:pt x="789" y="420"/>
                  </a:lnTo>
                  <a:lnTo>
                    <a:pt x="765" y="388"/>
                  </a:lnTo>
                  <a:lnTo>
                    <a:pt x="748" y="369"/>
                  </a:lnTo>
                  <a:lnTo>
                    <a:pt x="709" y="388"/>
                  </a:lnTo>
                  <a:lnTo>
                    <a:pt x="682" y="432"/>
                  </a:lnTo>
                  <a:lnTo>
                    <a:pt x="640" y="425"/>
                  </a:lnTo>
                  <a:lnTo>
                    <a:pt x="637" y="373"/>
                  </a:lnTo>
                  <a:lnTo>
                    <a:pt x="691" y="377"/>
                  </a:lnTo>
                  <a:lnTo>
                    <a:pt x="674" y="349"/>
                  </a:lnTo>
                  <a:lnTo>
                    <a:pt x="663" y="327"/>
                  </a:lnTo>
                  <a:lnTo>
                    <a:pt x="704" y="314"/>
                  </a:lnTo>
                  <a:lnTo>
                    <a:pt x="726" y="284"/>
                  </a:lnTo>
                  <a:lnTo>
                    <a:pt x="744" y="283"/>
                  </a:lnTo>
                  <a:lnTo>
                    <a:pt x="741" y="266"/>
                  </a:lnTo>
                  <a:lnTo>
                    <a:pt x="752" y="250"/>
                  </a:lnTo>
                  <a:lnTo>
                    <a:pt x="761" y="276"/>
                  </a:lnTo>
                  <a:lnTo>
                    <a:pt x="812" y="277"/>
                  </a:lnTo>
                  <a:lnTo>
                    <a:pt x="827" y="241"/>
                  </a:lnTo>
                  <a:lnTo>
                    <a:pt x="846" y="248"/>
                  </a:lnTo>
                  <a:lnTo>
                    <a:pt x="840" y="223"/>
                  </a:lnTo>
                  <a:lnTo>
                    <a:pt x="870" y="213"/>
                  </a:lnTo>
                  <a:lnTo>
                    <a:pt x="861" y="202"/>
                  </a:lnTo>
                  <a:lnTo>
                    <a:pt x="833" y="210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3" y="184"/>
                  </a:lnTo>
                  <a:lnTo>
                    <a:pt x="819" y="174"/>
                  </a:lnTo>
                  <a:lnTo>
                    <a:pt x="830" y="167"/>
                  </a:lnTo>
                  <a:lnTo>
                    <a:pt x="838" y="145"/>
                  </a:lnTo>
                  <a:cubicBezTo>
                    <a:pt x="913" y="194"/>
                    <a:pt x="973" y="263"/>
                    <a:pt x="1013" y="344"/>
                  </a:cubicBezTo>
                  <a:close/>
                  <a:moveTo>
                    <a:pt x="957" y="819"/>
                  </a:moveTo>
                  <a:lnTo>
                    <a:pt x="958" y="767"/>
                  </a:lnTo>
                  <a:lnTo>
                    <a:pt x="994" y="739"/>
                  </a:lnTo>
                  <a:lnTo>
                    <a:pt x="999" y="765"/>
                  </a:lnTo>
                  <a:lnTo>
                    <a:pt x="978" y="828"/>
                  </a:lnTo>
                  <a:lnTo>
                    <a:pt x="957" y="819"/>
                  </a:lnTo>
                  <a:close/>
                  <a:moveTo>
                    <a:pt x="531" y="97"/>
                  </a:moveTo>
                  <a:lnTo>
                    <a:pt x="548" y="132"/>
                  </a:lnTo>
                  <a:lnTo>
                    <a:pt x="524" y="177"/>
                  </a:lnTo>
                  <a:lnTo>
                    <a:pt x="523" y="201"/>
                  </a:lnTo>
                  <a:lnTo>
                    <a:pt x="499" y="216"/>
                  </a:lnTo>
                  <a:lnTo>
                    <a:pt x="496" y="278"/>
                  </a:lnTo>
                  <a:lnTo>
                    <a:pt x="461" y="269"/>
                  </a:lnTo>
                  <a:lnTo>
                    <a:pt x="393" y="92"/>
                  </a:lnTo>
                  <a:cubicBezTo>
                    <a:pt x="431" y="78"/>
                    <a:pt x="471" y="69"/>
                    <a:pt x="512" y="65"/>
                  </a:cubicBezTo>
                  <a:lnTo>
                    <a:pt x="531" y="97"/>
                  </a:lnTo>
                  <a:close/>
                  <a:moveTo>
                    <a:pt x="832" y="141"/>
                  </a:moveTo>
                  <a:lnTo>
                    <a:pt x="829" y="141"/>
                  </a:lnTo>
                  <a:lnTo>
                    <a:pt x="812" y="161"/>
                  </a:lnTo>
                  <a:lnTo>
                    <a:pt x="798" y="193"/>
                  </a:lnTo>
                  <a:lnTo>
                    <a:pt x="814" y="210"/>
                  </a:lnTo>
                  <a:lnTo>
                    <a:pt x="798" y="251"/>
                  </a:lnTo>
                  <a:lnTo>
                    <a:pt x="775" y="260"/>
                  </a:lnTo>
                  <a:lnTo>
                    <a:pt x="761" y="219"/>
                  </a:lnTo>
                  <a:lnTo>
                    <a:pt x="734" y="234"/>
                  </a:lnTo>
                  <a:lnTo>
                    <a:pt x="721" y="227"/>
                  </a:lnTo>
                  <a:lnTo>
                    <a:pt x="722" y="186"/>
                  </a:lnTo>
                  <a:lnTo>
                    <a:pt x="746" y="168"/>
                  </a:lnTo>
                  <a:lnTo>
                    <a:pt x="765" y="120"/>
                  </a:lnTo>
                  <a:lnTo>
                    <a:pt x="780" y="112"/>
                  </a:lnTo>
                  <a:cubicBezTo>
                    <a:pt x="798" y="120"/>
                    <a:pt x="815" y="130"/>
                    <a:pt x="832" y="141"/>
                  </a:cubicBezTo>
                  <a:close/>
                  <a:moveTo>
                    <a:pt x="653" y="245"/>
                  </a:moveTo>
                  <a:lnTo>
                    <a:pt x="630" y="245"/>
                  </a:lnTo>
                  <a:lnTo>
                    <a:pt x="631" y="220"/>
                  </a:lnTo>
                  <a:lnTo>
                    <a:pt x="651" y="197"/>
                  </a:lnTo>
                  <a:lnTo>
                    <a:pt x="649" y="179"/>
                  </a:lnTo>
                  <a:lnTo>
                    <a:pt x="670" y="164"/>
                  </a:lnTo>
                  <a:lnTo>
                    <a:pt x="705" y="232"/>
                  </a:lnTo>
                  <a:lnTo>
                    <a:pt x="696" y="246"/>
                  </a:lnTo>
                  <a:lnTo>
                    <a:pt x="664" y="261"/>
                  </a:lnTo>
                  <a:lnTo>
                    <a:pt x="664" y="214"/>
                  </a:lnTo>
                  <a:lnTo>
                    <a:pt x="653" y="245"/>
                  </a:lnTo>
                  <a:close/>
                  <a:moveTo>
                    <a:pt x="280" y="150"/>
                  </a:moveTo>
                  <a:lnTo>
                    <a:pt x="316" y="146"/>
                  </a:lnTo>
                  <a:lnTo>
                    <a:pt x="316" y="224"/>
                  </a:lnTo>
                  <a:lnTo>
                    <a:pt x="254" y="236"/>
                  </a:lnTo>
                  <a:lnTo>
                    <a:pt x="242" y="269"/>
                  </a:lnTo>
                  <a:lnTo>
                    <a:pt x="301" y="333"/>
                  </a:lnTo>
                  <a:lnTo>
                    <a:pt x="316" y="331"/>
                  </a:lnTo>
                  <a:lnTo>
                    <a:pt x="326" y="251"/>
                  </a:lnTo>
                  <a:lnTo>
                    <a:pt x="365" y="249"/>
                  </a:lnTo>
                  <a:lnTo>
                    <a:pt x="381" y="294"/>
                  </a:lnTo>
                  <a:lnTo>
                    <a:pt x="401" y="281"/>
                  </a:lnTo>
                  <a:lnTo>
                    <a:pt x="446" y="382"/>
                  </a:lnTo>
                  <a:lnTo>
                    <a:pt x="383" y="411"/>
                  </a:lnTo>
                  <a:lnTo>
                    <a:pt x="334" y="437"/>
                  </a:lnTo>
                  <a:lnTo>
                    <a:pt x="295" y="490"/>
                  </a:lnTo>
                  <a:lnTo>
                    <a:pt x="295" y="517"/>
                  </a:lnTo>
                  <a:lnTo>
                    <a:pt x="281" y="519"/>
                  </a:lnTo>
                  <a:lnTo>
                    <a:pt x="271" y="490"/>
                  </a:lnTo>
                  <a:lnTo>
                    <a:pt x="215" y="499"/>
                  </a:lnTo>
                  <a:lnTo>
                    <a:pt x="203" y="533"/>
                  </a:lnTo>
                  <a:lnTo>
                    <a:pt x="217" y="554"/>
                  </a:lnTo>
                  <a:lnTo>
                    <a:pt x="238" y="537"/>
                  </a:lnTo>
                  <a:lnTo>
                    <a:pt x="258" y="539"/>
                  </a:lnTo>
                  <a:lnTo>
                    <a:pt x="248" y="568"/>
                  </a:lnTo>
                  <a:lnTo>
                    <a:pt x="273" y="570"/>
                  </a:lnTo>
                  <a:lnTo>
                    <a:pt x="281" y="601"/>
                  </a:lnTo>
                  <a:lnTo>
                    <a:pt x="297" y="606"/>
                  </a:lnTo>
                  <a:lnTo>
                    <a:pt x="309" y="586"/>
                  </a:lnTo>
                  <a:lnTo>
                    <a:pt x="391" y="595"/>
                  </a:lnTo>
                  <a:lnTo>
                    <a:pt x="446" y="636"/>
                  </a:lnTo>
                  <a:lnTo>
                    <a:pt x="455" y="668"/>
                  </a:lnTo>
                  <a:lnTo>
                    <a:pt x="526" y="703"/>
                  </a:lnTo>
                  <a:lnTo>
                    <a:pt x="485" y="787"/>
                  </a:lnTo>
                  <a:lnTo>
                    <a:pt x="445" y="793"/>
                  </a:lnTo>
                  <a:lnTo>
                    <a:pt x="438" y="826"/>
                  </a:lnTo>
                  <a:lnTo>
                    <a:pt x="354" y="898"/>
                  </a:lnTo>
                  <a:lnTo>
                    <a:pt x="316" y="971"/>
                  </a:lnTo>
                  <a:lnTo>
                    <a:pt x="344" y="1002"/>
                  </a:lnTo>
                  <a:lnTo>
                    <a:pt x="310" y="993"/>
                  </a:lnTo>
                  <a:cubicBezTo>
                    <a:pt x="305" y="990"/>
                    <a:pt x="300" y="987"/>
                    <a:pt x="295" y="984"/>
                  </a:cubicBezTo>
                  <a:lnTo>
                    <a:pt x="281" y="949"/>
                  </a:lnTo>
                  <a:lnTo>
                    <a:pt x="328" y="758"/>
                  </a:lnTo>
                  <a:lnTo>
                    <a:pt x="289" y="724"/>
                  </a:lnTo>
                  <a:lnTo>
                    <a:pt x="271" y="650"/>
                  </a:lnTo>
                  <a:lnTo>
                    <a:pt x="293" y="614"/>
                  </a:lnTo>
                  <a:lnTo>
                    <a:pt x="273" y="617"/>
                  </a:lnTo>
                  <a:lnTo>
                    <a:pt x="244" y="580"/>
                  </a:lnTo>
                  <a:lnTo>
                    <a:pt x="219" y="568"/>
                  </a:lnTo>
                  <a:lnTo>
                    <a:pt x="162" y="548"/>
                  </a:lnTo>
                  <a:lnTo>
                    <a:pt x="115" y="474"/>
                  </a:lnTo>
                  <a:lnTo>
                    <a:pt x="86" y="421"/>
                  </a:lnTo>
                  <a:lnTo>
                    <a:pt x="86" y="411"/>
                  </a:lnTo>
                  <a:cubicBezTo>
                    <a:pt x="120" y="304"/>
                    <a:pt x="189" y="213"/>
                    <a:pt x="280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</p:grpSp>
      <p:grpSp>
        <p:nvGrpSpPr>
          <p:cNvPr id="191" name="Guestbook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911656" y="2267255"/>
            <a:ext cx="676589" cy="662659"/>
            <a:chOff x="-1793875" y="2746376"/>
            <a:chExt cx="539750" cy="528637"/>
          </a:xfrm>
          <a:solidFill>
            <a:srgbClr val="B9975B"/>
          </a:solidFill>
        </p:grpSpPr>
        <p:sp>
          <p:nvSpPr>
            <p:cNvPr id="192" name="Antenna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1476375" y="2830513"/>
              <a:ext cx="157163" cy="25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93" name="Antenna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1476375" y="2884488"/>
              <a:ext cx="157163" cy="238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94" name="Antenna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1476375" y="2940051"/>
              <a:ext cx="157163" cy="238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95" name="Antenna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-1476375" y="2992438"/>
              <a:ext cx="157163" cy="238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96" name="Antenna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1393825" y="3043238"/>
              <a:ext cx="74613" cy="25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97" name="Antenna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-1524000" y="3195638"/>
              <a:ext cx="34925" cy="79375"/>
            </a:xfrm>
            <a:custGeom>
              <a:avLst/>
              <a:gdLst>
                <a:gd name="T0" fmla="*/ 0 w 60"/>
                <a:gd name="T1" fmla="*/ 132 h 132"/>
                <a:gd name="T2" fmla="*/ 30 w 60"/>
                <a:gd name="T3" fmla="*/ 82 h 132"/>
                <a:gd name="T4" fmla="*/ 60 w 60"/>
                <a:gd name="T5" fmla="*/ 132 h 132"/>
                <a:gd name="T6" fmla="*/ 60 w 60"/>
                <a:gd name="T7" fmla="*/ 0 h 132"/>
                <a:gd name="T8" fmla="*/ 0 w 60"/>
                <a:gd name="T9" fmla="*/ 0 h 132"/>
                <a:gd name="T10" fmla="*/ 0 w 60"/>
                <a:gd name="T1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132">
                  <a:moveTo>
                    <a:pt x="0" y="132"/>
                  </a:moveTo>
                  <a:lnTo>
                    <a:pt x="30" y="82"/>
                  </a:lnTo>
                  <a:lnTo>
                    <a:pt x="60" y="132"/>
                  </a:lnTo>
                  <a:lnTo>
                    <a:pt x="60" y="0"/>
                  </a:lnTo>
                  <a:lnTo>
                    <a:pt x="0" y="0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98" name="Antenna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1722438" y="2830513"/>
              <a:ext cx="158750" cy="25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199" name="Antenna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1722438" y="2884488"/>
              <a:ext cx="158750" cy="238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00" name="Antenna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-1722438" y="2940051"/>
              <a:ext cx="158750" cy="238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01" name="Antenna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-1722438" y="2992438"/>
              <a:ext cx="158750" cy="238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02" name="Antenna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-1793875" y="2746376"/>
              <a:ext cx="539750" cy="441325"/>
            </a:xfrm>
            <a:custGeom>
              <a:avLst/>
              <a:gdLst>
                <a:gd name="T0" fmla="*/ 0 w 906"/>
                <a:gd name="T1" fmla="*/ 0 h 740"/>
                <a:gd name="T2" fmla="*/ 0 w 906"/>
                <a:gd name="T3" fmla="*/ 740 h 740"/>
                <a:gd name="T4" fmla="*/ 452 w 906"/>
                <a:gd name="T5" fmla="*/ 692 h 740"/>
                <a:gd name="T6" fmla="*/ 906 w 906"/>
                <a:gd name="T7" fmla="*/ 740 h 740"/>
                <a:gd name="T8" fmla="*/ 906 w 906"/>
                <a:gd name="T9" fmla="*/ 0 h 740"/>
                <a:gd name="T10" fmla="*/ 0 w 906"/>
                <a:gd name="T11" fmla="*/ 0 h 740"/>
                <a:gd name="T12" fmla="*/ 862 w 906"/>
                <a:gd name="T13" fmla="*/ 692 h 740"/>
                <a:gd name="T14" fmla="*/ 452 w 906"/>
                <a:gd name="T15" fmla="*/ 648 h 740"/>
                <a:gd name="T16" fmla="*/ 44 w 906"/>
                <a:gd name="T17" fmla="*/ 692 h 740"/>
                <a:gd name="T18" fmla="*/ 44 w 906"/>
                <a:gd name="T19" fmla="*/ 43 h 740"/>
                <a:gd name="T20" fmla="*/ 862 w 906"/>
                <a:gd name="T21" fmla="*/ 43 h 740"/>
                <a:gd name="T22" fmla="*/ 862 w 906"/>
                <a:gd name="T23" fmla="*/ 692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6" h="740">
                  <a:moveTo>
                    <a:pt x="0" y="0"/>
                  </a:moveTo>
                  <a:lnTo>
                    <a:pt x="0" y="740"/>
                  </a:lnTo>
                  <a:lnTo>
                    <a:pt x="452" y="692"/>
                  </a:lnTo>
                  <a:lnTo>
                    <a:pt x="906" y="740"/>
                  </a:lnTo>
                  <a:lnTo>
                    <a:pt x="906" y="0"/>
                  </a:lnTo>
                  <a:lnTo>
                    <a:pt x="0" y="0"/>
                  </a:lnTo>
                  <a:close/>
                  <a:moveTo>
                    <a:pt x="862" y="692"/>
                  </a:moveTo>
                  <a:lnTo>
                    <a:pt x="452" y="648"/>
                  </a:lnTo>
                  <a:lnTo>
                    <a:pt x="44" y="692"/>
                  </a:lnTo>
                  <a:lnTo>
                    <a:pt x="44" y="43"/>
                  </a:lnTo>
                  <a:lnTo>
                    <a:pt x="862" y="43"/>
                  </a:lnTo>
                  <a:lnTo>
                    <a:pt x="862" y="6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</p:grpSp>
      <p:grpSp>
        <p:nvGrpSpPr>
          <p:cNvPr id="207" name="Laurel_wreath3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540394" y="2257647"/>
            <a:ext cx="809209" cy="681874"/>
            <a:chOff x="6205" y="3197"/>
            <a:chExt cx="1468" cy="1237"/>
          </a:xfrm>
          <a:solidFill>
            <a:srgbClr val="B9975B"/>
          </a:solidFill>
        </p:grpSpPr>
        <p:sp>
          <p:nvSpPr>
            <p:cNvPr id="208" name="Freeform 297"/>
            <p:cNvSpPr>
              <a:spLocks/>
            </p:cNvSpPr>
            <p:nvPr/>
          </p:nvSpPr>
          <p:spPr bwMode="auto">
            <a:xfrm>
              <a:off x="6548" y="4335"/>
              <a:ext cx="168" cy="80"/>
            </a:xfrm>
            <a:custGeom>
              <a:avLst/>
              <a:gdLst>
                <a:gd name="T0" fmla="*/ 750 w 1035"/>
                <a:gd name="T1" fmla="*/ 15 h 491"/>
                <a:gd name="T2" fmla="*/ 573 w 1035"/>
                <a:gd name="T3" fmla="*/ 44 h 491"/>
                <a:gd name="T4" fmla="*/ 0 w 1035"/>
                <a:gd name="T5" fmla="*/ 354 h 491"/>
                <a:gd name="T6" fmla="*/ 650 w 1035"/>
                <a:gd name="T7" fmla="*/ 454 h 491"/>
                <a:gd name="T8" fmla="*/ 1035 w 1035"/>
                <a:gd name="T9" fmla="*/ 127 h 491"/>
                <a:gd name="T10" fmla="*/ 960 w 1035"/>
                <a:gd name="T11" fmla="*/ 0 h 491"/>
                <a:gd name="T12" fmla="*/ 750 w 1035"/>
                <a:gd name="T13" fmla="*/ 15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5" h="491">
                  <a:moveTo>
                    <a:pt x="750" y="15"/>
                  </a:moveTo>
                  <a:cubicBezTo>
                    <a:pt x="775" y="77"/>
                    <a:pt x="686" y="42"/>
                    <a:pt x="573" y="44"/>
                  </a:cubicBezTo>
                  <a:cubicBezTo>
                    <a:pt x="379" y="49"/>
                    <a:pt x="211" y="59"/>
                    <a:pt x="0" y="354"/>
                  </a:cubicBezTo>
                  <a:cubicBezTo>
                    <a:pt x="194" y="415"/>
                    <a:pt x="423" y="491"/>
                    <a:pt x="650" y="454"/>
                  </a:cubicBezTo>
                  <a:cubicBezTo>
                    <a:pt x="905" y="413"/>
                    <a:pt x="869" y="66"/>
                    <a:pt x="1035" y="127"/>
                  </a:cubicBezTo>
                  <a:lnTo>
                    <a:pt x="960" y="0"/>
                  </a:lnTo>
                  <a:lnTo>
                    <a:pt x="750" y="1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09" name="Freeform 298"/>
            <p:cNvSpPr>
              <a:spLocks/>
            </p:cNvSpPr>
            <p:nvPr/>
          </p:nvSpPr>
          <p:spPr bwMode="auto">
            <a:xfrm>
              <a:off x="6271" y="3515"/>
              <a:ext cx="98" cy="153"/>
            </a:xfrm>
            <a:custGeom>
              <a:avLst/>
              <a:gdLst>
                <a:gd name="T0" fmla="*/ 429 w 607"/>
                <a:gd name="T1" fmla="*/ 940 h 940"/>
                <a:gd name="T2" fmla="*/ 354 w 607"/>
                <a:gd name="T3" fmla="*/ 851 h 940"/>
                <a:gd name="T4" fmla="*/ 25 w 607"/>
                <a:gd name="T5" fmla="*/ 600 h 940"/>
                <a:gd name="T6" fmla="*/ 54 w 607"/>
                <a:gd name="T7" fmla="*/ 0 h 940"/>
                <a:gd name="T8" fmla="*/ 421 w 607"/>
                <a:gd name="T9" fmla="*/ 338 h 940"/>
                <a:gd name="T10" fmla="*/ 533 w 607"/>
                <a:gd name="T11" fmla="*/ 637 h 940"/>
                <a:gd name="T12" fmla="*/ 607 w 607"/>
                <a:gd name="T13" fmla="*/ 706 h 940"/>
                <a:gd name="T14" fmla="*/ 553 w 607"/>
                <a:gd name="T15" fmla="*/ 844 h 940"/>
                <a:gd name="T16" fmla="*/ 429 w 607"/>
                <a:gd name="T17" fmla="*/ 940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7" h="940">
                  <a:moveTo>
                    <a:pt x="429" y="940"/>
                  </a:moveTo>
                  <a:cubicBezTo>
                    <a:pt x="429" y="940"/>
                    <a:pt x="436" y="875"/>
                    <a:pt x="354" y="851"/>
                  </a:cubicBezTo>
                  <a:cubicBezTo>
                    <a:pt x="273" y="827"/>
                    <a:pt x="51" y="823"/>
                    <a:pt x="25" y="600"/>
                  </a:cubicBezTo>
                  <a:cubicBezTo>
                    <a:pt x="7" y="444"/>
                    <a:pt x="0" y="127"/>
                    <a:pt x="54" y="0"/>
                  </a:cubicBezTo>
                  <a:cubicBezTo>
                    <a:pt x="194" y="64"/>
                    <a:pt x="344" y="162"/>
                    <a:pt x="421" y="338"/>
                  </a:cubicBezTo>
                  <a:cubicBezTo>
                    <a:pt x="466" y="441"/>
                    <a:pt x="455" y="720"/>
                    <a:pt x="533" y="637"/>
                  </a:cubicBezTo>
                  <a:cubicBezTo>
                    <a:pt x="550" y="609"/>
                    <a:pt x="607" y="706"/>
                    <a:pt x="607" y="706"/>
                  </a:cubicBezTo>
                  <a:lnTo>
                    <a:pt x="553" y="844"/>
                  </a:lnTo>
                  <a:lnTo>
                    <a:pt x="429" y="94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0" name="Freeform 299"/>
            <p:cNvSpPr>
              <a:spLocks/>
            </p:cNvSpPr>
            <p:nvPr/>
          </p:nvSpPr>
          <p:spPr bwMode="auto">
            <a:xfrm>
              <a:off x="6330" y="3388"/>
              <a:ext cx="91" cy="165"/>
            </a:xfrm>
            <a:custGeom>
              <a:avLst/>
              <a:gdLst>
                <a:gd name="T0" fmla="*/ 350 w 560"/>
                <a:gd name="T1" fmla="*/ 1011 h 1011"/>
                <a:gd name="T2" fmla="*/ 23 w 560"/>
                <a:gd name="T3" fmla="*/ 643 h 1011"/>
                <a:gd name="T4" fmla="*/ 206 w 560"/>
                <a:gd name="T5" fmla="*/ 0 h 1011"/>
                <a:gd name="T6" fmla="*/ 443 w 560"/>
                <a:gd name="T7" fmla="*/ 444 h 1011"/>
                <a:gd name="T8" fmla="*/ 530 w 560"/>
                <a:gd name="T9" fmla="*/ 714 h 1011"/>
                <a:gd name="T10" fmla="*/ 560 w 560"/>
                <a:gd name="T11" fmla="*/ 826 h 1011"/>
                <a:gd name="T12" fmla="*/ 350 w 560"/>
                <a:gd name="T13" fmla="*/ 1011 h 1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0" h="1011">
                  <a:moveTo>
                    <a:pt x="350" y="1011"/>
                  </a:moveTo>
                  <a:cubicBezTo>
                    <a:pt x="370" y="846"/>
                    <a:pt x="45" y="959"/>
                    <a:pt x="23" y="643"/>
                  </a:cubicBezTo>
                  <a:cubicBezTo>
                    <a:pt x="0" y="310"/>
                    <a:pt x="117" y="217"/>
                    <a:pt x="206" y="0"/>
                  </a:cubicBezTo>
                  <a:cubicBezTo>
                    <a:pt x="323" y="112"/>
                    <a:pt x="399" y="232"/>
                    <a:pt x="443" y="444"/>
                  </a:cubicBezTo>
                  <a:cubicBezTo>
                    <a:pt x="467" y="556"/>
                    <a:pt x="381" y="810"/>
                    <a:pt x="530" y="714"/>
                  </a:cubicBezTo>
                  <a:cubicBezTo>
                    <a:pt x="544" y="699"/>
                    <a:pt x="560" y="826"/>
                    <a:pt x="560" y="826"/>
                  </a:cubicBezTo>
                  <a:lnTo>
                    <a:pt x="350" y="101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1" name="Freeform 300"/>
            <p:cNvSpPr>
              <a:spLocks/>
            </p:cNvSpPr>
            <p:nvPr/>
          </p:nvSpPr>
          <p:spPr bwMode="auto">
            <a:xfrm>
              <a:off x="6414" y="3291"/>
              <a:ext cx="80" cy="159"/>
            </a:xfrm>
            <a:custGeom>
              <a:avLst/>
              <a:gdLst>
                <a:gd name="T0" fmla="*/ 267 w 488"/>
                <a:gd name="T1" fmla="*/ 977 h 977"/>
                <a:gd name="T2" fmla="*/ 0 w 488"/>
                <a:gd name="T3" fmla="*/ 601 h 977"/>
                <a:gd name="T4" fmla="*/ 308 w 488"/>
                <a:gd name="T5" fmla="*/ 0 h 977"/>
                <a:gd name="T6" fmla="*/ 479 w 488"/>
                <a:gd name="T7" fmla="*/ 455 h 977"/>
                <a:gd name="T8" fmla="*/ 431 w 488"/>
                <a:gd name="T9" fmla="*/ 756 h 977"/>
                <a:gd name="T10" fmla="*/ 469 w 488"/>
                <a:gd name="T11" fmla="*/ 776 h 977"/>
                <a:gd name="T12" fmla="*/ 443 w 488"/>
                <a:gd name="T13" fmla="*/ 894 h 977"/>
                <a:gd name="T14" fmla="*/ 267 w 488"/>
                <a:gd name="T15" fmla="*/ 977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8" h="977">
                  <a:moveTo>
                    <a:pt x="267" y="977"/>
                  </a:moveTo>
                  <a:cubicBezTo>
                    <a:pt x="304" y="885"/>
                    <a:pt x="0" y="869"/>
                    <a:pt x="0" y="601"/>
                  </a:cubicBezTo>
                  <a:cubicBezTo>
                    <a:pt x="14" y="365"/>
                    <a:pt x="174" y="272"/>
                    <a:pt x="308" y="0"/>
                  </a:cubicBezTo>
                  <a:cubicBezTo>
                    <a:pt x="432" y="131"/>
                    <a:pt x="488" y="313"/>
                    <a:pt x="479" y="455"/>
                  </a:cubicBezTo>
                  <a:cubicBezTo>
                    <a:pt x="466" y="660"/>
                    <a:pt x="408" y="695"/>
                    <a:pt x="431" y="756"/>
                  </a:cubicBezTo>
                  <a:cubicBezTo>
                    <a:pt x="440" y="781"/>
                    <a:pt x="456" y="783"/>
                    <a:pt x="469" y="776"/>
                  </a:cubicBezTo>
                  <a:cubicBezTo>
                    <a:pt x="481" y="770"/>
                    <a:pt x="443" y="894"/>
                    <a:pt x="443" y="894"/>
                  </a:cubicBezTo>
                  <a:lnTo>
                    <a:pt x="267" y="97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2" name="Freeform 301"/>
            <p:cNvSpPr>
              <a:spLocks/>
            </p:cNvSpPr>
            <p:nvPr/>
          </p:nvSpPr>
          <p:spPr bwMode="auto">
            <a:xfrm>
              <a:off x="6522" y="3221"/>
              <a:ext cx="87" cy="153"/>
            </a:xfrm>
            <a:custGeom>
              <a:avLst/>
              <a:gdLst>
                <a:gd name="T0" fmla="*/ 150 w 535"/>
                <a:gd name="T1" fmla="*/ 937 h 937"/>
                <a:gd name="T2" fmla="*/ 161 w 535"/>
                <a:gd name="T3" fmla="*/ 833 h 937"/>
                <a:gd name="T4" fmla="*/ 6 w 535"/>
                <a:gd name="T5" fmla="*/ 552 h 937"/>
                <a:gd name="T6" fmla="*/ 218 w 535"/>
                <a:gd name="T7" fmla="*/ 163 h 937"/>
                <a:gd name="T8" fmla="*/ 459 w 535"/>
                <a:gd name="T9" fmla="*/ 0 h 937"/>
                <a:gd name="T10" fmla="*/ 510 w 535"/>
                <a:gd name="T11" fmla="*/ 378 h 937"/>
                <a:gd name="T12" fmla="*/ 375 w 535"/>
                <a:gd name="T13" fmla="*/ 788 h 937"/>
                <a:gd name="T14" fmla="*/ 382 w 535"/>
                <a:gd name="T15" fmla="*/ 836 h 937"/>
                <a:gd name="T16" fmla="*/ 284 w 535"/>
                <a:gd name="T17" fmla="*/ 901 h 937"/>
                <a:gd name="T18" fmla="*/ 150 w 535"/>
                <a:gd name="T19" fmla="*/ 937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5" h="937">
                  <a:moveTo>
                    <a:pt x="150" y="937"/>
                  </a:moveTo>
                  <a:cubicBezTo>
                    <a:pt x="179" y="908"/>
                    <a:pt x="181" y="876"/>
                    <a:pt x="161" y="833"/>
                  </a:cubicBezTo>
                  <a:cubicBezTo>
                    <a:pt x="141" y="788"/>
                    <a:pt x="0" y="681"/>
                    <a:pt x="6" y="552"/>
                  </a:cubicBezTo>
                  <a:cubicBezTo>
                    <a:pt x="12" y="424"/>
                    <a:pt x="113" y="285"/>
                    <a:pt x="218" y="163"/>
                  </a:cubicBezTo>
                  <a:cubicBezTo>
                    <a:pt x="316" y="50"/>
                    <a:pt x="417" y="15"/>
                    <a:pt x="459" y="0"/>
                  </a:cubicBezTo>
                  <a:cubicBezTo>
                    <a:pt x="500" y="209"/>
                    <a:pt x="535" y="238"/>
                    <a:pt x="510" y="378"/>
                  </a:cubicBezTo>
                  <a:cubicBezTo>
                    <a:pt x="459" y="665"/>
                    <a:pt x="281" y="766"/>
                    <a:pt x="375" y="788"/>
                  </a:cubicBezTo>
                  <a:cubicBezTo>
                    <a:pt x="412" y="773"/>
                    <a:pt x="382" y="836"/>
                    <a:pt x="382" y="836"/>
                  </a:cubicBezTo>
                  <a:lnTo>
                    <a:pt x="284" y="901"/>
                  </a:lnTo>
                  <a:lnTo>
                    <a:pt x="150" y="93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3" name="Freeform 302"/>
            <p:cNvSpPr>
              <a:spLocks/>
            </p:cNvSpPr>
            <p:nvPr/>
          </p:nvSpPr>
          <p:spPr bwMode="auto">
            <a:xfrm>
              <a:off x="6626" y="3197"/>
              <a:ext cx="85" cy="117"/>
            </a:xfrm>
            <a:custGeom>
              <a:avLst/>
              <a:gdLst>
                <a:gd name="T0" fmla="*/ 96 w 526"/>
                <a:gd name="T1" fmla="*/ 719 h 719"/>
                <a:gd name="T2" fmla="*/ 93 w 526"/>
                <a:gd name="T3" fmla="*/ 639 h 719"/>
                <a:gd name="T4" fmla="*/ 16 w 526"/>
                <a:gd name="T5" fmla="*/ 442 h 719"/>
                <a:gd name="T6" fmla="*/ 288 w 526"/>
                <a:gd name="T7" fmla="*/ 126 h 719"/>
                <a:gd name="T8" fmla="*/ 425 w 526"/>
                <a:gd name="T9" fmla="*/ 0 h 719"/>
                <a:gd name="T10" fmla="*/ 403 w 526"/>
                <a:gd name="T11" fmla="*/ 427 h 719"/>
                <a:gd name="T12" fmla="*/ 291 w 526"/>
                <a:gd name="T13" fmla="*/ 548 h 719"/>
                <a:gd name="T14" fmla="*/ 293 w 526"/>
                <a:gd name="T15" fmla="*/ 627 h 719"/>
                <a:gd name="T16" fmla="*/ 232 w 526"/>
                <a:gd name="T17" fmla="*/ 687 h 719"/>
                <a:gd name="T18" fmla="*/ 96 w 526"/>
                <a:gd name="T19" fmla="*/ 719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6" h="719">
                  <a:moveTo>
                    <a:pt x="96" y="719"/>
                  </a:moveTo>
                  <a:cubicBezTo>
                    <a:pt x="114" y="696"/>
                    <a:pt x="112" y="655"/>
                    <a:pt x="93" y="639"/>
                  </a:cubicBezTo>
                  <a:cubicBezTo>
                    <a:pt x="75" y="622"/>
                    <a:pt x="0" y="520"/>
                    <a:pt x="16" y="442"/>
                  </a:cubicBezTo>
                  <a:cubicBezTo>
                    <a:pt x="49" y="275"/>
                    <a:pt x="226" y="171"/>
                    <a:pt x="288" y="126"/>
                  </a:cubicBezTo>
                  <a:cubicBezTo>
                    <a:pt x="349" y="82"/>
                    <a:pt x="387" y="42"/>
                    <a:pt x="425" y="0"/>
                  </a:cubicBezTo>
                  <a:cubicBezTo>
                    <a:pt x="526" y="76"/>
                    <a:pt x="503" y="319"/>
                    <a:pt x="403" y="427"/>
                  </a:cubicBezTo>
                  <a:cubicBezTo>
                    <a:pt x="356" y="473"/>
                    <a:pt x="308" y="509"/>
                    <a:pt x="291" y="548"/>
                  </a:cubicBezTo>
                  <a:cubicBezTo>
                    <a:pt x="274" y="587"/>
                    <a:pt x="273" y="627"/>
                    <a:pt x="293" y="627"/>
                  </a:cubicBezTo>
                  <a:cubicBezTo>
                    <a:pt x="314" y="627"/>
                    <a:pt x="232" y="687"/>
                    <a:pt x="232" y="687"/>
                  </a:cubicBezTo>
                  <a:lnTo>
                    <a:pt x="96" y="71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4" name="Freeform 303"/>
            <p:cNvSpPr>
              <a:spLocks/>
            </p:cNvSpPr>
            <p:nvPr/>
          </p:nvSpPr>
          <p:spPr bwMode="auto">
            <a:xfrm>
              <a:off x="6671" y="3262"/>
              <a:ext cx="145" cy="56"/>
            </a:xfrm>
            <a:custGeom>
              <a:avLst/>
              <a:gdLst>
                <a:gd name="T0" fmla="*/ 513 w 891"/>
                <a:gd name="T1" fmla="*/ 1 h 340"/>
                <a:gd name="T2" fmla="*/ 891 w 891"/>
                <a:gd name="T3" fmla="*/ 146 h 340"/>
                <a:gd name="T4" fmla="*/ 564 w 891"/>
                <a:gd name="T5" fmla="*/ 335 h 340"/>
                <a:gd name="T6" fmla="*/ 300 w 891"/>
                <a:gd name="T7" fmla="*/ 282 h 340"/>
                <a:gd name="T8" fmla="*/ 35 w 891"/>
                <a:gd name="T9" fmla="*/ 288 h 340"/>
                <a:gd name="T10" fmla="*/ 46 w 891"/>
                <a:gd name="T11" fmla="*/ 220 h 340"/>
                <a:gd name="T12" fmla="*/ 513 w 891"/>
                <a:gd name="T13" fmla="*/ 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1" h="340">
                  <a:moveTo>
                    <a:pt x="513" y="1"/>
                  </a:moveTo>
                  <a:cubicBezTo>
                    <a:pt x="570" y="0"/>
                    <a:pt x="742" y="10"/>
                    <a:pt x="891" y="146"/>
                  </a:cubicBezTo>
                  <a:cubicBezTo>
                    <a:pt x="815" y="234"/>
                    <a:pt x="657" y="332"/>
                    <a:pt x="564" y="335"/>
                  </a:cubicBezTo>
                  <a:cubicBezTo>
                    <a:pt x="447" y="340"/>
                    <a:pt x="355" y="309"/>
                    <a:pt x="300" y="282"/>
                  </a:cubicBezTo>
                  <a:cubicBezTo>
                    <a:pt x="183" y="224"/>
                    <a:pt x="79" y="274"/>
                    <a:pt x="35" y="288"/>
                  </a:cubicBezTo>
                  <a:cubicBezTo>
                    <a:pt x="0" y="300"/>
                    <a:pt x="46" y="220"/>
                    <a:pt x="46" y="220"/>
                  </a:cubicBezTo>
                  <a:cubicBezTo>
                    <a:pt x="183" y="218"/>
                    <a:pt x="218" y="3"/>
                    <a:pt x="513" y="1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5" name="Freeform 304"/>
            <p:cNvSpPr>
              <a:spLocks/>
            </p:cNvSpPr>
            <p:nvPr/>
          </p:nvSpPr>
          <p:spPr bwMode="auto">
            <a:xfrm>
              <a:off x="6601" y="3330"/>
              <a:ext cx="134" cy="69"/>
            </a:xfrm>
            <a:custGeom>
              <a:avLst/>
              <a:gdLst>
                <a:gd name="T0" fmla="*/ 243 w 829"/>
                <a:gd name="T1" fmla="*/ 0 h 424"/>
                <a:gd name="T2" fmla="*/ 606 w 829"/>
                <a:gd name="T3" fmla="*/ 68 h 424"/>
                <a:gd name="T4" fmla="*/ 829 w 829"/>
                <a:gd name="T5" fmla="*/ 335 h 424"/>
                <a:gd name="T6" fmla="*/ 329 w 829"/>
                <a:gd name="T7" fmla="*/ 370 h 424"/>
                <a:gd name="T8" fmla="*/ 0 w 829"/>
                <a:gd name="T9" fmla="*/ 146 h 424"/>
                <a:gd name="T10" fmla="*/ 60 w 829"/>
                <a:gd name="T11" fmla="*/ 60 h 424"/>
                <a:gd name="T12" fmla="*/ 243 w 829"/>
                <a:gd name="T13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424">
                  <a:moveTo>
                    <a:pt x="243" y="0"/>
                  </a:moveTo>
                  <a:cubicBezTo>
                    <a:pt x="190" y="144"/>
                    <a:pt x="401" y="9"/>
                    <a:pt x="606" y="68"/>
                  </a:cubicBezTo>
                  <a:cubicBezTo>
                    <a:pt x="715" y="99"/>
                    <a:pt x="791" y="213"/>
                    <a:pt x="829" y="335"/>
                  </a:cubicBezTo>
                  <a:cubicBezTo>
                    <a:pt x="671" y="404"/>
                    <a:pt x="470" y="424"/>
                    <a:pt x="329" y="370"/>
                  </a:cubicBezTo>
                  <a:cubicBezTo>
                    <a:pt x="154" y="304"/>
                    <a:pt x="156" y="91"/>
                    <a:pt x="0" y="146"/>
                  </a:cubicBezTo>
                  <a:lnTo>
                    <a:pt x="60" y="60"/>
                  </a:lnTo>
                  <a:lnTo>
                    <a:pt x="243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6" name="Freeform 305"/>
            <p:cNvSpPr>
              <a:spLocks/>
            </p:cNvSpPr>
            <p:nvPr/>
          </p:nvSpPr>
          <p:spPr bwMode="auto">
            <a:xfrm>
              <a:off x="6502" y="3394"/>
              <a:ext cx="149" cy="76"/>
            </a:xfrm>
            <a:custGeom>
              <a:avLst/>
              <a:gdLst>
                <a:gd name="T0" fmla="*/ 272 w 920"/>
                <a:gd name="T1" fmla="*/ 0 h 468"/>
                <a:gd name="T2" fmla="*/ 362 w 920"/>
                <a:gd name="T3" fmla="*/ 58 h 468"/>
                <a:gd name="T4" fmla="*/ 623 w 920"/>
                <a:gd name="T5" fmla="*/ 50 h 468"/>
                <a:gd name="T6" fmla="*/ 920 w 920"/>
                <a:gd name="T7" fmla="*/ 330 h 468"/>
                <a:gd name="T8" fmla="*/ 283 w 920"/>
                <a:gd name="T9" fmla="*/ 333 h 468"/>
                <a:gd name="T10" fmla="*/ 147 w 920"/>
                <a:gd name="T11" fmla="*/ 196 h 468"/>
                <a:gd name="T12" fmla="*/ 39 w 920"/>
                <a:gd name="T13" fmla="*/ 202 h 468"/>
                <a:gd name="T14" fmla="*/ 14 w 920"/>
                <a:gd name="T15" fmla="*/ 154 h 468"/>
                <a:gd name="T16" fmla="*/ 138 w 920"/>
                <a:gd name="T17" fmla="*/ 47 h 468"/>
                <a:gd name="T18" fmla="*/ 272 w 920"/>
                <a:gd name="T19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0" h="468">
                  <a:moveTo>
                    <a:pt x="272" y="0"/>
                  </a:moveTo>
                  <a:cubicBezTo>
                    <a:pt x="200" y="78"/>
                    <a:pt x="317" y="72"/>
                    <a:pt x="362" y="58"/>
                  </a:cubicBezTo>
                  <a:cubicBezTo>
                    <a:pt x="445" y="32"/>
                    <a:pt x="568" y="40"/>
                    <a:pt x="623" y="50"/>
                  </a:cubicBezTo>
                  <a:cubicBezTo>
                    <a:pt x="909" y="106"/>
                    <a:pt x="831" y="250"/>
                    <a:pt x="920" y="330"/>
                  </a:cubicBezTo>
                  <a:cubicBezTo>
                    <a:pt x="759" y="409"/>
                    <a:pt x="472" y="468"/>
                    <a:pt x="283" y="333"/>
                  </a:cubicBezTo>
                  <a:cubicBezTo>
                    <a:pt x="217" y="281"/>
                    <a:pt x="185" y="220"/>
                    <a:pt x="147" y="196"/>
                  </a:cubicBezTo>
                  <a:cubicBezTo>
                    <a:pt x="118" y="178"/>
                    <a:pt x="89" y="174"/>
                    <a:pt x="39" y="202"/>
                  </a:cubicBezTo>
                  <a:cubicBezTo>
                    <a:pt x="0" y="224"/>
                    <a:pt x="7" y="161"/>
                    <a:pt x="14" y="154"/>
                  </a:cubicBezTo>
                  <a:cubicBezTo>
                    <a:pt x="21" y="146"/>
                    <a:pt x="138" y="47"/>
                    <a:pt x="138" y="47"/>
                  </a:cubicBezTo>
                  <a:lnTo>
                    <a:pt x="272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7" name="Freeform 306"/>
            <p:cNvSpPr>
              <a:spLocks/>
            </p:cNvSpPr>
            <p:nvPr/>
          </p:nvSpPr>
          <p:spPr bwMode="auto">
            <a:xfrm>
              <a:off x="6425" y="3468"/>
              <a:ext cx="156" cy="71"/>
            </a:xfrm>
            <a:custGeom>
              <a:avLst/>
              <a:gdLst>
                <a:gd name="T0" fmla="*/ 189 w 956"/>
                <a:gd name="T1" fmla="*/ 100 h 440"/>
                <a:gd name="T2" fmla="*/ 202 w 956"/>
                <a:gd name="T3" fmla="*/ 152 h 440"/>
                <a:gd name="T4" fmla="*/ 643 w 956"/>
                <a:gd name="T5" fmla="*/ 33 h 440"/>
                <a:gd name="T6" fmla="*/ 956 w 956"/>
                <a:gd name="T7" fmla="*/ 184 h 440"/>
                <a:gd name="T8" fmla="*/ 597 w 956"/>
                <a:gd name="T9" fmla="*/ 412 h 440"/>
                <a:gd name="T10" fmla="*/ 180 w 956"/>
                <a:gd name="T11" fmla="*/ 311 h 440"/>
                <a:gd name="T12" fmla="*/ 45 w 956"/>
                <a:gd name="T13" fmla="*/ 306 h 440"/>
                <a:gd name="T14" fmla="*/ 0 w 956"/>
                <a:gd name="T15" fmla="*/ 229 h 440"/>
                <a:gd name="T16" fmla="*/ 189 w 956"/>
                <a:gd name="T17" fmla="*/ 10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6" h="440">
                  <a:moveTo>
                    <a:pt x="189" y="100"/>
                  </a:moveTo>
                  <a:cubicBezTo>
                    <a:pt x="189" y="109"/>
                    <a:pt x="167" y="149"/>
                    <a:pt x="202" y="152"/>
                  </a:cubicBezTo>
                  <a:cubicBezTo>
                    <a:pt x="238" y="155"/>
                    <a:pt x="443" y="0"/>
                    <a:pt x="643" y="33"/>
                  </a:cubicBezTo>
                  <a:cubicBezTo>
                    <a:pt x="843" y="66"/>
                    <a:pt x="956" y="184"/>
                    <a:pt x="956" y="184"/>
                  </a:cubicBezTo>
                  <a:cubicBezTo>
                    <a:pt x="956" y="184"/>
                    <a:pt x="844" y="382"/>
                    <a:pt x="597" y="412"/>
                  </a:cubicBezTo>
                  <a:cubicBezTo>
                    <a:pt x="356" y="440"/>
                    <a:pt x="267" y="402"/>
                    <a:pt x="180" y="311"/>
                  </a:cubicBezTo>
                  <a:cubicBezTo>
                    <a:pt x="145" y="275"/>
                    <a:pt x="65" y="279"/>
                    <a:pt x="45" y="306"/>
                  </a:cubicBezTo>
                  <a:cubicBezTo>
                    <a:pt x="26" y="332"/>
                    <a:pt x="0" y="233"/>
                    <a:pt x="0" y="229"/>
                  </a:cubicBezTo>
                  <a:cubicBezTo>
                    <a:pt x="1" y="226"/>
                    <a:pt x="189" y="100"/>
                    <a:pt x="189" y="10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8" name="Freeform 307"/>
            <p:cNvSpPr>
              <a:spLocks/>
            </p:cNvSpPr>
            <p:nvPr/>
          </p:nvSpPr>
          <p:spPr bwMode="auto">
            <a:xfrm>
              <a:off x="6370" y="3559"/>
              <a:ext cx="152" cy="73"/>
            </a:xfrm>
            <a:custGeom>
              <a:avLst/>
              <a:gdLst>
                <a:gd name="T0" fmla="*/ 166 w 936"/>
                <a:gd name="T1" fmla="*/ 140 h 449"/>
                <a:gd name="T2" fmla="*/ 187 w 936"/>
                <a:gd name="T3" fmla="*/ 189 h 449"/>
                <a:gd name="T4" fmla="*/ 603 w 936"/>
                <a:gd name="T5" fmla="*/ 0 h 449"/>
                <a:gd name="T6" fmla="*/ 936 w 936"/>
                <a:gd name="T7" fmla="*/ 98 h 449"/>
                <a:gd name="T8" fmla="*/ 619 w 936"/>
                <a:gd name="T9" fmla="*/ 381 h 449"/>
                <a:gd name="T10" fmla="*/ 191 w 936"/>
                <a:gd name="T11" fmla="*/ 350 h 449"/>
                <a:gd name="T12" fmla="*/ 57 w 936"/>
                <a:gd name="T13" fmla="*/ 366 h 449"/>
                <a:gd name="T14" fmla="*/ 0 w 936"/>
                <a:gd name="T15" fmla="*/ 298 h 449"/>
                <a:gd name="T16" fmla="*/ 166 w 936"/>
                <a:gd name="T17" fmla="*/ 14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6" h="449">
                  <a:moveTo>
                    <a:pt x="166" y="140"/>
                  </a:moveTo>
                  <a:cubicBezTo>
                    <a:pt x="167" y="149"/>
                    <a:pt x="152" y="192"/>
                    <a:pt x="187" y="189"/>
                  </a:cubicBezTo>
                  <a:cubicBezTo>
                    <a:pt x="222" y="186"/>
                    <a:pt x="400" y="0"/>
                    <a:pt x="603" y="0"/>
                  </a:cubicBezTo>
                  <a:cubicBezTo>
                    <a:pt x="805" y="0"/>
                    <a:pt x="936" y="98"/>
                    <a:pt x="936" y="98"/>
                  </a:cubicBezTo>
                  <a:cubicBezTo>
                    <a:pt x="936" y="98"/>
                    <a:pt x="857" y="312"/>
                    <a:pt x="619" y="381"/>
                  </a:cubicBezTo>
                  <a:cubicBezTo>
                    <a:pt x="386" y="449"/>
                    <a:pt x="292" y="425"/>
                    <a:pt x="191" y="350"/>
                  </a:cubicBezTo>
                  <a:cubicBezTo>
                    <a:pt x="150" y="319"/>
                    <a:pt x="72" y="336"/>
                    <a:pt x="57" y="366"/>
                  </a:cubicBezTo>
                  <a:cubicBezTo>
                    <a:pt x="42" y="396"/>
                    <a:pt x="0" y="302"/>
                    <a:pt x="0" y="298"/>
                  </a:cubicBezTo>
                  <a:cubicBezTo>
                    <a:pt x="1" y="294"/>
                    <a:pt x="166" y="140"/>
                    <a:pt x="166" y="14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19" name="Freeform 308"/>
            <p:cNvSpPr>
              <a:spLocks/>
            </p:cNvSpPr>
            <p:nvPr/>
          </p:nvSpPr>
          <p:spPr bwMode="auto">
            <a:xfrm>
              <a:off x="6336" y="3650"/>
              <a:ext cx="147" cy="81"/>
            </a:xfrm>
            <a:custGeom>
              <a:avLst/>
              <a:gdLst>
                <a:gd name="T0" fmla="*/ 145 w 904"/>
                <a:gd name="T1" fmla="*/ 217 h 497"/>
                <a:gd name="T2" fmla="*/ 172 w 904"/>
                <a:gd name="T3" fmla="*/ 263 h 497"/>
                <a:gd name="T4" fmla="*/ 562 w 904"/>
                <a:gd name="T5" fmla="*/ 25 h 497"/>
                <a:gd name="T6" fmla="*/ 904 w 904"/>
                <a:gd name="T7" fmla="*/ 81 h 497"/>
                <a:gd name="T8" fmla="*/ 624 w 904"/>
                <a:gd name="T9" fmla="*/ 401 h 497"/>
                <a:gd name="T10" fmla="*/ 195 w 904"/>
                <a:gd name="T11" fmla="*/ 422 h 497"/>
                <a:gd name="T12" fmla="*/ 64 w 904"/>
                <a:gd name="T13" fmla="*/ 455 h 497"/>
                <a:gd name="T14" fmla="*/ 0 w 904"/>
                <a:gd name="T15" fmla="*/ 394 h 497"/>
                <a:gd name="T16" fmla="*/ 145 w 904"/>
                <a:gd name="T17" fmla="*/ 21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4" h="497">
                  <a:moveTo>
                    <a:pt x="145" y="217"/>
                  </a:moveTo>
                  <a:cubicBezTo>
                    <a:pt x="147" y="226"/>
                    <a:pt x="137" y="271"/>
                    <a:pt x="172" y="263"/>
                  </a:cubicBezTo>
                  <a:cubicBezTo>
                    <a:pt x="207" y="256"/>
                    <a:pt x="360" y="50"/>
                    <a:pt x="562" y="25"/>
                  </a:cubicBezTo>
                  <a:cubicBezTo>
                    <a:pt x="763" y="0"/>
                    <a:pt x="904" y="81"/>
                    <a:pt x="904" y="81"/>
                  </a:cubicBezTo>
                  <a:cubicBezTo>
                    <a:pt x="904" y="81"/>
                    <a:pt x="852" y="304"/>
                    <a:pt x="624" y="401"/>
                  </a:cubicBezTo>
                  <a:cubicBezTo>
                    <a:pt x="401" y="497"/>
                    <a:pt x="305" y="485"/>
                    <a:pt x="195" y="422"/>
                  </a:cubicBezTo>
                  <a:cubicBezTo>
                    <a:pt x="151" y="397"/>
                    <a:pt x="76" y="423"/>
                    <a:pt x="64" y="455"/>
                  </a:cubicBezTo>
                  <a:cubicBezTo>
                    <a:pt x="53" y="486"/>
                    <a:pt x="0" y="398"/>
                    <a:pt x="0" y="394"/>
                  </a:cubicBezTo>
                  <a:cubicBezTo>
                    <a:pt x="0" y="390"/>
                    <a:pt x="145" y="217"/>
                    <a:pt x="145" y="217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0" name="Freeform 309"/>
            <p:cNvSpPr>
              <a:spLocks/>
            </p:cNvSpPr>
            <p:nvPr/>
          </p:nvSpPr>
          <p:spPr bwMode="auto">
            <a:xfrm>
              <a:off x="6329" y="3744"/>
              <a:ext cx="128" cy="109"/>
            </a:xfrm>
            <a:custGeom>
              <a:avLst/>
              <a:gdLst>
                <a:gd name="T0" fmla="*/ 87 w 789"/>
                <a:gd name="T1" fmla="*/ 388 h 672"/>
                <a:gd name="T2" fmla="*/ 127 w 789"/>
                <a:gd name="T3" fmla="*/ 424 h 672"/>
                <a:gd name="T4" fmla="*/ 430 w 789"/>
                <a:gd name="T5" fmla="*/ 82 h 672"/>
                <a:gd name="T6" fmla="*/ 774 w 789"/>
                <a:gd name="T7" fmla="*/ 37 h 672"/>
                <a:gd name="T8" fmla="*/ 600 w 789"/>
                <a:gd name="T9" fmla="*/ 424 h 672"/>
                <a:gd name="T10" fmla="*/ 196 w 789"/>
                <a:gd name="T11" fmla="*/ 569 h 672"/>
                <a:gd name="T12" fmla="*/ 80 w 789"/>
                <a:gd name="T13" fmla="*/ 639 h 672"/>
                <a:gd name="T14" fmla="*/ 1 w 789"/>
                <a:gd name="T15" fmla="*/ 600 h 672"/>
                <a:gd name="T16" fmla="*/ 87 w 789"/>
                <a:gd name="T17" fmla="*/ 388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9" h="672">
                  <a:moveTo>
                    <a:pt x="87" y="388"/>
                  </a:moveTo>
                  <a:cubicBezTo>
                    <a:pt x="93" y="396"/>
                    <a:pt x="96" y="442"/>
                    <a:pt x="127" y="424"/>
                  </a:cubicBezTo>
                  <a:cubicBezTo>
                    <a:pt x="158" y="407"/>
                    <a:pt x="245" y="165"/>
                    <a:pt x="430" y="82"/>
                  </a:cubicBezTo>
                  <a:cubicBezTo>
                    <a:pt x="615" y="0"/>
                    <a:pt x="774" y="37"/>
                    <a:pt x="774" y="37"/>
                  </a:cubicBezTo>
                  <a:cubicBezTo>
                    <a:pt x="774" y="37"/>
                    <a:pt x="789" y="264"/>
                    <a:pt x="600" y="424"/>
                  </a:cubicBezTo>
                  <a:cubicBezTo>
                    <a:pt x="414" y="581"/>
                    <a:pt x="319" y="597"/>
                    <a:pt x="196" y="569"/>
                  </a:cubicBezTo>
                  <a:cubicBezTo>
                    <a:pt x="146" y="558"/>
                    <a:pt x="82" y="606"/>
                    <a:pt x="80" y="639"/>
                  </a:cubicBezTo>
                  <a:cubicBezTo>
                    <a:pt x="79" y="672"/>
                    <a:pt x="2" y="603"/>
                    <a:pt x="1" y="600"/>
                  </a:cubicBezTo>
                  <a:cubicBezTo>
                    <a:pt x="0" y="596"/>
                    <a:pt x="87" y="388"/>
                    <a:pt x="87" y="38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1" name="Freeform 310"/>
            <p:cNvSpPr>
              <a:spLocks/>
            </p:cNvSpPr>
            <p:nvPr/>
          </p:nvSpPr>
          <p:spPr bwMode="auto">
            <a:xfrm>
              <a:off x="6344" y="3846"/>
              <a:ext cx="119" cy="121"/>
            </a:xfrm>
            <a:custGeom>
              <a:avLst/>
              <a:gdLst>
                <a:gd name="T0" fmla="*/ 58 w 735"/>
                <a:gd name="T1" fmla="*/ 460 h 742"/>
                <a:gd name="T2" fmla="*/ 102 w 735"/>
                <a:gd name="T3" fmla="*/ 490 h 742"/>
                <a:gd name="T4" fmla="*/ 353 w 735"/>
                <a:gd name="T5" fmla="*/ 109 h 742"/>
                <a:gd name="T6" fmla="*/ 687 w 735"/>
                <a:gd name="T7" fmla="*/ 14 h 742"/>
                <a:gd name="T8" fmla="*/ 570 w 735"/>
                <a:gd name="T9" fmla="*/ 423 h 742"/>
                <a:gd name="T10" fmla="*/ 191 w 735"/>
                <a:gd name="T11" fmla="*/ 624 h 742"/>
                <a:gd name="T12" fmla="*/ 86 w 735"/>
                <a:gd name="T13" fmla="*/ 709 h 742"/>
                <a:gd name="T14" fmla="*/ 2 w 735"/>
                <a:gd name="T15" fmla="*/ 681 h 742"/>
                <a:gd name="T16" fmla="*/ 58 w 735"/>
                <a:gd name="T17" fmla="*/ 46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5" h="742">
                  <a:moveTo>
                    <a:pt x="58" y="460"/>
                  </a:moveTo>
                  <a:cubicBezTo>
                    <a:pt x="64" y="467"/>
                    <a:pt x="74" y="511"/>
                    <a:pt x="102" y="490"/>
                  </a:cubicBezTo>
                  <a:cubicBezTo>
                    <a:pt x="130" y="469"/>
                    <a:pt x="182" y="217"/>
                    <a:pt x="353" y="109"/>
                  </a:cubicBezTo>
                  <a:cubicBezTo>
                    <a:pt x="524" y="0"/>
                    <a:pt x="687" y="14"/>
                    <a:pt x="687" y="14"/>
                  </a:cubicBezTo>
                  <a:cubicBezTo>
                    <a:pt x="687" y="14"/>
                    <a:pt x="735" y="237"/>
                    <a:pt x="570" y="423"/>
                  </a:cubicBezTo>
                  <a:cubicBezTo>
                    <a:pt x="408" y="604"/>
                    <a:pt x="316" y="634"/>
                    <a:pt x="191" y="624"/>
                  </a:cubicBezTo>
                  <a:cubicBezTo>
                    <a:pt x="140" y="620"/>
                    <a:pt x="83" y="676"/>
                    <a:pt x="86" y="709"/>
                  </a:cubicBezTo>
                  <a:cubicBezTo>
                    <a:pt x="89" y="742"/>
                    <a:pt x="4" y="685"/>
                    <a:pt x="2" y="681"/>
                  </a:cubicBezTo>
                  <a:cubicBezTo>
                    <a:pt x="0" y="678"/>
                    <a:pt x="58" y="460"/>
                    <a:pt x="58" y="46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2" name="Freeform 311"/>
            <p:cNvSpPr>
              <a:spLocks/>
            </p:cNvSpPr>
            <p:nvPr/>
          </p:nvSpPr>
          <p:spPr bwMode="auto">
            <a:xfrm>
              <a:off x="6385" y="3943"/>
              <a:ext cx="102" cy="136"/>
            </a:xfrm>
            <a:custGeom>
              <a:avLst/>
              <a:gdLst>
                <a:gd name="T0" fmla="*/ 10 w 626"/>
                <a:gd name="T1" fmla="*/ 568 h 837"/>
                <a:gd name="T2" fmla="*/ 60 w 626"/>
                <a:gd name="T3" fmla="*/ 588 h 837"/>
                <a:gd name="T4" fmla="*/ 225 w 626"/>
                <a:gd name="T5" fmla="*/ 163 h 837"/>
                <a:gd name="T6" fmla="*/ 532 w 626"/>
                <a:gd name="T7" fmla="*/ 0 h 837"/>
                <a:gd name="T8" fmla="*/ 503 w 626"/>
                <a:gd name="T9" fmla="*/ 424 h 837"/>
                <a:gd name="T10" fmla="*/ 175 w 626"/>
                <a:gd name="T11" fmla="*/ 700 h 837"/>
                <a:gd name="T12" fmla="*/ 91 w 626"/>
                <a:gd name="T13" fmla="*/ 806 h 837"/>
                <a:gd name="T14" fmla="*/ 3 w 626"/>
                <a:gd name="T15" fmla="*/ 796 h 837"/>
                <a:gd name="T16" fmla="*/ 10 w 626"/>
                <a:gd name="T17" fmla="*/ 568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6" h="837">
                  <a:moveTo>
                    <a:pt x="10" y="568"/>
                  </a:moveTo>
                  <a:cubicBezTo>
                    <a:pt x="18" y="573"/>
                    <a:pt x="37" y="615"/>
                    <a:pt x="60" y="588"/>
                  </a:cubicBezTo>
                  <a:cubicBezTo>
                    <a:pt x="83" y="561"/>
                    <a:pt x="81" y="304"/>
                    <a:pt x="225" y="163"/>
                  </a:cubicBezTo>
                  <a:cubicBezTo>
                    <a:pt x="370" y="21"/>
                    <a:pt x="532" y="0"/>
                    <a:pt x="532" y="0"/>
                  </a:cubicBezTo>
                  <a:cubicBezTo>
                    <a:pt x="532" y="0"/>
                    <a:pt x="626" y="208"/>
                    <a:pt x="503" y="424"/>
                  </a:cubicBezTo>
                  <a:cubicBezTo>
                    <a:pt x="384" y="635"/>
                    <a:pt x="300" y="684"/>
                    <a:pt x="175" y="700"/>
                  </a:cubicBezTo>
                  <a:cubicBezTo>
                    <a:pt x="125" y="707"/>
                    <a:pt x="81" y="774"/>
                    <a:pt x="91" y="806"/>
                  </a:cubicBezTo>
                  <a:cubicBezTo>
                    <a:pt x="101" y="837"/>
                    <a:pt x="5" y="799"/>
                    <a:pt x="3" y="796"/>
                  </a:cubicBezTo>
                  <a:cubicBezTo>
                    <a:pt x="0" y="793"/>
                    <a:pt x="10" y="568"/>
                    <a:pt x="10" y="56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3" name="Freeform 312"/>
            <p:cNvSpPr>
              <a:spLocks/>
            </p:cNvSpPr>
            <p:nvPr/>
          </p:nvSpPr>
          <p:spPr bwMode="auto">
            <a:xfrm>
              <a:off x="6448" y="4030"/>
              <a:ext cx="82" cy="150"/>
            </a:xfrm>
            <a:custGeom>
              <a:avLst/>
              <a:gdLst>
                <a:gd name="T0" fmla="*/ 0 w 506"/>
                <a:gd name="T1" fmla="*/ 680 h 918"/>
                <a:gd name="T2" fmla="*/ 53 w 506"/>
                <a:gd name="T3" fmla="*/ 687 h 918"/>
                <a:gd name="T4" fmla="*/ 107 w 506"/>
                <a:gd name="T5" fmla="*/ 234 h 918"/>
                <a:gd name="T6" fmla="*/ 363 w 506"/>
                <a:gd name="T7" fmla="*/ 0 h 918"/>
                <a:gd name="T8" fmla="*/ 441 w 506"/>
                <a:gd name="T9" fmla="*/ 418 h 918"/>
                <a:gd name="T10" fmla="*/ 192 w 506"/>
                <a:gd name="T11" fmla="*/ 767 h 918"/>
                <a:gd name="T12" fmla="*/ 137 w 506"/>
                <a:gd name="T13" fmla="*/ 890 h 918"/>
                <a:gd name="T14" fmla="*/ 49 w 506"/>
                <a:gd name="T15" fmla="*/ 903 h 918"/>
                <a:gd name="T16" fmla="*/ 0 w 506"/>
                <a:gd name="T17" fmla="*/ 68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6" h="918">
                  <a:moveTo>
                    <a:pt x="0" y="680"/>
                  </a:moveTo>
                  <a:cubicBezTo>
                    <a:pt x="8" y="683"/>
                    <a:pt x="37" y="719"/>
                    <a:pt x="53" y="687"/>
                  </a:cubicBezTo>
                  <a:cubicBezTo>
                    <a:pt x="69" y="655"/>
                    <a:pt x="2" y="407"/>
                    <a:pt x="107" y="234"/>
                  </a:cubicBezTo>
                  <a:cubicBezTo>
                    <a:pt x="211" y="60"/>
                    <a:pt x="363" y="0"/>
                    <a:pt x="363" y="0"/>
                  </a:cubicBezTo>
                  <a:cubicBezTo>
                    <a:pt x="363" y="0"/>
                    <a:pt x="506" y="178"/>
                    <a:pt x="441" y="418"/>
                  </a:cubicBezTo>
                  <a:cubicBezTo>
                    <a:pt x="378" y="652"/>
                    <a:pt x="309" y="720"/>
                    <a:pt x="192" y="767"/>
                  </a:cubicBezTo>
                  <a:cubicBezTo>
                    <a:pt x="145" y="786"/>
                    <a:pt x="119" y="862"/>
                    <a:pt x="137" y="890"/>
                  </a:cubicBezTo>
                  <a:cubicBezTo>
                    <a:pt x="155" y="918"/>
                    <a:pt x="53" y="905"/>
                    <a:pt x="49" y="903"/>
                  </a:cubicBezTo>
                  <a:cubicBezTo>
                    <a:pt x="46" y="901"/>
                    <a:pt x="0" y="680"/>
                    <a:pt x="0" y="68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4" name="Freeform 313"/>
            <p:cNvSpPr>
              <a:spLocks/>
            </p:cNvSpPr>
            <p:nvPr/>
          </p:nvSpPr>
          <p:spPr bwMode="auto">
            <a:xfrm>
              <a:off x="6522" y="4107"/>
              <a:ext cx="71" cy="155"/>
            </a:xfrm>
            <a:custGeom>
              <a:avLst/>
              <a:gdLst>
                <a:gd name="T0" fmla="*/ 61 w 437"/>
                <a:gd name="T1" fmla="*/ 746 h 953"/>
                <a:gd name="T2" fmla="*/ 114 w 437"/>
                <a:gd name="T3" fmla="*/ 740 h 953"/>
                <a:gd name="T4" fmla="*/ 62 w 437"/>
                <a:gd name="T5" fmla="*/ 287 h 953"/>
                <a:gd name="T6" fmla="*/ 257 w 437"/>
                <a:gd name="T7" fmla="*/ 0 h 953"/>
                <a:gd name="T8" fmla="*/ 430 w 437"/>
                <a:gd name="T9" fmla="*/ 389 h 953"/>
                <a:gd name="T10" fmla="*/ 268 w 437"/>
                <a:gd name="T11" fmla="*/ 786 h 953"/>
                <a:gd name="T12" fmla="*/ 243 w 437"/>
                <a:gd name="T13" fmla="*/ 918 h 953"/>
                <a:gd name="T14" fmla="*/ 161 w 437"/>
                <a:gd name="T15" fmla="*/ 951 h 953"/>
                <a:gd name="T16" fmla="*/ 61 w 437"/>
                <a:gd name="T17" fmla="*/ 745 h 953"/>
                <a:gd name="T18" fmla="*/ 61 w 437"/>
                <a:gd name="T19" fmla="*/ 746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7" h="953">
                  <a:moveTo>
                    <a:pt x="61" y="746"/>
                  </a:moveTo>
                  <a:cubicBezTo>
                    <a:pt x="70" y="747"/>
                    <a:pt x="106" y="775"/>
                    <a:pt x="114" y="740"/>
                  </a:cubicBezTo>
                  <a:cubicBezTo>
                    <a:pt x="122" y="706"/>
                    <a:pt x="0" y="480"/>
                    <a:pt x="62" y="287"/>
                  </a:cubicBezTo>
                  <a:cubicBezTo>
                    <a:pt x="123" y="94"/>
                    <a:pt x="257" y="0"/>
                    <a:pt x="257" y="0"/>
                  </a:cubicBezTo>
                  <a:cubicBezTo>
                    <a:pt x="257" y="0"/>
                    <a:pt x="437" y="141"/>
                    <a:pt x="430" y="389"/>
                  </a:cubicBezTo>
                  <a:cubicBezTo>
                    <a:pt x="423" y="631"/>
                    <a:pt x="371" y="713"/>
                    <a:pt x="268" y="786"/>
                  </a:cubicBezTo>
                  <a:cubicBezTo>
                    <a:pt x="227" y="815"/>
                    <a:pt x="219" y="895"/>
                    <a:pt x="243" y="918"/>
                  </a:cubicBezTo>
                  <a:cubicBezTo>
                    <a:pt x="267" y="942"/>
                    <a:pt x="165" y="953"/>
                    <a:pt x="161" y="951"/>
                  </a:cubicBezTo>
                  <a:cubicBezTo>
                    <a:pt x="157" y="950"/>
                    <a:pt x="61" y="745"/>
                    <a:pt x="61" y="745"/>
                  </a:cubicBezTo>
                  <a:lnTo>
                    <a:pt x="61" y="74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5" name="Freeform 314"/>
            <p:cNvSpPr>
              <a:spLocks/>
            </p:cNvSpPr>
            <p:nvPr/>
          </p:nvSpPr>
          <p:spPr bwMode="auto">
            <a:xfrm>
              <a:off x="6612" y="4171"/>
              <a:ext cx="73" cy="153"/>
            </a:xfrm>
            <a:custGeom>
              <a:avLst/>
              <a:gdLst>
                <a:gd name="T0" fmla="*/ 131 w 448"/>
                <a:gd name="T1" fmla="*/ 770 h 941"/>
                <a:gd name="T2" fmla="*/ 181 w 448"/>
                <a:gd name="T3" fmla="*/ 751 h 941"/>
                <a:gd name="T4" fmla="*/ 6 w 448"/>
                <a:gd name="T5" fmla="*/ 329 h 941"/>
                <a:gd name="T6" fmla="*/ 115 w 448"/>
                <a:gd name="T7" fmla="*/ 0 h 941"/>
                <a:gd name="T8" fmla="*/ 388 w 448"/>
                <a:gd name="T9" fmla="*/ 326 h 941"/>
                <a:gd name="T10" fmla="*/ 342 w 448"/>
                <a:gd name="T11" fmla="*/ 752 h 941"/>
                <a:gd name="T12" fmla="*/ 354 w 448"/>
                <a:gd name="T13" fmla="*/ 887 h 941"/>
                <a:gd name="T14" fmla="*/ 284 w 448"/>
                <a:gd name="T15" fmla="*/ 941 h 941"/>
                <a:gd name="T16" fmla="*/ 131 w 448"/>
                <a:gd name="T17" fmla="*/ 770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941">
                  <a:moveTo>
                    <a:pt x="131" y="770"/>
                  </a:moveTo>
                  <a:cubicBezTo>
                    <a:pt x="141" y="769"/>
                    <a:pt x="183" y="786"/>
                    <a:pt x="181" y="751"/>
                  </a:cubicBezTo>
                  <a:cubicBezTo>
                    <a:pt x="180" y="715"/>
                    <a:pt x="0" y="532"/>
                    <a:pt x="6" y="329"/>
                  </a:cubicBezTo>
                  <a:cubicBezTo>
                    <a:pt x="12" y="127"/>
                    <a:pt x="115" y="0"/>
                    <a:pt x="115" y="0"/>
                  </a:cubicBezTo>
                  <a:cubicBezTo>
                    <a:pt x="115" y="0"/>
                    <a:pt x="327" y="86"/>
                    <a:pt x="388" y="326"/>
                  </a:cubicBezTo>
                  <a:cubicBezTo>
                    <a:pt x="448" y="561"/>
                    <a:pt x="421" y="654"/>
                    <a:pt x="342" y="752"/>
                  </a:cubicBezTo>
                  <a:cubicBezTo>
                    <a:pt x="310" y="792"/>
                    <a:pt x="325" y="871"/>
                    <a:pt x="354" y="887"/>
                  </a:cubicBezTo>
                  <a:cubicBezTo>
                    <a:pt x="383" y="902"/>
                    <a:pt x="288" y="941"/>
                    <a:pt x="284" y="941"/>
                  </a:cubicBezTo>
                  <a:cubicBezTo>
                    <a:pt x="280" y="940"/>
                    <a:pt x="131" y="770"/>
                    <a:pt x="131" y="77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6" name="Freeform 315"/>
            <p:cNvSpPr>
              <a:spLocks/>
            </p:cNvSpPr>
            <p:nvPr/>
          </p:nvSpPr>
          <p:spPr bwMode="auto">
            <a:xfrm>
              <a:off x="6708" y="4224"/>
              <a:ext cx="88" cy="142"/>
            </a:xfrm>
            <a:custGeom>
              <a:avLst/>
              <a:gdLst>
                <a:gd name="T0" fmla="*/ 270 w 546"/>
                <a:gd name="T1" fmla="*/ 744 h 873"/>
                <a:gd name="T2" fmla="*/ 314 w 546"/>
                <a:gd name="T3" fmla="*/ 713 h 873"/>
                <a:gd name="T4" fmla="*/ 43 w 546"/>
                <a:gd name="T5" fmla="*/ 345 h 873"/>
                <a:gd name="T6" fmla="*/ 70 w 546"/>
                <a:gd name="T7" fmla="*/ 0 h 873"/>
                <a:gd name="T8" fmla="*/ 413 w 546"/>
                <a:gd name="T9" fmla="*/ 251 h 873"/>
                <a:gd name="T10" fmla="*/ 470 w 546"/>
                <a:gd name="T11" fmla="*/ 676 h 873"/>
                <a:gd name="T12" fmla="*/ 514 w 546"/>
                <a:gd name="T13" fmla="*/ 803 h 873"/>
                <a:gd name="T14" fmla="*/ 459 w 546"/>
                <a:gd name="T15" fmla="*/ 873 h 873"/>
                <a:gd name="T16" fmla="*/ 270 w 546"/>
                <a:gd name="T17" fmla="*/ 744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6" h="873">
                  <a:moveTo>
                    <a:pt x="270" y="744"/>
                  </a:moveTo>
                  <a:cubicBezTo>
                    <a:pt x="279" y="740"/>
                    <a:pt x="324" y="747"/>
                    <a:pt x="314" y="713"/>
                  </a:cubicBezTo>
                  <a:cubicBezTo>
                    <a:pt x="303" y="679"/>
                    <a:pt x="85" y="543"/>
                    <a:pt x="43" y="345"/>
                  </a:cubicBezTo>
                  <a:cubicBezTo>
                    <a:pt x="0" y="147"/>
                    <a:pt x="70" y="0"/>
                    <a:pt x="70" y="0"/>
                  </a:cubicBezTo>
                  <a:cubicBezTo>
                    <a:pt x="70" y="0"/>
                    <a:pt x="296" y="32"/>
                    <a:pt x="413" y="251"/>
                  </a:cubicBezTo>
                  <a:cubicBezTo>
                    <a:pt x="527" y="465"/>
                    <a:pt x="523" y="562"/>
                    <a:pt x="470" y="676"/>
                  </a:cubicBezTo>
                  <a:cubicBezTo>
                    <a:pt x="449" y="722"/>
                    <a:pt x="481" y="795"/>
                    <a:pt x="514" y="803"/>
                  </a:cubicBezTo>
                  <a:cubicBezTo>
                    <a:pt x="546" y="812"/>
                    <a:pt x="463" y="872"/>
                    <a:pt x="459" y="873"/>
                  </a:cubicBezTo>
                  <a:cubicBezTo>
                    <a:pt x="455" y="873"/>
                    <a:pt x="270" y="744"/>
                    <a:pt x="270" y="744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7" name="Freeform 316"/>
            <p:cNvSpPr>
              <a:spLocks/>
            </p:cNvSpPr>
            <p:nvPr/>
          </p:nvSpPr>
          <p:spPr bwMode="auto">
            <a:xfrm>
              <a:off x="6222" y="3654"/>
              <a:ext cx="118" cy="135"/>
            </a:xfrm>
            <a:custGeom>
              <a:avLst/>
              <a:gdLst>
                <a:gd name="T0" fmla="*/ 606 w 725"/>
                <a:gd name="T1" fmla="*/ 828 h 828"/>
                <a:gd name="T2" fmla="*/ 512 w 725"/>
                <a:gd name="T3" fmla="*/ 759 h 828"/>
                <a:gd name="T4" fmla="*/ 134 w 725"/>
                <a:gd name="T5" fmla="*/ 590 h 828"/>
                <a:gd name="T6" fmla="*/ 23 w 725"/>
                <a:gd name="T7" fmla="*/ 0 h 828"/>
                <a:gd name="T8" fmla="*/ 459 w 725"/>
                <a:gd name="T9" fmla="*/ 244 h 828"/>
                <a:gd name="T10" fmla="*/ 637 w 725"/>
                <a:gd name="T11" fmla="*/ 509 h 828"/>
                <a:gd name="T12" fmla="*/ 725 w 725"/>
                <a:gd name="T13" fmla="*/ 559 h 828"/>
                <a:gd name="T14" fmla="*/ 704 w 725"/>
                <a:gd name="T15" fmla="*/ 706 h 828"/>
                <a:gd name="T16" fmla="*/ 606 w 725"/>
                <a:gd name="T17" fmla="*/ 82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5" h="828">
                  <a:moveTo>
                    <a:pt x="606" y="828"/>
                  </a:moveTo>
                  <a:cubicBezTo>
                    <a:pt x="606" y="828"/>
                    <a:pt x="597" y="763"/>
                    <a:pt x="512" y="759"/>
                  </a:cubicBezTo>
                  <a:cubicBezTo>
                    <a:pt x="427" y="754"/>
                    <a:pt x="211" y="801"/>
                    <a:pt x="134" y="590"/>
                  </a:cubicBezTo>
                  <a:cubicBezTo>
                    <a:pt x="81" y="443"/>
                    <a:pt x="0" y="137"/>
                    <a:pt x="23" y="0"/>
                  </a:cubicBezTo>
                  <a:cubicBezTo>
                    <a:pt x="174" y="30"/>
                    <a:pt x="343" y="91"/>
                    <a:pt x="459" y="244"/>
                  </a:cubicBezTo>
                  <a:cubicBezTo>
                    <a:pt x="526" y="333"/>
                    <a:pt x="580" y="608"/>
                    <a:pt x="637" y="509"/>
                  </a:cubicBezTo>
                  <a:cubicBezTo>
                    <a:pt x="647" y="478"/>
                    <a:pt x="725" y="559"/>
                    <a:pt x="725" y="559"/>
                  </a:cubicBezTo>
                  <a:lnTo>
                    <a:pt x="704" y="706"/>
                  </a:lnTo>
                  <a:lnTo>
                    <a:pt x="606" y="828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8" name="Freeform 317"/>
            <p:cNvSpPr>
              <a:spLocks/>
            </p:cNvSpPr>
            <p:nvPr/>
          </p:nvSpPr>
          <p:spPr bwMode="auto">
            <a:xfrm>
              <a:off x="6205" y="3796"/>
              <a:ext cx="135" cy="121"/>
            </a:xfrm>
            <a:custGeom>
              <a:avLst/>
              <a:gdLst>
                <a:gd name="T0" fmla="*/ 759 w 826"/>
                <a:gd name="T1" fmla="*/ 676 h 742"/>
                <a:gd name="T2" fmla="*/ 652 w 826"/>
                <a:gd name="T3" fmla="*/ 630 h 742"/>
                <a:gd name="T4" fmla="*/ 245 w 826"/>
                <a:gd name="T5" fmla="*/ 555 h 742"/>
                <a:gd name="T6" fmla="*/ 0 w 826"/>
                <a:gd name="T7" fmla="*/ 6 h 742"/>
                <a:gd name="T8" fmla="*/ 480 w 826"/>
                <a:gd name="T9" fmla="*/ 143 h 742"/>
                <a:gd name="T10" fmla="*/ 715 w 826"/>
                <a:gd name="T11" fmla="*/ 358 h 742"/>
                <a:gd name="T12" fmla="*/ 812 w 826"/>
                <a:gd name="T13" fmla="*/ 387 h 742"/>
                <a:gd name="T14" fmla="*/ 826 w 826"/>
                <a:gd name="T15" fmla="*/ 535 h 742"/>
                <a:gd name="T16" fmla="*/ 759 w 826"/>
                <a:gd name="T17" fmla="*/ 676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6" h="742">
                  <a:moveTo>
                    <a:pt x="759" y="676"/>
                  </a:moveTo>
                  <a:cubicBezTo>
                    <a:pt x="759" y="676"/>
                    <a:pt x="736" y="615"/>
                    <a:pt x="652" y="630"/>
                  </a:cubicBezTo>
                  <a:cubicBezTo>
                    <a:pt x="569" y="646"/>
                    <a:pt x="369" y="742"/>
                    <a:pt x="245" y="555"/>
                  </a:cubicBezTo>
                  <a:cubicBezTo>
                    <a:pt x="159" y="424"/>
                    <a:pt x="9" y="144"/>
                    <a:pt x="0" y="6"/>
                  </a:cubicBezTo>
                  <a:cubicBezTo>
                    <a:pt x="153" y="0"/>
                    <a:pt x="332" y="20"/>
                    <a:pt x="480" y="143"/>
                  </a:cubicBezTo>
                  <a:cubicBezTo>
                    <a:pt x="567" y="214"/>
                    <a:pt x="683" y="468"/>
                    <a:pt x="715" y="358"/>
                  </a:cubicBezTo>
                  <a:cubicBezTo>
                    <a:pt x="718" y="326"/>
                    <a:pt x="812" y="387"/>
                    <a:pt x="812" y="387"/>
                  </a:cubicBezTo>
                  <a:lnTo>
                    <a:pt x="826" y="535"/>
                  </a:lnTo>
                  <a:lnTo>
                    <a:pt x="759" y="67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29" name="Freeform 318"/>
            <p:cNvSpPr>
              <a:spLocks/>
            </p:cNvSpPr>
            <p:nvPr/>
          </p:nvSpPr>
          <p:spPr bwMode="auto">
            <a:xfrm>
              <a:off x="6221" y="3932"/>
              <a:ext cx="147" cy="114"/>
            </a:xfrm>
            <a:custGeom>
              <a:avLst/>
              <a:gdLst>
                <a:gd name="T0" fmla="*/ 870 w 910"/>
                <a:gd name="T1" fmla="*/ 567 h 703"/>
                <a:gd name="T2" fmla="*/ 756 w 910"/>
                <a:gd name="T3" fmla="*/ 541 h 703"/>
                <a:gd name="T4" fmla="*/ 342 w 910"/>
                <a:gd name="T5" fmla="*/ 541 h 703"/>
                <a:gd name="T6" fmla="*/ 0 w 910"/>
                <a:gd name="T7" fmla="*/ 47 h 703"/>
                <a:gd name="T8" fmla="*/ 498 w 910"/>
                <a:gd name="T9" fmla="*/ 93 h 703"/>
                <a:gd name="T10" fmla="*/ 768 w 910"/>
                <a:gd name="T11" fmla="*/ 263 h 703"/>
                <a:gd name="T12" fmla="*/ 869 w 910"/>
                <a:gd name="T13" fmla="*/ 274 h 703"/>
                <a:gd name="T14" fmla="*/ 910 w 910"/>
                <a:gd name="T15" fmla="*/ 416 h 703"/>
                <a:gd name="T16" fmla="*/ 870 w 910"/>
                <a:gd name="T17" fmla="*/ 567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0" h="703">
                  <a:moveTo>
                    <a:pt x="870" y="567"/>
                  </a:moveTo>
                  <a:cubicBezTo>
                    <a:pt x="870" y="567"/>
                    <a:pt x="835" y="511"/>
                    <a:pt x="756" y="541"/>
                  </a:cubicBezTo>
                  <a:cubicBezTo>
                    <a:pt x="677" y="572"/>
                    <a:pt x="498" y="703"/>
                    <a:pt x="342" y="541"/>
                  </a:cubicBezTo>
                  <a:cubicBezTo>
                    <a:pt x="233" y="428"/>
                    <a:pt x="35" y="181"/>
                    <a:pt x="0" y="47"/>
                  </a:cubicBezTo>
                  <a:cubicBezTo>
                    <a:pt x="150" y="13"/>
                    <a:pt x="330" y="0"/>
                    <a:pt x="498" y="93"/>
                  </a:cubicBezTo>
                  <a:cubicBezTo>
                    <a:pt x="596" y="147"/>
                    <a:pt x="756" y="376"/>
                    <a:pt x="768" y="263"/>
                  </a:cubicBezTo>
                  <a:cubicBezTo>
                    <a:pt x="765" y="230"/>
                    <a:pt x="869" y="274"/>
                    <a:pt x="869" y="274"/>
                  </a:cubicBezTo>
                  <a:lnTo>
                    <a:pt x="910" y="416"/>
                  </a:lnTo>
                  <a:lnTo>
                    <a:pt x="870" y="56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0" name="Freeform 319"/>
            <p:cNvSpPr>
              <a:spLocks/>
            </p:cNvSpPr>
            <p:nvPr/>
          </p:nvSpPr>
          <p:spPr bwMode="auto">
            <a:xfrm>
              <a:off x="6262" y="4057"/>
              <a:ext cx="156" cy="108"/>
            </a:xfrm>
            <a:custGeom>
              <a:avLst/>
              <a:gdLst>
                <a:gd name="T0" fmla="*/ 944 w 958"/>
                <a:gd name="T1" fmla="*/ 471 h 666"/>
                <a:gd name="T2" fmla="*/ 827 w 958"/>
                <a:gd name="T3" fmla="*/ 465 h 666"/>
                <a:gd name="T4" fmla="*/ 419 w 958"/>
                <a:gd name="T5" fmla="*/ 532 h 666"/>
                <a:gd name="T6" fmla="*/ 0 w 958"/>
                <a:gd name="T7" fmla="*/ 101 h 666"/>
                <a:gd name="T8" fmla="*/ 499 w 958"/>
                <a:gd name="T9" fmla="*/ 65 h 666"/>
                <a:gd name="T10" fmla="*/ 793 w 958"/>
                <a:gd name="T11" fmla="*/ 188 h 666"/>
                <a:gd name="T12" fmla="*/ 894 w 958"/>
                <a:gd name="T13" fmla="*/ 182 h 666"/>
                <a:gd name="T14" fmla="*/ 958 w 958"/>
                <a:gd name="T15" fmla="*/ 315 h 666"/>
                <a:gd name="T16" fmla="*/ 944 w 958"/>
                <a:gd name="T17" fmla="*/ 471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8" h="666">
                  <a:moveTo>
                    <a:pt x="944" y="471"/>
                  </a:moveTo>
                  <a:cubicBezTo>
                    <a:pt x="944" y="471"/>
                    <a:pt x="900" y="421"/>
                    <a:pt x="827" y="465"/>
                  </a:cubicBezTo>
                  <a:cubicBezTo>
                    <a:pt x="754" y="508"/>
                    <a:pt x="599" y="666"/>
                    <a:pt x="419" y="532"/>
                  </a:cubicBezTo>
                  <a:cubicBezTo>
                    <a:pt x="293" y="439"/>
                    <a:pt x="57" y="227"/>
                    <a:pt x="0" y="101"/>
                  </a:cubicBezTo>
                  <a:cubicBezTo>
                    <a:pt x="143" y="42"/>
                    <a:pt x="317" y="0"/>
                    <a:pt x="499" y="65"/>
                  </a:cubicBezTo>
                  <a:cubicBezTo>
                    <a:pt x="604" y="102"/>
                    <a:pt x="800" y="302"/>
                    <a:pt x="793" y="188"/>
                  </a:cubicBezTo>
                  <a:cubicBezTo>
                    <a:pt x="785" y="156"/>
                    <a:pt x="894" y="182"/>
                    <a:pt x="894" y="182"/>
                  </a:cubicBezTo>
                  <a:lnTo>
                    <a:pt x="958" y="315"/>
                  </a:lnTo>
                  <a:lnTo>
                    <a:pt x="944" y="47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1" name="Freeform 320"/>
            <p:cNvSpPr>
              <a:spLocks/>
            </p:cNvSpPr>
            <p:nvPr/>
          </p:nvSpPr>
          <p:spPr bwMode="auto">
            <a:xfrm>
              <a:off x="6335" y="4173"/>
              <a:ext cx="163" cy="96"/>
            </a:xfrm>
            <a:custGeom>
              <a:avLst/>
              <a:gdLst>
                <a:gd name="T0" fmla="*/ 1000 w 1000"/>
                <a:gd name="T1" fmla="*/ 329 h 592"/>
                <a:gd name="T2" fmla="*/ 885 w 1000"/>
                <a:gd name="T3" fmla="*/ 347 h 592"/>
                <a:gd name="T4" fmla="*/ 500 w 1000"/>
                <a:gd name="T5" fmla="*/ 499 h 592"/>
                <a:gd name="T6" fmla="*/ 0 w 1000"/>
                <a:gd name="T7" fmla="*/ 164 h 592"/>
                <a:gd name="T8" fmla="*/ 480 w 1000"/>
                <a:gd name="T9" fmla="*/ 25 h 592"/>
                <a:gd name="T10" fmla="*/ 794 w 1000"/>
                <a:gd name="T11" fmla="*/ 83 h 592"/>
                <a:gd name="T12" fmla="*/ 892 w 1000"/>
                <a:gd name="T13" fmla="*/ 56 h 592"/>
                <a:gd name="T14" fmla="*/ 982 w 1000"/>
                <a:gd name="T15" fmla="*/ 174 h 592"/>
                <a:gd name="T16" fmla="*/ 1000 w 1000"/>
                <a:gd name="T17" fmla="*/ 329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0" h="592">
                  <a:moveTo>
                    <a:pt x="1000" y="329"/>
                  </a:moveTo>
                  <a:cubicBezTo>
                    <a:pt x="1000" y="329"/>
                    <a:pt x="948" y="289"/>
                    <a:pt x="885" y="347"/>
                  </a:cubicBezTo>
                  <a:cubicBezTo>
                    <a:pt x="823" y="404"/>
                    <a:pt x="704" y="592"/>
                    <a:pt x="500" y="499"/>
                  </a:cubicBezTo>
                  <a:cubicBezTo>
                    <a:pt x="357" y="434"/>
                    <a:pt x="82" y="276"/>
                    <a:pt x="0" y="164"/>
                  </a:cubicBezTo>
                  <a:cubicBezTo>
                    <a:pt x="127" y="77"/>
                    <a:pt x="289" y="0"/>
                    <a:pt x="480" y="25"/>
                  </a:cubicBezTo>
                  <a:cubicBezTo>
                    <a:pt x="591" y="39"/>
                    <a:pt x="825" y="193"/>
                    <a:pt x="794" y="83"/>
                  </a:cubicBezTo>
                  <a:cubicBezTo>
                    <a:pt x="779" y="54"/>
                    <a:pt x="892" y="56"/>
                    <a:pt x="892" y="56"/>
                  </a:cubicBezTo>
                  <a:lnTo>
                    <a:pt x="982" y="174"/>
                  </a:lnTo>
                  <a:lnTo>
                    <a:pt x="1000" y="32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2" name="Freeform 321"/>
            <p:cNvSpPr>
              <a:spLocks/>
            </p:cNvSpPr>
            <p:nvPr/>
          </p:nvSpPr>
          <p:spPr bwMode="auto">
            <a:xfrm>
              <a:off x="6425" y="4263"/>
              <a:ext cx="181" cy="91"/>
            </a:xfrm>
            <a:custGeom>
              <a:avLst/>
              <a:gdLst>
                <a:gd name="T0" fmla="*/ 1114 w 1114"/>
                <a:gd name="T1" fmla="*/ 253 h 558"/>
                <a:gd name="T2" fmla="*/ 992 w 1114"/>
                <a:gd name="T3" fmla="*/ 288 h 558"/>
                <a:gd name="T4" fmla="*/ 600 w 1114"/>
                <a:gd name="T5" fmla="*/ 498 h 558"/>
                <a:gd name="T6" fmla="*/ 0 w 1114"/>
                <a:gd name="T7" fmla="*/ 246 h 558"/>
                <a:gd name="T8" fmla="*/ 497 w 1114"/>
                <a:gd name="T9" fmla="*/ 33 h 558"/>
                <a:gd name="T10" fmla="*/ 848 w 1114"/>
                <a:gd name="T11" fmla="*/ 42 h 558"/>
                <a:gd name="T12" fmla="*/ 949 w 1114"/>
                <a:gd name="T13" fmla="*/ 0 h 558"/>
                <a:gd name="T14" fmla="*/ 1068 w 1114"/>
                <a:gd name="T15" fmla="*/ 102 h 558"/>
                <a:gd name="T16" fmla="*/ 1114 w 1114"/>
                <a:gd name="T17" fmla="*/ 25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4" h="558">
                  <a:moveTo>
                    <a:pt x="1114" y="253"/>
                  </a:moveTo>
                  <a:cubicBezTo>
                    <a:pt x="1114" y="253"/>
                    <a:pt x="1050" y="222"/>
                    <a:pt x="992" y="288"/>
                  </a:cubicBezTo>
                  <a:cubicBezTo>
                    <a:pt x="934" y="355"/>
                    <a:pt x="838" y="558"/>
                    <a:pt x="600" y="498"/>
                  </a:cubicBezTo>
                  <a:cubicBezTo>
                    <a:pt x="434" y="456"/>
                    <a:pt x="108" y="344"/>
                    <a:pt x="0" y="246"/>
                  </a:cubicBezTo>
                  <a:cubicBezTo>
                    <a:pt x="123" y="140"/>
                    <a:pt x="286" y="38"/>
                    <a:pt x="497" y="33"/>
                  </a:cubicBezTo>
                  <a:cubicBezTo>
                    <a:pt x="620" y="30"/>
                    <a:pt x="900" y="146"/>
                    <a:pt x="848" y="42"/>
                  </a:cubicBezTo>
                  <a:cubicBezTo>
                    <a:pt x="827" y="16"/>
                    <a:pt x="949" y="0"/>
                    <a:pt x="949" y="0"/>
                  </a:cubicBezTo>
                  <a:lnTo>
                    <a:pt x="1068" y="102"/>
                  </a:lnTo>
                  <a:lnTo>
                    <a:pt x="1114" y="253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3" name="Freeform 322"/>
            <p:cNvSpPr>
              <a:spLocks/>
            </p:cNvSpPr>
            <p:nvPr/>
          </p:nvSpPr>
          <p:spPr bwMode="auto">
            <a:xfrm>
              <a:off x="6321" y="3296"/>
              <a:ext cx="870" cy="1138"/>
            </a:xfrm>
            <a:custGeom>
              <a:avLst/>
              <a:gdLst>
                <a:gd name="T0" fmla="*/ 5070 w 5360"/>
                <a:gd name="T1" fmla="*/ 6995 h 6995"/>
                <a:gd name="T2" fmla="*/ 3920 w 5360"/>
                <a:gd name="T3" fmla="*/ 6712 h 6995"/>
                <a:gd name="T4" fmla="*/ 1271 w 5360"/>
                <a:gd name="T5" fmla="*/ 5868 h 6995"/>
                <a:gd name="T6" fmla="*/ 0 w 5360"/>
                <a:gd name="T7" fmla="*/ 3127 h 6995"/>
                <a:gd name="T8" fmla="*/ 1206 w 5360"/>
                <a:gd name="T9" fmla="*/ 615 h 6995"/>
                <a:gd name="T10" fmla="*/ 2206 w 5360"/>
                <a:gd name="T11" fmla="*/ 15 h 6995"/>
                <a:gd name="T12" fmla="*/ 2234 w 5360"/>
                <a:gd name="T13" fmla="*/ 64 h 6995"/>
                <a:gd name="T14" fmla="*/ 1714 w 5360"/>
                <a:gd name="T15" fmla="*/ 366 h 6995"/>
                <a:gd name="T16" fmla="*/ 1021 w 5360"/>
                <a:gd name="T17" fmla="*/ 942 h 6995"/>
                <a:gd name="T18" fmla="*/ 173 w 5360"/>
                <a:gd name="T19" fmla="*/ 3667 h 6995"/>
                <a:gd name="T20" fmla="*/ 1740 w 5360"/>
                <a:gd name="T21" fmla="*/ 6039 h 6995"/>
                <a:gd name="T22" fmla="*/ 3902 w 5360"/>
                <a:gd name="T23" fmla="*/ 6612 h 6995"/>
                <a:gd name="T24" fmla="*/ 5360 w 5360"/>
                <a:gd name="T25" fmla="*/ 6976 h 6995"/>
                <a:gd name="T26" fmla="*/ 5070 w 5360"/>
                <a:gd name="T27" fmla="*/ 6995 h 6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60" h="6995">
                  <a:moveTo>
                    <a:pt x="5070" y="6995"/>
                  </a:moveTo>
                  <a:cubicBezTo>
                    <a:pt x="5070" y="6995"/>
                    <a:pt x="4817" y="6719"/>
                    <a:pt x="3920" y="6712"/>
                  </a:cubicBezTo>
                  <a:cubicBezTo>
                    <a:pt x="3023" y="6705"/>
                    <a:pt x="2316" y="6660"/>
                    <a:pt x="1271" y="5868"/>
                  </a:cubicBezTo>
                  <a:cubicBezTo>
                    <a:pt x="225" y="5076"/>
                    <a:pt x="0" y="3790"/>
                    <a:pt x="0" y="3127"/>
                  </a:cubicBezTo>
                  <a:cubicBezTo>
                    <a:pt x="0" y="2465"/>
                    <a:pt x="294" y="1337"/>
                    <a:pt x="1206" y="615"/>
                  </a:cubicBezTo>
                  <a:cubicBezTo>
                    <a:pt x="1555" y="338"/>
                    <a:pt x="2104" y="35"/>
                    <a:pt x="2206" y="15"/>
                  </a:cubicBezTo>
                  <a:cubicBezTo>
                    <a:pt x="2280" y="0"/>
                    <a:pt x="2278" y="39"/>
                    <a:pt x="2234" y="64"/>
                  </a:cubicBezTo>
                  <a:cubicBezTo>
                    <a:pt x="2077" y="153"/>
                    <a:pt x="1987" y="185"/>
                    <a:pt x="1714" y="366"/>
                  </a:cubicBezTo>
                  <a:cubicBezTo>
                    <a:pt x="1472" y="526"/>
                    <a:pt x="1215" y="735"/>
                    <a:pt x="1021" y="942"/>
                  </a:cubicBezTo>
                  <a:cubicBezTo>
                    <a:pt x="608" y="1385"/>
                    <a:pt x="6" y="2299"/>
                    <a:pt x="173" y="3667"/>
                  </a:cubicBezTo>
                  <a:cubicBezTo>
                    <a:pt x="340" y="5035"/>
                    <a:pt x="1248" y="5734"/>
                    <a:pt x="1740" y="6039"/>
                  </a:cubicBezTo>
                  <a:cubicBezTo>
                    <a:pt x="2231" y="6344"/>
                    <a:pt x="2930" y="6630"/>
                    <a:pt x="3902" y="6612"/>
                  </a:cubicBezTo>
                  <a:cubicBezTo>
                    <a:pt x="4873" y="6593"/>
                    <a:pt x="5360" y="6976"/>
                    <a:pt x="5360" y="6976"/>
                  </a:cubicBezTo>
                  <a:lnTo>
                    <a:pt x="5070" y="699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4" name="Freeform 323"/>
            <p:cNvSpPr>
              <a:spLocks/>
            </p:cNvSpPr>
            <p:nvPr/>
          </p:nvSpPr>
          <p:spPr bwMode="auto">
            <a:xfrm>
              <a:off x="7162" y="4335"/>
              <a:ext cx="168" cy="80"/>
            </a:xfrm>
            <a:custGeom>
              <a:avLst/>
              <a:gdLst>
                <a:gd name="T0" fmla="*/ 286 w 1036"/>
                <a:gd name="T1" fmla="*/ 15 h 491"/>
                <a:gd name="T2" fmla="*/ 462 w 1036"/>
                <a:gd name="T3" fmla="*/ 44 h 491"/>
                <a:gd name="T4" fmla="*/ 1036 w 1036"/>
                <a:gd name="T5" fmla="*/ 354 h 491"/>
                <a:gd name="T6" fmla="*/ 386 w 1036"/>
                <a:gd name="T7" fmla="*/ 454 h 491"/>
                <a:gd name="T8" fmla="*/ 0 w 1036"/>
                <a:gd name="T9" fmla="*/ 127 h 491"/>
                <a:gd name="T10" fmla="*/ 75 w 1036"/>
                <a:gd name="T11" fmla="*/ 0 h 491"/>
                <a:gd name="T12" fmla="*/ 286 w 1036"/>
                <a:gd name="T13" fmla="*/ 15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6" h="491">
                  <a:moveTo>
                    <a:pt x="286" y="15"/>
                  </a:moveTo>
                  <a:cubicBezTo>
                    <a:pt x="261" y="77"/>
                    <a:pt x="349" y="42"/>
                    <a:pt x="462" y="44"/>
                  </a:cubicBezTo>
                  <a:cubicBezTo>
                    <a:pt x="656" y="49"/>
                    <a:pt x="824" y="59"/>
                    <a:pt x="1036" y="354"/>
                  </a:cubicBezTo>
                  <a:cubicBezTo>
                    <a:pt x="842" y="415"/>
                    <a:pt x="612" y="491"/>
                    <a:pt x="386" y="454"/>
                  </a:cubicBezTo>
                  <a:cubicBezTo>
                    <a:pt x="131" y="413"/>
                    <a:pt x="166" y="66"/>
                    <a:pt x="0" y="127"/>
                  </a:cubicBezTo>
                  <a:lnTo>
                    <a:pt x="75" y="0"/>
                  </a:lnTo>
                  <a:lnTo>
                    <a:pt x="286" y="1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5" name="Freeform 324"/>
            <p:cNvSpPr>
              <a:spLocks/>
            </p:cNvSpPr>
            <p:nvPr/>
          </p:nvSpPr>
          <p:spPr bwMode="auto">
            <a:xfrm>
              <a:off x="7509" y="3515"/>
              <a:ext cx="99" cy="153"/>
            </a:xfrm>
            <a:custGeom>
              <a:avLst/>
              <a:gdLst>
                <a:gd name="T0" fmla="*/ 178 w 607"/>
                <a:gd name="T1" fmla="*/ 940 h 940"/>
                <a:gd name="T2" fmla="*/ 253 w 607"/>
                <a:gd name="T3" fmla="*/ 851 h 940"/>
                <a:gd name="T4" fmla="*/ 582 w 607"/>
                <a:gd name="T5" fmla="*/ 600 h 940"/>
                <a:gd name="T6" fmla="*/ 553 w 607"/>
                <a:gd name="T7" fmla="*/ 0 h 940"/>
                <a:gd name="T8" fmla="*/ 186 w 607"/>
                <a:gd name="T9" fmla="*/ 338 h 940"/>
                <a:gd name="T10" fmla="*/ 74 w 607"/>
                <a:gd name="T11" fmla="*/ 637 h 940"/>
                <a:gd name="T12" fmla="*/ 0 w 607"/>
                <a:gd name="T13" fmla="*/ 706 h 940"/>
                <a:gd name="T14" fmla="*/ 54 w 607"/>
                <a:gd name="T15" fmla="*/ 844 h 940"/>
                <a:gd name="T16" fmla="*/ 178 w 607"/>
                <a:gd name="T17" fmla="*/ 940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7" h="940">
                  <a:moveTo>
                    <a:pt x="178" y="940"/>
                  </a:moveTo>
                  <a:cubicBezTo>
                    <a:pt x="178" y="940"/>
                    <a:pt x="171" y="875"/>
                    <a:pt x="253" y="851"/>
                  </a:cubicBezTo>
                  <a:cubicBezTo>
                    <a:pt x="335" y="827"/>
                    <a:pt x="556" y="823"/>
                    <a:pt x="582" y="600"/>
                  </a:cubicBezTo>
                  <a:cubicBezTo>
                    <a:pt x="600" y="444"/>
                    <a:pt x="607" y="127"/>
                    <a:pt x="553" y="0"/>
                  </a:cubicBezTo>
                  <a:cubicBezTo>
                    <a:pt x="413" y="64"/>
                    <a:pt x="263" y="162"/>
                    <a:pt x="186" y="338"/>
                  </a:cubicBezTo>
                  <a:cubicBezTo>
                    <a:pt x="141" y="441"/>
                    <a:pt x="152" y="720"/>
                    <a:pt x="74" y="637"/>
                  </a:cubicBezTo>
                  <a:cubicBezTo>
                    <a:pt x="57" y="609"/>
                    <a:pt x="0" y="706"/>
                    <a:pt x="0" y="706"/>
                  </a:cubicBezTo>
                  <a:lnTo>
                    <a:pt x="54" y="844"/>
                  </a:lnTo>
                  <a:lnTo>
                    <a:pt x="178" y="94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6" name="Freeform 325"/>
            <p:cNvSpPr>
              <a:spLocks/>
            </p:cNvSpPr>
            <p:nvPr/>
          </p:nvSpPr>
          <p:spPr bwMode="auto">
            <a:xfrm>
              <a:off x="7457" y="3388"/>
              <a:ext cx="91" cy="165"/>
            </a:xfrm>
            <a:custGeom>
              <a:avLst/>
              <a:gdLst>
                <a:gd name="T0" fmla="*/ 209 w 559"/>
                <a:gd name="T1" fmla="*/ 1011 h 1011"/>
                <a:gd name="T2" fmla="*/ 536 w 559"/>
                <a:gd name="T3" fmla="*/ 643 h 1011"/>
                <a:gd name="T4" fmla="*/ 353 w 559"/>
                <a:gd name="T5" fmla="*/ 0 h 1011"/>
                <a:gd name="T6" fmla="*/ 116 w 559"/>
                <a:gd name="T7" fmla="*/ 444 h 1011"/>
                <a:gd name="T8" fmla="*/ 29 w 559"/>
                <a:gd name="T9" fmla="*/ 714 h 1011"/>
                <a:gd name="T10" fmla="*/ 0 w 559"/>
                <a:gd name="T11" fmla="*/ 826 h 1011"/>
                <a:gd name="T12" fmla="*/ 209 w 559"/>
                <a:gd name="T13" fmla="*/ 1011 h 1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9" h="1011">
                  <a:moveTo>
                    <a:pt x="209" y="1011"/>
                  </a:moveTo>
                  <a:cubicBezTo>
                    <a:pt x="189" y="846"/>
                    <a:pt x="514" y="959"/>
                    <a:pt x="536" y="643"/>
                  </a:cubicBezTo>
                  <a:cubicBezTo>
                    <a:pt x="559" y="310"/>
                    <a:pt x="442" y="217"/>
                    <a:pt x="353" y="0"/>
                  </a:cubicBezTo>
                  <a:cubicBezTo>
                    <a:pt x="236" y="112"/>
                    <a:pt x="160" y="232"/>
                    <a:pt x="116" y="444"/>
                  </a:cubicBezTo>
                  <a:cubicBezTo>
                    <a:pt x="92" y="556"/>
                    <a:pt x="178" y="810"/>
                    <a:pt x="29" y="714"/>
                  </a:cubicBezTo>
                  <a:cubicBezTo>
                    <a:pt x="15" y="699"/>
                    <a:pt x="0" y="826"/>
                    <a:pt x="0" y="826"/>
                  </a:cubicBezTo>
                  <a:lnTo>
                    <a:pt x="209" y="101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7" name="Freeform 326"/>
            <p:cNvSpPr>
              <a:spLocks/>
            </p:cNvSpPr>
            <p:nvPr/>
          </p:nvSpPr>
          <p:spPr bwMode="auto">
            <a:xfrm>
              <a:off x="7385" y="3291"/>
              <a:ext cx="79" cy="159"/>
            </a:xfrm>
            <a:custGeom>
              <a:avLst/>
              <a:gdLst>
                <a:gd name="T0" fmla="*/ 220 w 487"/>
                <a:gd name="T1" fmla="*/ 977 h 977"/>
                <a:gd name="T2" fmla="*/ 487 w 487"/>
                <a:gd name="T3" fmla="*/ 601 h 977"/>
                <a:gd name="T4" fmla="*/ 179 w 487"/>
                <a:gd name="T5" fmla="*/ 0 h 977"/>
                <a:gd name="T6" fmla="*/ 8 w 487"/>
                <a:gd name="T7" fmla="*/ 455 h 977"/>
                <a:gd name="T8" fmla="*/ 56 w 487"/>
                <a:gd name="T9" fmla="*/ 756 h 977"/>
                <a:gd name="T10" fmla="*/ 19 w 487"/>
                <a:gd name="T11" fmla="*/ 776 h 977"/>
                <a:gd name="T12" fmla="*/ 44 w 487"/>
                <a:gd name="T13" fmla="*/ 894 h 977"/>
                <a:gd name="T14" fmla="*/ 220 w 487"/>
                <a:gd name="T15" fmla="*/ 977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977">
                  <a:moveTo>
                    <a:pt x="220" y="977"/>
                  </a:moveTo>
                  <a:cubicBezTo>
                    <a:pt x="183" y="885"/>
                    <a:pt x="487" y="869"/>
                    <a:pt x="487" y="601"/>
                  </a:cubicBezTo>
                  <a:cubicBezTo>
                    <a:pt x="474" y="365"/>
                    <a:pt x="313" y="272"/>
                    <a:pt x="179" y="0"/>
                  </a:cubicBezTo>
                  <a:cubicBezTo>
                    <a:pt x="55" y="131"/>
                    <a:pt x="0" y="313"/>
                    <a:pt x="8" y="455"/>
                  </a:cubicBezTo>
                  <a:cubicBezTo>
                    <a:pt x="21" y="660"/>
                    <a:pt x="79" y="695"/>
                    <a:pt x="56" y="756"/>
                  </a:cubicBezTo>
                  <a:cubicBezTo>
                    <a:pt x="47" y="781"/>
                    <a:pt x="31" y="783"/>
                    <a:pt x="19" y="776"/>
                  </a:cubicBezTo>
                  <a:cubicBezTo>
                    <a:pt x="7" y="770"/>
                    <a:pt x="44" y="894"/>
                    <a:pt x="44" y="894"/>
                  </a:cubicBezTo>
                  <a:lnTo>
                    <a:pt x="220" y="97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8" name="Freeform 327"/>
            <p:cNvSpPr>
              <a:spLocks/>
            </p:cNvSpPr>
            <p:nvPr/>
          </p:nvSpPr>
          <p:spPr bwMode="auto">
            <a:xfrm>
              <a:off x="7269" y="3221"/>
              <a:ext cx="87" cy="153"/>
            </a:xfrm>
            <a:custGeom>
              <a:avLst/>
              <a:gdLst>
                <a:gd name="T0" fmla="*/ 385 w 534"/>
                <a:gd name="T1" fmla="*/ 937 h 937"/>
                <a:gd name="T2" fmla="*/ 373 w 534"/>
                <a:gd name="T3" fmla="*/ 833 h 937"/>
                <a:gd name="T4" fmla="*/ 528 w 534"/>
                <a:gd name="T5" fmla="*/ 552 h 937"/>
                <a:gd name="T6" fmla="*/ 316 w 534"/>
                <a:gd name="T7" fmla="*/ 163 h 937"/>
                <a:gd name="T8" fmla="*/ 75 w 534"/>
                <a:gd name="T9" fmla="*/ 0 h 937"/>
                <a:gd name="T10" fmla="*/ 24 w 534"/>
                <a:gd name="T11" fmla="*/ 378 h 937"/>
                <a:gd name="T12" fmla="*/ 159 w 534"/>
                <a:gd name="T13" fmla="*/ 788 h 937"/>
                <a:gd name="T14" fmla="*/ 152 w 534"/>
                <a:gd name="T15" fmla="*/ 836 h 937"/>
                <a:gd name="T16" fmla="*/ 250 w 534"/>
                <a:gd name="T17" fmla="*/ 901 h 937"/>
                <a:gd name="T18" fmla="*/ 385 w 534"/>
                <a:gd name="T19" fmla="*/ 937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4" h="937">
                  <a:moveTo>
                    <a:pt x="385" y="937"/>
                  </a:moveTo>
                  <a:cubicBezTo>
                    <a:pt x="355" y="908"/>
                    <a:pt x="353" y="876"/>
                    <a:pt x="373" y="833"/>
                  </a:cubicBezTo>
                  <a:cubicBezTo>
                    <a:pt x="394" y="788"/>
                    <a:pt x="534" y="681"/>
                    <a:pt x="528" y="552"/>
                  </a:cubicBezTo>
                  <a:cubicBezTo>
                    <a:pt x="522" y="424"/>
                    <a:pt x="421" y="285"/>
                    <a:pt x="316" y="163"/>
                  </a:cubicBezTo>
                  <a:cubicBezTo>
                    <a:pt x="218" y="50"/>
                    <a:pt x="117" y="15"/>
                    <a:pt x="75" y="0"/>
                  </a:cubicBezTo>
                  <a:cubicBezTo>
                    <a:pt x="34" y="209"/>
                    <a:pt x="0" y="238"/>
                    <a:pt x="24" y="378"/>
                  </a:cubicBezTo>
                  <a:cubicBezTo>
                    <a:pt x="75" y="665"/>
                    <a:pt x="253" y="766"/>
                    <a:pt x="159" y="788"/>
                  </a:cubicBezTo>
                  <a:cubicBezTo>
                    <a:pt x="122" y="773"/>
                    <a:pt x="152" y="836"/>
                    <a:pt x="152" y="836"/>
                  </a:cubicBezTo>
                  <a:lnTo>
                    <a:pt x="250" y="901"/>
                  </a:lnTo>
                  <a:lnTo>
                    <a:pt x="385" y="93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39" name="Freeform 328"/>
            <p:cNvSpPr>
              <a:spLocks/>
            </p:cNvSpPr>
            <p:nvPr/>
          </p:nvSpPr>
          <p:spPr bwMode="auto">
            <a:xfrm>
              <a:off x="7167" y="3197"/>
              <a:ext cx="85" cy="117"/>
            </a:xfrm>
            <a:custGeom>
              <a:avLst/>
              <a:gdLst>
                <a:gd name="T0" fmla="*/ 430 w 526"/>
                <a:gd name="T1" fmla="*/ 719 h 719"/>
                <a:gd name="T2" fmla="*/ 433 w 526"/>
                <a:gd name="T3" fmla="*/ 639 h 719"/>
                <a:gd name="T4" fmla="*/ 510 w 526"/>
                <a:gd name="T5" fmla="*/ 442 h 719"/>
                <a:gd name="T6" fmla="*/ 239 w 526"/>
                <a:gd name="T7" fmla="*/ 126 h 719"/>
                <a:gd name="T8" fmla="*/ 101 w 526"/>
                <a:gd name="T9" fmla="*/ 0 h 719"/>
                <a:gd name="T10" fmla="*/ 123 w 526"/>
                <a:gd name="T11" fmla="*/ 427 h 719"/>
                <a:gd name="T12" fmla="*/ 235 w 526"/>
                <a:gd name="T13" fmla="*/ 548 h 719"/>
                <a:gd name="T14" fmla="*/ 233 w 526"/>
                <a:gd name="T15" fmla="*/ 627 h 719"/>
                <a:gd name="T16" fmla="*/ 294 w 526"/>
                <a:gd name="T17" fmla="*/ 687 h 719"/>
                <a:gd name="T18" fmla="*/ 430 w 526"/>
                <a:gd name="T19" fmla="*/ 719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6" h="719">
                  <a:moveTo>
                    <a:pt x="430" y="719"/>
                  </a:moveTo>
                  <a:cubicBezTo>
                    <a:pt x="413" y="696"/>
                    <a:pt x="414" y="655"/>
                    <a:pt x="433" y="639"/>
                  </a:cubicBezTo>
                  <a:cubicBezTo>
                    <a:pt x="452" y="622"/>
                    <a:pt x="526" y="520"/>
                    <a:pt x="510" y="442"/>
                  </a:cubicBezTo>
                  <a:cubicBezTo>
                    <a:pt x="477" y="275"/>
                    <a:pt x="300" y="171"/>
                    <a:pt x="239" y="126"/>
                  </a:cubicBezTo>
                  <a:cubicBezTo>
                    <a:pt x="177" y="82"/>
                    <a:pt x="139" y="42"/>
                    <a:pt x="101" y="0"/>
                  </a:cubicBezTo>
                  <a:cubicBezTo>
                    <a:pt x="0" y="76"/>
                    <a:pt x="24" y="319"/>
                    <a:pt x="123" y="427"/>
                  </a:cubicBezTo>
                  <a:cubicBezTo>
                    <a:pt x="170" y="473"/>
                    <a:pt x="218" y="509"/>
                    <a:pt x="235" y="548"/>
                  </a:cubicBezTo>
                  <a:cubicBezTo>
                    <a:pt x="252" y="587"/>
                    <a:pt x="253" y="627"/>
                    <a:pt x="233" y="627"/>
                  </a:cubicBezTo>
                  <a:cubicBezTo>
                    <a:pt x="212" y="627"/>
                    <a:pt x="294" y="687"/>
                    <a:pt x="294" y="687"/>
                  </a:cubicBezTo>
                  <a:lnTo>
                    <a:pt x="430" y="71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0" name="Freeform 329"/>
            <p:cNvSpPr>
              <a:spLocks/>
            </p:cNvSpPr>
            <p:nvPr/>
          </p:nvSpPr>
          <p:spPr bwMode="auto">
            <a:xfrm>
              <a:off x="7063" y="3262"/>
              <a:ext cx="144" cy="56"/>
            </a:xfrm>
            <a:custGeom>
              <a:avLst/>
              <a:gdLst>
                <a:gd name="T0" fmla="*/ 377 w 890"/>
                <a:gd name="T1" fmla="*/ 1 h 340"/>
                <a:gd name="T2" fmla="*/ 0 w 890"/>
                <a:gd name="T3" fmla="*/ 146 h 340"/>
                <a:gd name="T4" fmla="*/ 326 w 890"/>
                <a:gd name="T5" fmla="*/ 335 h 340"/>
                <a:gd name="T6" fmla="*/ 590 w 890"/>
                <a:gd name="T7" fmla="*/ 282 h 340"/>
                <a:gd name="T8" fmla="*/ 855 w 890"/>
                <a:gd name="T9" fmla="*/ 288 h 340"/>
                <a:gd name="T10" fmla="*/ 844 w 890"/>
                <a:gd name="T11" fmla="*/ 220 h 340"/>
                <a:gd name="T12" fmla="*/ 377 w 890"/>
                <a:gd name="T13" fmla="*/ 1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0" h="340">
                  <a:moveTo>
                    <a:pt x="377" y="1"/>
                  </a:moveTo>
                  <a:cubicBezTo>
                    <a:pt x="321" y="0"/>
                    <a:pt x="148" y="10"/>
                    <a:pt x="0" y="146"/>
                  </a:cubicBezTo>
                  <a:cubicBezTo>
                    <a:pt x="76" y="234"/>
                    <a:pt x="233" y="332"/>
                    <a:pt x="326" y="335"/>
                  </a:cubicBezTo>
                  <a:cubicBezTo>
                    <a:pt x="443" y="340"/>
                    <a:pt x="535" y="309"/>
                    <a:pt x="590" y="282"/>
                  </a:cubicBezTo>
                  <a:cubicBezTo>
                    <a:pt x="707" y="224"/>
                    <a:pt x="811" y="274"/>
                    <a:pt x="855" y="288"/>
                  </a:cubicBezTo>
                  <a:cubicBezTo>
                    <a:pt x="890" y="300"/>
                    <a:pt x="844" y="220"/>
                    <a:pt x="844" y="220"/>
                  </a:cubicBezTo>
                  <a:cubicBezTo>
                    <a:pt x="707" y="218"/>
                    <a:pt x="672" y="3"/>
                    <a:pt x="377" y="1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1" name="Freeform 330"/>
            <p:cNvSpPr>
              <a:spLocks/>
            </p:cNvSpPr>
            <p:nvPr/>
          </p:nvSpPr>
          <p:spPr bwMode="auto">
            <a:xfrm>
              <a:off x="7143" y="3330"/>
              <a:ext cx="134" cy="69"/>
            </a:xfrm>
            <a:custGeom>
              <a:avLst/>
              <a:gdLst>
                <a:gd name="T0" fmla="*/ 586 w 829"/>
                <a:gd name="T1" fmla="*/ 0 h 424"/>
                <a:gd name="T2" fmla="*/ 223 w 829"/>
                <a:gd name="T3" fmla="*/ 68 h 424"/>
                <a:gd name="T4" fmla="*/ 0 w 829"/>
                <a:gd name="T5" fmla="*/ 335 h 424"/>
                <a:gd name="T6" fmla="*/ 500 w 829"/>
                <a:gd name="T7" fmla="*/ 370 h 424"/>
                <a:gd name="T8" fmla="*/ 829 w 829"/>
                <a:gd name="T9" fmla="*/ 146 h 424"/>
                <a:gd name="T10" fmla="*/ 769 w 829"/>
                <a:gd name="T11" fmla="*/ 60 h 424"/>
                <a:gd name="T12" fmla="*/ 586 w 829"/>
                <a:gd name="T13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424">
                  <a:moveTo>
                    <a:pt x="586" y="0"/>
                  </a:moveTo>
                  <a:cubicBezTo>
                    <a:pt x="640" y="144"/>
                    <a:pt x="428" y="9"/>
                    <a:pt x="223" y="68"/>
                  </a:cubicBezTo>
                  <a:cubicBezTo>
                    <a:pt x="114" y="99"/>
                    <a:pt x="38" y="213"/>
                    <a:pt x="0" y="335"/>
                  </a:cubicBezTo>
                  <a:cubicBezTo>
                    <a:pt x="158" y="404"/>
                    <a:pt x="359" y="424"/>
                    <a:pt x="500" y="370"/>
                  </a:cubicBezTo>
                  <a:cubicBezTo>
                    <a:pt x="675" y="304"/>
                    <a:pt x="673" y="91"/>
                    <a:pt x="829" y="146"/>
                  </a:cubicBezTo>
                  <a:lnTo>
                    <a:pt x="769" y="60"/>
                  </a:lnTo>
                  <a:lnTo>
                    <a:pt x="586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2" name="Freeform 331"/>
            <p:cNvSpPr>
              <a:spLocks/>
            </p:cNvSpPr>
            <p:nvPr/>
          </p:nvSpPr>
          <p:spPr bwMode="auto">
            <a:xfrm>
              <a:off x="7227" y="3394"/>
              <a:ext cx="149" cy="76"/>
            </a:xfrm>
            <a:custGeom>
              <a:avLst/>
              <a:gdLst>
                <a:gd name="T0" fmla="*/ 648 w 920"/>
                <a:gd name="T1" fmla="*/ 0 h 468"/>
                <a:gd name="T2" fmla="*/ 559 w 920"/>
                <a:gd name="T3" fmla="*/ 58 h 468"/>
                <a:gd name="T4" fmla="*/ 298 w 920"/>
                <a:gd name="T5" fmla="*/ 50 h 468"/>
                <a:gd name="T6" fmla="*/ 0 w 920"/>
                <a:gd name="T7" fmla="*/ 330 h 468"/>
                <a:gd name="T8" fmla="*/ 637 w 920"/>
                <a:gd name="T9" fmla="*/ 333 h 468"/>
                <a:gd name="T10" fmla="*/ 774 w 920"/>
                <a:gd name="T11" fmla="*/ 196 h 468"/>
                <a:gd name="T12" fmla="*/ 882 w 920"/>
                <a:gd name="T13" fmla="*/ 202 h 468"/>
                <a:gd name="T14" fmla="*/ 906 w 920"/>
                <a:gd name="T15" fmla="*/ 154 h 468"/>
                <a:gd name="T16" fmla="*/ 782 w 920"/>
                <a:gd name="T17" fmla="*/ 47 h 468"/>
                <a:gd name="T18" fmla="*/ 648 w 920"/>
                <a:gd name="T19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0" h="468">
                  <a:moveTo>
                    <a:pt x="648" y="0"/>
                  </a:moveTo>
                  <a:cubicBezTo>
                    <a:pt x="721" y="78"/>
                    <a:pt x="604" y="72"/>
                    <a:pt x="559" y="58"/>
                  </a:cubicBezTo>
                  <a:cubicBezTo>
                    <a:pt x="476" y="32"/>
                    <a:pt x="353" y="40"/>
                    <a:pt x="298" y="50"/>
                  </a:cubicBezTo>
                  <a:cubicBezTo>
                    <a:pt x="11" y="106"/>
                    <a:pt x="89" y="250"/>
                    <a:pt x="0" y="330"/>
                  </a:cubicBezTo>
                  <a:cubicBezTo>
                    <a:pt x="161" y="409"/>
                    <a:pt x="449" y="468"/>
                    <a:pt x="637" y="333"/>
                  </a:cubicBezTo>
                  <a:cubicBezTo>
                    <a:pt x="703" y="281"/>
                    <a:pt x="736" y="220"/>
                    <a:pt x="774" y="196"/>
                  </a:cubicBezTo>
                  <a:cubicBezTo>
                    <a:pt x="802" y="178"/>
                    <a:pt x="831" y="174"/>
                    <a:pt x="882" y="202"/>
                  </a:cubicBezTo>
                  <a:cubicBezTo>
                    <a:pt x="920" y="224"/>
                    <a:pt x="914" y="161"/>
                    <a:pt x="906" y="154"/>
                  </a:cubicBezTo>
                  <a:cubicBezTo>
                    <a:pt x="899" y="146"/>
                    <a:pt x="782" y="47"/>
                    <a:pt x="782" y="47"/>
                  </a:cubicBezTo>
                  <a:lnTo>
                    <a:pt x="648" y="0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3" name="Freeform 332"/>
            <p:cNvSpPr>
              <a:spLocks/>
            </p:cNvSpPr>
            <p:nvPr/>
          </p:nvSpPr>
          <p:spPr bwMode="auto">
            <a:xfrm>
              <a:off x="7297" y="3468"/>
              <a:ext cx="156" cy="71"/>
            </a:xfrm>
            <a:custGeom>
              <a:avLst/>
              <a:gdLst>
                <a:gd name="T0" fmla="*/ 767 w 957"/>
                <a:gd name="T1" fmla="*/ 100 h 440"/>
                <a:gd name="T2" fmla="*/ 754 w 957"/>
                <a:gd name="T3" fmla="*/ 152 h 440"/>
                <a:gd name="T4" fmla="*/ 313 w 957"/>
                <a:gd name="T5" fmla="*/ 33 h 440"/>
                <a:gd name="T6" fmla="*/ 0 w 957"/>
                <a:gd name="T7" fmla="*/ 184 h 440"/>
                <a:gd name="T8" fmla="*/ 359 w 957"/>
                <a:gd name="T9" fmla="*/ 412 h 440"/>
                <a:gd name="T10" fmla="*/ 776 w 957"/>
                <a:gd name="T11" fmla="*/ 311 h 440"/>
                <a:gd name="T12" fmla="*/ 911 w 957"/>
                <a:gd name="T13" fmla="*/ 306 h 440"/>
                <a:gd name="T14" fmla="*/ 956 w 957"/>
                <a:gd name="T15" fmla="*/ 229 h 440"/>
                <a:gd name="T16" fmla="*/ 767 w 957"/>
                <a:gd name="T17" fmla="*/ 10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7" h="440">
                  <a:moveTo>
                    <a:pt x="767" y="100"/>
                  </a:moveTo>
                  <a:cubicBezTo>
                    <a:pt x="767" y="109"/>
                    <a:pt x="789" y="149"/>
                    <a:pt x="754" y="152"/>
                  </a:cubicBezTo>
                  <a:cubicBezTo>
                    <a:pt x="718" y="155"/>
                    <a:pt x="513" y="0"/>
                    <a:pt x="313" y="33"/>
                  </a:cubicBezTo>
                  <a:cubicBezTo>
                    <a:pt x="113" y="66"/>
                    <a:pt x="0" y="184"/>
                    <a:pt x="0" y="184"/>
                  </a:cubicBezTo>
                  <a:cubicBezTo>
                    <a:pt x="0" y="184"/>
                    <a:pt x="113" y="382"/>
                    <a:pt x="359" y="412"/>
                  </a:cubicBezTo>
                  <a:cubicBezTo>
                    <a:pt x="600" y="440"/>
                    <a:pt x="689" y="402"/>
                    <a:pt x="776" y="311"/>
                  </a:cubicBezTo>
                  <a:cubicBezTo>
                    <a:pt x="811" y="275"/>
                    <a:pt x="892" y="279"/>
                    <a:pt x="911" y="306"/>
                  </a:cubicBezTo>
                  <a:cubicBezTo>
                    <a:pt x="931" y="332"/>
                    <a:pt x="957" y="233"/>
                    <a:pt x="956" y="229"/>
                  </a:cubicBezTo>
                  <a:cubicBezTo>
                    <a:pt x="955" y="226"/>
                    <a:pt x="767" y="100"/>
                    <a:pt x="767" y="10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4" name="Freeform 333"/>
            <p:cNvSpPr>
              <a:spLocks/>
            </p:cNvSpPr>
            <p:nvPr/>
          </p:nvSpPr>
          <p:spPr bwMode="auto">
            <a:xfrm>
              <a:off x="7357" y="3559"/>
              <a:ext cx="151" cy="73"/>
            </a:xfrm>
            <a:custGeom>
              <a:avLst/>
              <a:gdLst>
                <a:gd name="T0" fmla="*/ 770 w 935"/>
                <a:gd name="T1" fmla="*/ 140 h 449"/>
                <a:gd name="T2" fmla="*/ 748 w 935"/>
                <a:gd name="T3" fmla="*/ 189 h 449"/>
                <a:gd name="T4" fmla="*/ 332 w 935"/>
                <a:gd name="T5" fmla="*/ 0 h 449"/>
                <a:gd name="T6" fmla="*/ 0 w 935"/>
                <a:gd name="T7" fmla="*/ 98 h 449"/>
                <a:gd name="T8" fmla="*/ 317 w 935"/>
                <a:gd name="T9" fmla="*/ 381 h 449"/>
                <a:gd name="T10" fmla="*/ 744 w 935"/>
                <a:gd name="T11" fmla="*/ 350 h 449"/>
                <a:gd name="T12" fmla="*/ 878 w 935"/>
                <a:gd name="T13" fmla="*/ 366 h 449"/>
                <a:gd name="T14" fmla="*/ 935 w 935"/>
                <a:gd name="T15" fmla="*/ 298 h 449"/>
                <a:gd name="T16" fmla="*/ 770 w 935"/>
                <a:gd name="T17" fmla="*/ 14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5" h="449">
                  <a:moveTo>
                    <a:pt x="770" y="140"/>
                  </a:moveTo>
                  <a:cubicBezTo>
                    <a:pt x="768" y="149"/>
                    <a:pt x="784" y="192"/>
                    <a:pt x="748" y="189"/>
                  </a:cubicBezTo>
                  <a:cubicBezTo>
                    <a:pt x="713" y="186"/>
                    <a:pt x="535" y="0"/>
                    <a:pt x="332" y="0"/>
                  </a:cubicBezTo>
                  <a:cubicBezTo>
                    <a:pt x="130" y="0"/>
                    <a:pt x="0" y="98"/>
                    <a:pt x="0" y="98"/>
                  </a:cubicBezTo>
                  <a:cubicBezTo>
                    <a:pt x="0" y="98"/>
                    <a:pt x="78" y="312"/>
                    <a:pt x="317" y="381"/>
                  </a:cubicBezTo>
                  <a:cubicBezTo>
                    <a:pt x="550" y="449"/>
                    <a:pt x="644" y="425"/>
                    <a:pt x="744" y="350"/>
                  </a:cubicBezTo>
                  <a:cubicBezTo>
                    <a:pt x="785" y="319"/>
                    <a:pt x="864" y="336"/>
                    <a:pt x="878" y="366"/>
                  </a:cubicBezTo>
                  <a:cubicBezTo>
                    <a:pt x="893" y="396"/>
                    <a:pt x="935" y="302"/>
                    <a:pt x="935" y="298"/>
                  </a:cubicBezTo>
                  <a:cubicBezTo>
                    <a:pt x="935" y="294"/>
                    <a:pt x="770" y="140"/>
                    <a:pt x="770" y="14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5" name="Freeform 334"/>
            <p:cNvSpPr>
              <a:spLocks/>
            </p:cNvSpPr>
            <p:nvPr/>
          </p:nvSpPr>
          <p:spPr bwMode="auto">
            <a:xfrm>
              <a:off x="7395" y="3650"/>
              <a:ext cx="147" cy="81"/>
            </a:xfrm>
            <a:custGeom>
              <a:avLst/>
              <a:gdLst>
                <a:gd name="T0" fmla="*/ 759 w 904"/>
                <a:gd name="T1" fmla="*/ 217 h 497"/>
                <a:gd name="T2" fmla="*/ 732 w 904"/>
                <a:gd name="T3" fmla="*/ 263 h 497"/>
                <a:gd name="T4" fmla="*/ 343 w 904"/>
                <a:gd name="T5" fmla="*/ 25 h 497"/>
                <a:gd name="T6" fmla="*/ 0 w 904"/>
                <a:gd name="T7" fmla="*/ 81 h 497"/>
                <a:gd name="T8" fmla="*/ 280 w 904"/>
                <a:gd name="T9" fmla="*/ 401 h 497"/>
                <a:gd name="T10" fmla="*/ 709 w 904"/>
                <a:gd name="T11" fmla="*/ 422 h 497"/>
                <a:gd name="T12" fmla="*/ 840 w 904"/>
                <a:gd name="T13" fmla="*/ 455 h 497"/>
                <a:gd name="T14" fmla="*/ 904 w 904"/>
                <a:gd name="T15" fmla="*/ 394 h 497"/>
                <a:gd name="T16" fmla="*/ 759 w 904"/>
                <a:gd name="T17" fmla="*/ 21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4" h="497">
                  <a:moveTo>
                    <a:pt x="759" y="217"/>
                  </a:moveTo>
                  <a:cubicBezTo>
                    <a:pt x="757" y="226"/>
                    <a:pt x="767" y="271"/>
                    <a:pt x="732" y="263"/>
                  </a:cubicBezTo>
                  <a:cubicBezTo>
                    <a:pt x="698" y="256"/>
                    <a:pt x="544" y="50"/>
                    <a:pt x="343" y="25"/>
                  </a:cubicBezTo>
                  <a:cubicBezTo>
                    <a:pt x="142" y="0"/>
                    <a:pt x="0" y="81"/>
                    <a:pt x="0" y="81"/>
                  </a:cubicBezTo>
                  <a:cubicBezTo>
                    <a:pt x="0" y="81"/>
                    <a:pt x="52" y="304"/>
                    <a:pt x="280" y="401"/>
                  </a:cubicBezTo>
                  <a:cubicBezTo>
                    <a:pt x="503" y="497"/>
                    <a:pt x="600" y="485"/>
                    <a:pt x="709" y="422"/>
                  </a:cubicBezTo>
                  <a:cubicBezTo>
                    <a:pt x="753" y="397"/>
                    <a:pt x="829" y="423"/>
                    <a:pt x="840" y="455"/>
                  </a:cubicBezTo>
                  <a:cubicBezTo>
                    <a:pt x="851" y="486"/>
                    <a:pt x="904" y="398"/>
                    <a:pt x="904" y="394"/>
                  </a:cubicBezTo>
                  <a:cubicBezTo>
                    <a:pt x="904" y="390"/>
                    <a:pt x="759" y="217"/>
                    <a:pt x="759" y="217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6" name="Freeform 335"/>
            <p:cNvSpPr>
              <a:spLocks/>
            </p:cNvSpPr>
            <p:nvPr/>
          </p:nvSpPr>
          <p:spPr bwMode="auto">
            <a:xfrm>
              <a:off x="7421" y="3744"/>
              <a:ext cx="128" cy="109"/>
            </a:xfrm>
            <a:custGeom>
              <a:avLst/>
              <a:gdLst>
                <a:gd name="T0" fmla="*/ 702 w 790"/>
                <a:gd name="T1" fmla="*/ 388 h 672"/>
                <a:gd name="T2" fmla="*/ 662 w 790"/>
                <a:gd name="T3" fmla="*/ 424 h 672"/>
                <a:gd name="T4" fmla="*/ 360 w 790"/>
                <a:gd name="T5" fmla="*/ 82 h 672"/>
                <a:gd name="T6" fmla="*/ 16 w 790"/>
                <a:gd name="T7" fmla="*/ 37 h 672"/>
                <a:gd name="T8" fmla="*/ 190 w 790"/>
                <a:gd name="T9" fmla="*/ 424 h 672"/>
                <a:gd name="T10" fmla="*/ 593 w 790"/>
                <a:gd name="T11" fmla="*/ 569 h 672"/>
                <a:gd name="T12" fmla="*/ 709 w 790"/>
                <a:gd name="T13" fmla="*/ 639 h 672"/>
                <a:gd name="T14" fmla="*/ 788 w 790"/>
                <a:gd name="T15" fmla="*/ 600 h 672"/>
                <a:gd name="T16" fmla="*/ 702 w 790"/>
                <a:gd name="T17" fmla="*/ 388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0" h="672">
                  <a:moveTo>
                    <a:pt x="702" y="388"/>
                  </a:moveTo>
                  <a:cubicBezTo>
                    <a:pt x="697" y="396"/>
                    <a:pt x="693" y="442"/>
                    <a:pt x="662" y="424"/>
                  </a:cubicBezTo>
                  <a:cubicBezTo>
                    <a:pt x="631" y="407"/>
                    <a:pt x="544" y="165"/>
                    <a:pt x="360" y="82"/>
                  </a:cubicBezTo>
                  <a:cubicBezTo>
                    <a:pt x="175" y="0"/>
                    <a:pt x="16" y="37"/>
                    <a:pt x="16" y="37"/>
                  </a:cubicBezTo>
                  <a:cubicBezTo>
                    <a:pt x="16" y="37"/>
                    <a:pt x="0" y="264"/>
                    <a:pt x="190" y="424"/>
                  </a:cubicBezTo>
                  <a:cubicBezTo>
                    <a:pt x="375" y="581"/>
                    <a:pt x="470" y="597"/>
                    <a:pt x="593" y="569"/>
                  </a:cubicBezTo>
                  <a:cubicBezTo>
                    <a:pt x="643" y="558"/>
                    <a:pt x="708" y="606"/>
                    <a:pt x="709" y="639"/>
                  </a:cubicBezTo>
                  <a:cubicBezTo>
                    <a:pt x="710" y="672"/>
                    <a:pt x="787" y="603"/>
                    <a:pt x="788" y="600"/>
                  </a:cubicBezTo>
                  <a:cubicBezTo>
                    <a:pt x="790" y="596"/>
                    <a:pt x="702" y="388"/>
                    <a:pt x="702" y="38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7" name="Freeform 336"/>
            <p:cNvSpPr>
              <a:spLocks/>
            </p:cNvSpPr>
            <p:nvPr/>
          </p:nvSpPr>
          <p:spPr bwMode="auto">
            <a:xfrm>
              <a:off x="7415" y="3846"/>
              <a:ext cx="119" cy="121"/>
            </a:xfrm>
            <a:custGeom>
              <a:avLst/>
              <a:gdLst>
                <a:gd name="T0" fmla="*/ 677 w 734"/>
                <a:gd name="T1" fmla="*/ 460 h 742"/>
                <a:gd name="T2" fmla="*/ 632 w 734"/>
                <a:gd name="T3" fmla="*/ 490 h 742"/>
                <a:gd name="T4" fmla="*/ 381 w 734"/>
                <a:gd name="T5" fmla="*/ 109 h 742"/>
                <a:gd name="T6" fmla="*/ 47 w 734"/>
                <a:gd name="T7" fmla="*/ 14 h 742"/>
                <a:gd name="T8" fmla="*/ 165 w 734"/>
                <a:gd name="T9" fmla="*/ 423 h 742"/>
                <a:gd name="T10" fmla="*/ 543 w 734"/>
                <a:gd name="T11" fmla="*/ 624 h 742"/>
                <a:gd name="T12" fmla="*/ 648 w 734"/>
                <a:gd name="T13" fmla="*/ 709 h 742"/>
                <a:gd name="T14" fmla="*/ 732 w 734"/>
                <a:gd name="T15" fmla="*/ 681 h 742"/>
                <a:gd name="T16" fmla="*/ 677 w 734"/>
                <a:gd name="T17" fmla="*/ 46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4" h="742">
                  <a:moveTo>
                    <a:pt x="677" y="460"/>
                  </a:moveTo>
                  <a:cubicBezTo>
                    <a:pt x="670" y="467"/>
                    <a:pt x="661" y="511"/>
                    <a:pt x="632" y="490"/>
                  </a:cubicBezTo>
                  <a:cubicBezTo>
                    <a:pt x="604" y="469"/>
                    <a:pt x="553" y="217"/>
                    <a:pt x="381" y="109"/>
                  </a:cubicBezTo>
                  <a:cubicBezTo>
                    <a:pt x="210" y="0"/>
                    <a:pt x="47" y="14"/>
                    <a:pt x="47" y="14"/>
                  </a:cubicBezTo>
                  <a:cubicBezTo>
                    <a:pt x="47" y="14"/>
                    <a:pt x="0" y="237"/>
                    <a:pt x="165" y="423"/>
                  </a:cubicBezTo>
                  <a:cubicBezTo>
                    <a:pt x="326" y="604"/>
                    <a:pt x="418" y="634"/>
                    <a:pt x="543" y="624"/>
                  </a:cubicBezTo>
                  <a:cubicBezTo>
                    <a:pt x="594" y="620"/>
                    <a:pt x="651" y="676"/>
                    <a:pt x="648" y="709"/>
                  </a:cubicBezTo>
                  <a:cubicBezTo>
                    <a:pt x="645" y="742"/>
                    <a:pt x="730" y="685"/>
                    <a:pt x="732" y="681"/>
                  </a:cubicBezTo>
                  <a:cubicBezTo>
                    <a:pt x="734" y="678"/>
                    <a:pt x="677" y="460"/>
                    <a:pt x="677" y="46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8" name="Freeform 337"/>
            <p:cNvSpPr>
              <a:spLocks/>
            </p:cNvSpPr>
            <p:nvPr/>
          </p:nvSpPr>
          <p:spPr bwMode="auto">
            <a:xfrm>
              <a:off x="7392" y="3943"/>
              <a:ext cx="101" cy="136"/>
            </a:xfrm>
            <a:custGeom>
              <a:avLst/>
              <a:gdLst>
                <a:gd name="T0" fmla="*/ 615 w 625"/>
                <a:gd name="T1" fmla="*/ 568 h 837"/>
                <a:gd name="T2" fmla="*/ 565 w 625"/>
                <a:gd name="T3" fmla="*/ 588 h 837"/>
                <a:gd name="T4" fmla="*/ 400 w 625"/>
                <a:gd name="T5" fmla="*/ 163 h 837"/>
                <a:gd name="T6" fmla="*/ 93 w 625"/>
                <a:gd name="T7" fmla="*/ 0 h 837"/>
                <a:gd name="T8" fmla="*/ 122 w 625"/>
                <a:gd name="T9" fmla="*/ 424 h 837"/>
                <a:gd name="T10" fmla="*/ 450 w 625"/>
                <a:gd name="T11" fmla="*/ 700 h 837"/>
                <a:gd name="T12" fmla="*/ 534 w 625"/>
                <a:gd name="T13" fmla="*/ 806 h 837"/>
                <a:gd name="T14" fmla="*/ 622 w 625"/>
                <a:gd name="T15" fmla="*/ 796 h 837"/>
                <a:gd name="T16" fmla="*/ 615 w 625"/>
                <a:gd name="T17" fmla="*/ 568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5" h="837">
                  <a:moveTo>
                    <a:pt x="615" y="568"/>
                  </a:moveTo>
                  <a:cubicBezTo>
                    <a:pt x="607" y="573"/>
                    <a:pt x="588" y="615"/>
                    <a:pt x="565" y="588"/>
                  </a:cubicBezTo>
                  <a:cubicBezTo>
                    <a:pt x="542" y="561"/>
                    <a:pt x="545" y="304"/>
                    <a:pt x="400" y="163"/>
                  </a:cubicBezTo>
                  <a:cubicBezTo>
                    <a:pt x="255" y="21"/>
                    <a:pt x="93" y="0"/>
                    <a:pt x="93" y="0"/>
                  </a:cubicBezTo>
                  <a:cubicBezTo>
                    <a:pt x="93" y="0"/>
                    <a:pt x="0" y="208"/>
                    <a:pt x="122" y="424"/>
                  </a:cubicBezTo>
                  <a:cubicBezTo>
                    <a:pt x="241" y="635"/>
                    <a:pt x="325" y="684"/>
                    <a:pt x="450" y="700"/>
                  </a:cubicBezTo>
                  <a:cubicBezTo>
                    <a:pt x="500" y="707"/>
                    <a:pt x="545" y="774"/>
                    <a:pt x="534" y="806"/>
                  </a:cubicBezTo>
                  <a:cubicBezTo>
                    <a:pt x="524" y="837"/>
                    <a:pt x="620" y="799"/>
                    <a:pt x="622" y="796"/>
                  </a:cubicBezTo>
                  <a:cubicBezTo>
                    <a:pt x="625" y="793"/>
                    <a:pt x="615" y="568"/>
                    <a:pt x="615" y="568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49" name="Freeform 338"/>
            <p:cNvSpPr>
              <a:spLocks/>
            </p:cNvSpPr>
            <p:nvPr/>
          </p:nvSpPr>
          <p:spPr bwMode="auto">
            <a:xfrm>
              <a:off x="7348" y="4030"/>
              <a:ext cx="82" cy="150"/>
            </a:xfrm>
            <a:custGeom>
              <a:avLst/>
              <a:gdLst>
                <a:gd name="T0" fmla="*/ 506 w 506"/>
                <a:gd name="T1" fmla="*/ 680 h 918"/>
                <a:gd name="T2" fmla="*/ 453 w 506"/>
                <a:gd name="T3" fmla="*/ 687 h 918"/>
                <a:gd name="T4" fmla="*/ 400 w 506"/>
                <a:gd name="T5" fmla="*/ 234 h 918"/>
                <a:gd name="T6" fmla="*/ 143 w 506"/>
                <a:gd name="T7" fmla="*/ 0 h 918"/>
                <a:gd name="T8" fmla="*/ 65 w 506"/>
                <a:gd name="T9" fmla="*/ 418 h 918"/>
                <a:gd name="T10" fmla="*/ 314 w 506"/>
                <a:gd name="T11" fmla="*/ 767 h 918"/>
                <a:gd name="T12" fmla="*/ 369 w 506"/>
                <a:gd name="T13" fmla="*/ 890 h 918"/>
                <a:gd name="T14" fmla="*/ 457 w 506"/>
                <a:gd name="T15" fmla="*/ 903 h 918"/>
                <a:gd name="T16" fmla="*/ 506 w 506"/>
                <a:gd name="T17" fmla="*/ 680 h 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6" h="918">
                  <a:moveTo>
                    <a:pt x="506" y="680"/>
                  </a:moveTo>
                  <a:cubicBezTo>
                    <a:pt x="498" y="683"/>
                    <a:pt x="469" y="719"/>
                    <a:pt x="453" y="687"/>
                  </a:cubicBezTo>
                  <a:cubicBezTo>
                    <a:pt x="437" y="655"/>
                    <a:pt x="504" y="407"/>
                    <a:pt x="400" y="234"/>
                  </a:cubicBezTo>
                  <a:cubicBezTo>
                    <a:pt x="295" y="60"/>
                    <a:pt x="143" y="0"/>
                    <a:pt x="143" y="0"/>
                  </a:cubicBezTo>
                  <a:cubicBezTo>
                    <a:pt x="143" y="0"/>
                    <a:pt x="0" y="178"/>
                    <a:pt x="65" y="418"/>
                  </a:cubicBezTo>
                  <a:cubicBezTo>
                    <a:pt x="128" y="652"/>
                    <a:pt x="197" y="720"/>
                    <a:pt x="314" y="767"/>
                  </a:cubicBezTo>
                  <a:cubicBezTo>
                    <a:pt x="361" y="786"/>
                    <a:pt x="387" y="862"/>
                    <a:pt x="369" y="890"/>
                  </a:cubicBezTo>
                  <a:cubicBezTo>
                    <a:pt x="351" y="918"/>
                    <a:pt x="454" y="905"/>
                    <a:pt x="457" y="903"/>
                  </a:cubicBezTo>
                  <a:cubicBezTo>
                    <a:pt x="460" y="901"/>
                    <a:pt x="506" y="680"/>
                    <a:pt x="506" y="68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0" name="Freeform 339"/>
            <p:cNvSpPr>
              <a:spLocks/>
            </p:cNvSpPr>
            <p:nvPr/>
          </p:nvSpPr>
          <p:spPr bwMode="auto">
            <a:xfrm>
              <a:off x="7285" y="4107"/>
              <a:ext cx="71" cy="155"/>
            </a:xfrm>
            <a:custGeom>
              <a:avLst/>
              <a:gdLst>
                <a:gd name="T0" fmla="*/ 376 w 437"/>
                <a:gd name="T1" fmla="*/ 746 h 953"/>
                <a:gd name="T2" fmla="*/ 323 w 437"/>
                <a:gd name="T3" fmla="*/ 740 h 953"/>
                <a:gd name="T4" fmla="*/ 376 w 437"/>
                <a:gd name="T5" fmla="*/ 287 h 953"/>
                <a:gd name="T6" fmla="*/ 180 w 437"/>
                <a:gd name="T7" fmla="*/ 0 h 953"/>
                <a:gd name="T8" fmla="*/ 7 w 437"/>
                <a:gd name="T9" fmla="*/ 389 h 953"/>
                <a:gd name="T10" fmla="*/ 169 w 437"/>
                <a:gd name="T11" fmla="*/ 786 h 953"/>
                <a:gd name="T12" fmla="*/ 194 w 437"/>
                <a:gd name="T13" fmla="*/ 918 h 953"/>
                <a:gd name="T14" fmla="*/ 276 w 437"/>
                <a:gd name="T15" fmla="*/ 951 h 953"/>
                <a:gd name="T16" fmla="*/ 376 w 437"/>
                <a:gd name="T17" fmla="*/ 745 h 953"/>
                <a:gd name="T18" fmla="*/ 376 w 437"/>
                <a:gd name="T19" fmla="*/ 746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7" h="953">
                  <a:moveTo>
                    <a:pt x="376" y="746"/>
                  </a:moveTo>
                  <a:cubicBezTo>
                    <a:pt x="367" y="747"/>
                    <a:pt x="331" y="775"/>
                    <a:pt x="323" y="740"/>
                  </a:cubicBezTo>
                  <a:cubicBezTo>
                    <a:pt x="315" y="706"/>
                    <a:pt x="437" y="480"/>
                    <a:pt x="376" y="287"/>
                  </a:cubicBezTo>
                  <a:cubicBezTo>
                    <a:pt x="314" y="94"/>
                    <a:pt x="180" y="0"/>
                    <a:pt x="180" y="0"/>
                  </a:cubicBezTo>
                  <a:cubicBezTo>
                    <a:pt x="180" y="0"/>
                    <a:pt x="0" y="141"/>
                    <a:pt x="7" y="389"/>
                  </a:cubicBezTo>
                  <a:cubicBezTo>
                    <a:pt x="15" y="631"/>
                    <a:pt x="66" y="713"/>
                    <a:pt x="169" y="786"/>
                  </a:cubicBezTo>
                  <a:cubicBezTo>
                    <a:pt x="210" y="815"/>
                    <a:pt x="218" y="895"/>
                    <a:pt x="194" y="918"/>
                  </a:cubicBezTo>
                  <a:cubicBezTo>
                    <a:pt x="170" y="942"/>
                    <a:pt x="273" y="953"/>
                    <a:pt x="276" y="951"/>
                  </a:cubicBezTo>
                  <a:cubicBezTo>
                    <a:pt x="280" y="950"/>
                    <a:pt x="376" y="745"/>
                    <a:pt x="376" y="745"/>
                  </a:cubicBezTo>
                  <a:lnTo>
                    <a:pt x="376" y="74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1" name="Freeform 340"/>
            <p:cNvSpPr>
              <a:spLocks/>
            </p:cNvSpPr>
            <p:nvPr/>
          </p:nvSpPr>
          <p:spPr bwMode="auto">
            <a:xfrm>
              <a:off x="7193" y="4171"/>
              <a:ext cx="73" cy="153"/>
            </a:xfrm>
            <a:custGeom>
              <a:avLst/>
              <a:gdLst>
                <a:gd name="T0" fmla="*/ 316 w 448"/>
                <a:gd name="T1" fmla="*/ 770 h 941"/>
                <a:gd name="T2" fmla="*/ 266 w 448"/>
                <a:gd name="T3" fmla="*/ 751 h 941"/>
                <a:gd name="T4" fmla="*/ 441 w 448"/>
                <a:gd name="T5" fmla="*/ 329 h 941"/>
                <a:gd name="T6" fmla="*/ 332 w 448"/>
                <a:gd name="T7" fmla="*/ 0 h 941"/>
                <a:gd name="T8" fmla="*/ 59 w 448"/>
                <a:gd name="T9" fmla="*/ 326 h 941"/>
                <a:gd name="T10" fmla="*/ 105 w 448"/>
                <a:gd name="T11" fmla="*/ 752 h 941"/>
                <a:gd name="T12" fmla="*/ 93 w 448"/>
                <a:gd name="T13" fmla="*/ 887 h 941"/>
                <a:gd name="T14" fmla="*/ 163 w 448"/>
                <a:gd name="T15" fmla="*/ 941 h 941"/>
                <a:gd name="T16" fmla="*/ 316 w 448"/>
                <a:gd name="T17" fmla="*/ 770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8" h="941">
                  <a:moveTo>
                    <a:pt x="316" y="770"/>
                  </a:moveTo>
                  <a:cubicBezTo>
                    <a:pt x="306" y="769"/>
                    <a:pt x="264" y="786"/>
                    <a:pt x="266" y="751"/>
                  </a:cubicBezTo>
                  <a:cubicBezTo>
                    <a:pt x="268" y="715"/>
                    <a:pt x="448" y="532"/>
                    <a:pt x="441" y="329"/>
                  </a:cubicBezTo>
                  <a:cubicBezTo>
                    <a:pt x="435" y="127"/>
                    <a:pt x="332" y="0"/>
                    <a:pt x="332" y="0"/>
                  </a:cubicBezTo>
                  <a:cubicBezTo>
                    <a:pt x="332" y="0"/>
                    <a:pt x="121" y="86"/>
                    <a:pt x="59" y="326"/>
                  </a:cubicBezTo>
                  <a:cubicBezTo>
                    <a:pt x="0" y="561"/>
                    <a:pt x="26" y="654"/>
                    <a:pt x="105" y="752"/>
                  </a:cubicBezTo>
                  <a:cubicBezTo>
                    <a:pt x="137" y="792"/>
                    <a:pt x="122" y="871"/>
                    <a:pt x="93" y="887"/>
                  </a:cubicBezTo>
                  <a:cubicBezTo>
                    <a:pt x="64" y="902"/>
                    <a:pt x="159" y="941"/>
                    <a:pt x="163" y="941"/>
                  </a:cubicBezTo>
                  <a:cubicBezTo>
                    <a:pt x="167" y="940"/>
                    <a:pt x="316" y="770"/>
                    <a:pt x="316" y="770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2" name="Freeform 341"/>
            <p:cNvSpPr>
              <a:spLocks/>
            </p:cNvSpPr>
            <p:nvPr/>
          </p:nvSpPr>
          <p:spPr bwMode="auto">
            <a:xfrm>
              <a:off x="7082" y="4224"/>
              <a:ext cx="88" cy="142"/>
            </a:xfrm>
            <a:custGeom>
              <a:avLst/>
              <a:gdLst>
                <a:gd name="T0" fmla="*/ 276 w 546"/>
                <a:gd name="T1" fmla="*/ 744 h 873"/>
                <a:gd name="T2" fmla="*/ 233 w 546"/>
                <a:gd name="T3" fmla="*/ 713 h 873"/>
                <a:gd name="T4" fmla="*/ 504 w 546"/>
                <a:gd name="T5" fmla="*/ 345 h 873"/>
                <a:gd name="T6" fmla="*/ 476 w 546"/>
                <a:gd name="T7" fmla="*/ 0 h 873"/>
                <a:gd name="T8" fmla="*/ 134 w 546"/>
                <a:gd name="T9" fmla="*/ 251 h 873"/>
                <a:gd name="T10" fmla="*/ 76 w 546"/>
                <a:gd name="T11" fmla="*/ 676 h 873"/>
                <a:gd name="T12" fmla="*/ 32 w 546"/>
                <a:gd name="T13" fmla="*/ 803 h 873"/>
                <a:gd name="T14" fmla="*/ 87 w 546"/>
                <a:gd name="T15" fmla="*/ 873 h 873"/>
                <a:gd name="T16" fmla="*/ 276 w 546"/>
                <a:gd name="T17" fmla="*/ 744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6" h="873">
                  <a:moveTo>
                    <a:pt x="276" y="744"/>
                  </a:moveTo>
                  <a:cubicBezTo>
                    <a:pt x="268" y="740"/>
                    <a:pt x="222" y="747"/>
                    <a:pt x="233" y="713"/>
                  </a:cubicBezTo>
                  <a:cubicBezTo>
                    <a:pt x="243" y="679"/>
                    <a:pt x="461" y="543"/>
                    <a:pt x="504" y="345"/>
                  </a:cubicBezTo>
                  <a:cubicBezTo>
                    <a:pt x="546" y="147"/>
                    <a:pt x="476" y="0"/>
                    <a:pt x="476" y="0"/>
                  </a:cubicBezTo>
                  <a:cubicBezTo>
                    <a:pt x="476" y="0"/>
                    <a:pt x="250" y="32"/>
                    <a:pt x="134" y="251"/>
                  </a:cubicBezTo>
                  <a:cubicBezTo>
                    <a:pt x="19" y="465"/>
                    <a:pt x="23" y="562"/>
                    <a:pt x="76" y="676"/>
                  </a:cubicBezTo>
                  <a:cubicBezTo>
                    <a:pt x="98" y="722"/>
                    <a:pt x="65" y="795"/>
                    <a:pt x="32" y="803"/>
                  </a:cubicBezTo>
                  <a:cubicBezTo>
                    <a:pt x="0" y="812"/>
                    <a:pt x="84" y="872"/>
                    <a:pt x="87" y="873"/>
                  </a:cubicBezTo>
                  <a:cubicBezTo>
                    <a:pt x="91" y="873"/>
                    <a:pt x="276" y="744"/>
                    <a:pt x="276" y="744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3" name="Freeform 342"/>
            <p:cNvSpPr>
              <a:spLocks/>
            </p:cNvSpPr>
            <p:nvPr/>
          </p:nvSpPr>
          <p:spPr bwMode="auto">
            <a:xfrm>
              <a:off x="7538" y="3654"/>
              <a:ext cx="118" cy="135"/>
            </a:xfrm>
            <a:custGeom>
              <a:avLst/>
              <a:gdLst>
                <a:gd name="T0" fmla="*/ 118 w 724"/>
                <a:gd name="T1" fmla="*/ 828 h 828"/>
                <a:gd name="T2" fmla="*/ 212 w 724"/>
                <a:gd name="T3" fmla="*/ 759 h 828"/>
                <a:gd name="T4" fmla="*/ 590 w 724"/>
                <a:gd name="T5" fmla="*/ 590 h 828"/>
                <a:gd name="T6" fmla="*/ 701 w 724"/>
                <a:gd name="T7" fmla="*/ 0 h 828"/>
                <a:gd name="T8" fmla="*/ 265 w 724"/>
                <a:gd name="T9" fmla="*/ 244 h 828"/>
                <a:gd name="T10" fmla="*/ 87 w 724"/>
                <a:gd name="T11" fmla="*/ 509 h 828"/>
                <a:gd name="T12" fmla="*/ 0 w 724"/>
                <a:gd name="T13" fmla="*/ 559 h 828"/>
                <a:gd name="T14" fmla="*/ 20 w 724"/>
                <a:gd name="T15" fmla="*/ 706 h 828"/>
                <a:gd name="T16" fmla="*/ 118 w 724"/>
                <a:gd name="T17" fmla="*/ 82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4" h="828">
                  <a:moveTo>
                    <a:pt x="118" y="828"/>
                  </a:moveTo>
                  <a:cubicBezTo>
                    <a:pt x="118" y="828"/>
                    <a:pt x="127" y="763"/>
                    <a:pt x="212" y="759"/>
                  </a:cubicBezTo>
                  <a:cubicBezTo>
                    <a:pt x="297" y="754"/>
                    <a:pt x="513" y="801"/>
                    <a:pt x="590" y="590"/>
                  </a:cubicBezTo>
                  <a:cubicBezTo>
                    <a:pt x="644" y="443"/>
                    <a:pt x="724" y="137"/>
                    <a:pt x="701" y="0"/>
                  </a:cubicBezTo>
                  <a:cubicBezTo>
                    <a:pt x="550" y="30"/>
                    <a:pt x="381" y="91"/>
                    <a:pt x="265" y="244"/>
                  </a:cubicBezTo>
                  <a:cubicBezTo>
                    <a:pt x="198" y="333"/>
                    <a:pt x="144" y="608"/>
                    <a:pt x="87" y="509"/>
                  </a:cubicBezTo>
                  <a:cubicBezTo>
                    <a:pt x="77" y="478"/>
                    <a:pt x="0" y="559"/>
                    <a:pt x="0" y="559"/>
                  </a:cubicBezTo>
                  <a:lnTo>
                    <a:pt x="20" y="706"/>
                  </a:lnTo>
                  <a:lnTo>
                    <a:pt x="118" y="828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4" name="Freeform 343"/>
            <p:cNvSpPr>
              <a:spLocks/>
            </p:cNvSpPr>
            <p:nvPr/>
          </p:nvSpPr>
          <p:spPr bwMode="auto">
            <a:xfrm>
              <a:off x="7539" y="3796"/>
              <a:ext cx="134" cy="121"/>
            </a:xfrm>
            <a:custGeom>
              <a:avLst/>
              <a:gdLst>
                <a:gd name="T0" fmla="*/ 67 w 827"/>
                <a:gd name="T1" fmla="*/ 676 h 742"/>
                <a:gd name="T2" fmla="*/ 174 w 827"/>
                <a:gd name="T3" fmla="*/ 630 h 742"/>
                <a:gd name="T4" fmla="*/ 581 w 827"/>
                <a:gd name="T5" fmla="*/ 555 h 742"/>
                <a:gd name="T6" fmla="*/ 827 w 827"/>
                <a:gd name="T7" fmla="*/ 6 h 742"/>
                <a:gd name="T8" fmla="*/ 346 w 827"/>
                <a:gd name="T9" fmla="*/ 143 h 742"/>
                <a:gd name="T10" fmla="*/ 111 w 827"/>
                <a:gd name="T11" fmla="*/ 358 h 742"/>
                <a:gd name="T12" fmla="*/ 14 w 827"/>
                <a:gd name="T13" fmla="*/ 387 h 742"/>
                <a:gd name="T14" fmla="*/ 0 w 827"/>
                <a:gd name="T15" fmla="*/ 535 h 742"/>
                <a:gd name="T16" fmla="*/ 67 w 827"/>
                <a:gd name="T17" fmla="*/ 676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7" h="742">
                  <a:moveTo>
                    <a:pt x="67" y="676"/>
                  </a:moveTo>
                  <a:cubicBezTo>
                    <a:pt x="67" y="676"/>
                    <a:pt x="91" y="615"/>
                    <a:pt x="174" y="630"/>
                  </a:cubicBezTo>
                  <a:cubicBezTo>
                    <a:pt x="257" y="646"/>
                    <a:pt x="457" y="742"/>
                    <a:pt x="581" y="555"/>
                  </a:cubicBezTo>
                  <a:cubicBezTo>
                    <a:pt x="667" y="424"/>
                    <a:pt x="817" y="144"/>
                    <a:pt x="827" y="6"/>
                  </a:cubicBezTo>
                  <a:cubicBezTo>
                    <a:pt x="673" y="0"/>
                    <a:pt x="494" y="20"/>
                    <a:pt x="346" y="143"/>
                  </a:cubicBezTo>
                  <a:cubicBezTo>
                    <a:pt x="260" y="214"/>
                    <a:pt x="143" y="468"/>
                    <a:pt x="111" y="358"/>
                  </a:cubicBezTo>
                  <a:cubicBezTo>
                    <a:pt x="108" y="326"/>
                    <a:pt x="14" y="387"/>
                    <a:pt x="14" y="387"/>
                  </a:cubicBezTo>
                  <a:lnTo>
                    <a:pt x="0" y="535"/>
                  </a:lnTo>
                  <a:lnTo>
                    <a:pt x="67" y="676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5" name="Freeform 344"/>
            <p:cNvSpPr>
              <a:spLocks/>
            </p:cNvSpPr>
            <p:nvPr/>
          </p:nvSpPr>
          <p:spPr bwMode="auto">
            <a:xfrm>
              <a:off x="7510" y="3932"/>
              <a:ext cx="147" cy="114"/>
            </a:xfrm>
            <a:custGeom>
              <a:avLst/>
              <a:gdLst>
                <a:gd name="T0" fmla="*/ 40 w 910"/>
                <a:gd name="T1" fmla="*/ 567 h 703"/>
                <a:gd name="T2" fmla="*/ 154 w 910"/>
                <a:gd name="T3" fmla="*/ 541 h 703"/>
                <a:gd name="T4" fmla="*/ 568 w 910"/>
                <a:gd name="T5" fmla="*/ 541 h 703"/>
                <a:gd name="T6" fmla="*/ 910 w 910"/>
                <a:gd name="T7" fmla="*/ 47 h 703"/>
                <a:gd name="T8" fmla="*/ 412 w 910"/>
                <a:gd name="T9" fmla="*/ 93 h 703"/>
                <a:gd name="T10" fmla="*/ 142 w 910"/>
                <a:gd name="T11" fmla="*/ 263 h 703"/>
                <a:gd name="T12" fmla="*/ 41 w 910"/>
                <a:gd name="T13" fmla="*/ 274 h 703"/>
                <a:gd name="T14" fmla="*/ 0 w 910"/>
                <a:gd name="T15" fmla="*/ 416 h 703"/>
                <a:gd name="T16" fmla="*/ 40 w 910"/>
                <a:gd name="T17" fmla="*/ 567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0" h="703">
                  <a:moveTo>
                    <a:pt x="40" y="567"/>
                  </a:moveTo>
                  <a:cubicBezTo>
                    <a:pt x="40" y="567"/>
                    <a:pt x="75" y="511"/>
                    <a:pt x="154" y="541"/>
                  </a:cubicBezTo>
                  <a:cubicBezTo>
                    <a:pt x="234" y="572"/>
                    <a:pt x="413" y="703"/>
                    <a:pt x="568" y="541"/>
                  </a:cubicBezTo>
                  <a:cubicBezTo>
                    <a:pt x="677" y="428"/>
                    <a:pt x="875" y="181"/>
                    <a:pt x="910" y="47"/>
                  </a:cubicBezTo>
                  <a:cubicBezTo>
                    <a:pt x="760" y="13"/>
                    <a:pt x="581" y="0"/>
                    <a:pt x="412" y="93"/>
                  </a:cubicBezTo>
                  <a:cubicBezTo>
                    <a:pt x="314" y="147"/>
                    <a:pt x="154" y="376"/>
                    <a:pt x="142" y="263"/>
                  </a:cubicBezTo>
                  <a:cubicBezTo>
                    <a:pt x="145" y="230"/>
                    <a:pt x="41" y="274"/>
                    <a:pt x="41" y="274"/>
                  </a:cubicBezTo>
                  <a:lnTo>
                    <a:pt x="0" y="416"/>
                  </a:lnTo>
                  <a:lnTo>
                    <a:pt x="40" y="567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6" name="Freeform 345"/>
            <p:cNvSpPr>
              <a:spLocks/>
            </p:cNvSpPr>
            <p:nvPr/>
          </p:nvSpPr>
          <p:spPr bwMode="auto">
            <a:xfrm>
              <a:off x="7460" y="4057"/>
              <a:ext cx="156" cy="108"/>
            </a:xfrm>
            <a:custGeom>
              <a:avLst/>
              <a:gdLst>
                <a:gd name="T0" fmla="*/ 15 w 958"/>
                <a:gd name="T1" fmla="*/ 471 h 666"/>
                <a:gd name="T2" fmla="*/ 131 w 958"/>
                <a:gd name="T3" fmla="*/ 465 h 666"/>
                <a:gd name="T4" fmla="*/ 539 w 958"/>
                <a:gd name="T5" fmla="*/ 532 h 666"/>
                <a:gd name="T6" fmla="*/ 958 w 958"/>
                <a:gd name="T7" fmla="*/ 101 h 666"/>
                <a:gd name="T8" fmla="*/ 459 w 958"/>
                <a:gd name="T9" fmla="*/ 65 h 666"/>
                <a:gd name="T10" fmla="*/ 165 w 958"/>
                <a:gd name="T11" fmla="*/ 188 h 666"/>
                <a:gd name="T12" fmla="*/ 64 w 958"/>
                <a:gd name="T13" fmla="*/ 182 h 666"/>
                <a:gd name="T14" fmla="*/ 0 w 958"/>
                <a:gd name="T15" fmla="*/ 315 h 666"/>
                <a:gd name="T16" fmla="*/ 15 w 958"/>
                <a:gd name="T17" fmla="*/ 471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8" h="666">
                  <a:moveTo>
                    <a:pt x="15" y="471"/>
                  </a:moveTo>
                  <a:cubicBezTo>
                    <a:pt x="15" y="471"/>
                    <a:pt x="58" y="421"/>
                    <a:pt x="131" y="465"/>
                  </a:cubicBezTo>
                  <a:cubicBezTo>
                    <a:pt x="204" y="508"/>
                    <a:pt x="359" y="666"/>
                    <a:pt x="539" y="532"/>
                  </a:cubicBezTo>
                  <a:cubicBezTo>
                    <a:pt x="665" y="439"/>
                    <a:pt x="901" y="227"/>
                    <a:pt x="958" y="101"/>
                  </a:cubicBezTo>
                  <a:cubicBezTo>
                    <a:pt x="815" y="42"/>
                    <a:pt x="641" y="0"/>
                    <a:pt x="459" y="65"/>
                  </a:cubicBezTo>
                  <a:cubicBezTo>
                    <a:pt x="354" y="102"/>
                    <a:pt x="158" y="302"/>
                    <a:pt x="165" y="188"/>
                  </a:cubicBezTo>
                  <a:cubicBezTo>
                    <a:pt x="173" y="156"/>
                    <a:pt x="64" y="182"/>
                    <a:pt x="64" y="182"/>
                  </a:cubicBezTo>
                  <a:lnTo>
                    <a:pt x="0" y="315"/>
                  </a:lnTo>
                  <a:lnTo>
                    <a:pt x="15" y="471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7" name="Freeform 346"/>
            <p:cNvSpPr>
              <a:spLocks/>
            </p:cNvSpPr>
            <p:nvPr/>
          </p:nvSpPr>
          <p:spPr bwMode="auto">
            <a:xfrm>
              <a:off x="7380" y="4173"/>
              <a:ext cx="163" cy="96"/>
            </a:xfrm>
            <a:custGeom>
              <a:avLst/>
              <a:gdLst>
                <a:gd name="T0" fmla="*/ 0 w 1000"/>
                <a:gd name="T1" fmla="*/ 329 h 592"/>
                <a:gd name="T2" fmla="*/ 115 w 1000"/>
                <a:gd name="T3" fmla="*/ 347 h 592"/>
                <a:gd name="T4" fmla="*/ 500 w 1000"/>
                <a:gd name="T5" fmla="*/ 499 h 592"/>
                <a:gd name="T6" fmla="*/ 1000 w 1000"/>
                <a:gd name="T7" fmla="*/ 164 h 592"/>
                <a:gd name="T8" fmla="*/ 520 w 1000"/>
                <a:gd name="T9" fmla="*/ 25 h 592"/>
                <a:gd name="T10" fmla="*/ 206 w 1000"/>
                <a:gd name="T11" fmla="*/ 83 h 592"/>
                <a:gd name="T12" fmla="*/ 109 w 1000"/>
                <a:gd name="T13" fmla="*/ 56 h 592"/>
                <a:gd name="T14" fmla="*/ 18 w 1000"/>
                <a:gd name="T15" fmla="*/ 174 h 592"/>
                <a:gd name="T16" fmla="*/ 0 w 1000"/>
                <a:gd name="T17" fmla="*/ 329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0" h="592">
                  <a:moveTo>
                    <a:pt x="0" y="329"/>
                  </a:moveTo>
                  <a:cubicBezTo>
                    <a:pt x="0" y="329"/>
                    <a:pt x="53" y="289"/>
                    <a:pt x="115" y="347"/>
                  </a:cubicBezTo>
                  <a:cubicBezTo>
                    <a:pt x="177" y="404"/>
                    <a:pt x="296" y="592"/>
                    <a:pt x="500" y="499"/>
                  </a:cubicBezTo>
                  <a:cubicBezTo>
                    <a:pt x="643" y="434"/>
                    <a:pt x="918" y="276"/>
                    <a:pt x="1000" y="164"/>
                  </a:cubicBezTo>
                  <a:cubicBezTo>
                    <a:pt x="873" y="77"/>
                    <a:pt x="711" y="0"/>
                    <a:pt x="520" y="25"/>
                  </a:cubicBezTo>
                  <a:cubicBezTo>
                    <a:pt x="409" y="39"/>
                    <a:pt x="175" y="193"/>
                    <a:pt x="206" y="83"/>
                  </a:cubicBezTo>
                  <a:cubicBezTo>
                    <a:pt x="221" y="54"/>
                    <a:pt x="109" y="56"/>
                    <a:pt x="109" y="56"/>
                  </a:cubicBezTo>
                  <a:lnTo>
                    <a:pt x="18" y="174"/>
                  </a:lnTo>
                  <a:lnTo>
                    <a:pt x="0" y="329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8" name="Freeform 347"/>
            <p:cNvSpPr>
              <a:spLocks/>
            </p:cNvSpPr>
            <p:nvPr/>
          </p:nvSpPr>
          <p:spPr bwMode="auto">
            <a:xfrm>
              <a:off x="7272" y="4263"/>
              <a:ext cx="181" cy="91"/>
            </a:xfrm>
            <a:custGeom>
              <a:avLst/>
              <a:gdLst>
                <a:gd name="T0" fmla="*/ 0 w 1114"/>
                <a:gd name="T1" fmla="*/ 253 h 558"/>
                <a:gd name="T2" fmla="*/ 122 w 1114"/>
                <a:gd name="T3" fmla="*/ 288 h 558"/>
                <a:gd name="T4" fmla="*/ 514 w 1114"/>
                <a:gd name="T5" fmla="*/ 498 h 558"/>
                <a:gd name="T6" fmla="*/ 1114 w 1114"/>
                <a:gd name="T7" fmla="*/ 246 h 558"/>
                <a:gd name="T8" fmla="*/ 617 w 1114"/>
                <a:gd name="T9" fmla="*/ 33 h 558"/>
                <a:gd name="T10" fmla="*/ 266 w 1114"/>
                <a:gd name="T11" fmla="*/ 42 h 558"/>
                <a:gd name="T12" fmla="*/ 165 w 1114"/>
                <a:gd name="T13" fmla="*/ 0 h 558"/>
                <a:gd name="T14" fmla="*/ 47 w 1114"/>
                <a:gd name="T15" fmla="*/ 102 h 558"/>
                <a:gd name="T16" fmla="*/ 0 w 1114"/>
                <a:gd name="T17" fmla="*/ 25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4" h="558">
                  <a:moveTo>
                    <a:pt x="0" y="253"/>
                  </a:moveTo>
                  <a:cubicBezTo>
                    <a:pt x="0" y="253"/>
                    <a:pt x="64" y="222"/>
                    <a:pt x="122" y="288"/>
                  </a:cubicBezTo>
                  <a:cubicBezTo>
                    <a:pt x="180" y="355"/>
                    <a:pt x="276" y="558"/>
                    <a:pt x="514" y="498"/>
                  </a:cubicBezTo>
                  <a:cubicBezTo>
                    <a:pt x="680" y="456"/>
                    <a:pt x="1006" y="344"/>
                    <a:pt x="1114" y="246"/>
                  </a:cubicBezTo>
                  <a:cubicBezTo>
                    <a:pt x="991" y="140"/>
                    <a:pt x="828" y="38"/>
                    <a:pt x="617" y="33"/>
                  </a:cubicBezTo>
                  <a:cubicBezTo>
                    <a:pt x="494" y="30"/>
                    <a:pt x="214" y="146"/>
                    <a:pt x="266" y="42"/>
                  </a:cubicBezTo>
                  <a:cubicBezTo>
                    <a:pt x="287" y="16"/>
                    <a:pt x="165" y="0"/>
                    <a:pt x="165" y="0"/>
                  </a:cubicBezTo>
                  <a:lnTo>
                    <a:pt x="47" y="102"/>
                  </a:lnTo>
                  <a:lnTo>
                    <a:pt x="0" y="253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59" name="Freeform 348"/>
            <p:cNvSpPr>
              <a:spLocks/>
            </p:cNvSpPr>
            <p:nvPr/>
          </p:nvSpPr>
          <p:spPr bwMode="auto">
            <a:xfrm>
              <a:off x="6687" y="3296"/>
              <a:ext cx="871" cy="1138"/>
            </a:xfrm>
            <a:custGeom>
              <a:avLst/>
              <a:gdLst>
                <a:gd name="T0" fmla="*/ 290 w 5360"/>
                <a:gd name="T1" fmla="*/ 6995 h 6995"/>
                <a:gd name="T2" fmla="*/ 1440 w 5360"/>
                <a:gd name="T3" fmla="*/ 6712 h 6995"/>
                <a:gd name="T4" fmla="*/ 4089 w 5360"/>
                <a:gd name="T5" fmla="*/ 5868 h 6995"/>
                <a:gd name="T6" fmla="*/ 5360 w 5360"/>
                <a:gd name="T7" fmla="*/ 3127 h 6995"/>
                <a:gd name="T8" fmla="*/ 4154 w 5360"/>
                <a:gd name="T9" fmla="*/ 615 h 6995"/>
                <a:gd name="T10" fmla="*/ 3155 w 5360"/>
                <a:gd name="T11" fmla="*/ 15 h 6995"/>
                <a:gd name="T12" fmla="*/ 3126 w 5360"/>
                <a:gd name="T13" fmla="*/ 64 h 6995"/>
                <a:gd name="T14" fmla="*/ 3646 w 5360"/>
                <a:gd name="T15" fmla="*/ 366 h 6995"/>
                <a:gd name="T16" fmla="*/ 4339 w 5360"/>
                <a:gd name="T17" fmla="*/ 942 h 6995"/>
                <a:gd name="T18" fmla="*/ 5187 w 5360"/>
                <a:gd name="T19" fmla="*/ 3667 h 6995"/>
                <a:gd name="T20" fmla="*/ 3621 w 5360"/>
                <a:gd name="T21" fmla="*/ 6039 h 6995"/>
                <a:gd name="T22" fmla="*/ 1459 w 5360"/>
                <a:gd name="T23" fmla="*/ 6612 h 6995"/>
                <a:gd name="T24" fmla="*/ 0 w 5360"/>
                <a:gd name="T25" fmla="*/ 6976 h 6995"/>
                <a:gd name="T26" fmla="*/ 290 w 5360"/>
                <a:gd name="T27" fmla="*/ 6995 h 6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60" h="6995">
                  <a:moveTo>
                    <a:pt x="290" y="6995"/>
                  </a:moveTo>
                  <a:cubicBezTo>
                    <a:pt x="290" y="6995"/>
                    <a:pt x="543" y="6719"/>
                    <a:pt x="1440" y="6712"/>
                  </a:cubicBezTo>
                  <a:cubicBezTo>
                    <a:pt x="2337" y="6705"/>
                    <a:pt x="3044" y="6660"/>
                    <a:pt x="4089" y="5868"/>
                  </a:cubicBezTo>
                  <a:cubicBezTo>
                    <a:pt x="5135" y="5076"/>
                    <a:pt x="5360" y="3790"/>
                    <a:pt x="5360" y="3127"/>
                  </a:cubicBezTo>
                  <a:cubicBezTo>
                    <a:pt x="5360" y="2465"/>
                    <a:pt x="5066" y="1337"/>
                    <a:pt x="4154" y="615"/>
                  </a:cubicBezTo>
                  <a:cubicBezTo>
                    <a:pt x="3805" y="338"/>
                    <a:pt x="3256" y="35"/>
                    <a:pt x="3155" y="15"/>
                  </a:cubicBezTo>
                  <a:cubicBezTo>
                    <a:pt x="3081" y="0"/>
                    <a:pt x="3082" y="39"/>
                    <a:pt x="3126" y="64"/>
                  </a:cubicBezTo>
                  <a:cubicBezTo>
                    <a:pt x="3284" y="153"/>
                    <a:pt x="3373" y="185"/>
                    <a:pt x="3646" y="366"/>
                  </a:cubicBezTo>
                  <a:cubicBezTo>
                    <a:pt x="3888" y="526"/>
                    <a:pt x="4145" y="735"/>
                    <a:pt x="4339" y="942"/>
                  </a:cubicBezTo>
                  <a:cubicBezTo>
                    <a:pt x="4752" y="1385"/>
                    <a:pt x="5355" y="2299"/>
                    <a:pt x="5187" y="3667"/>
                  </a:cubicBezTo>
                  <a:cubicBezTo>
                    <a:pt x="5020" y="5035"/>
                    <a:pt x="4112" y="5734"/>
                    <a:pt x="3621" y="6039"/>
                  </a:cubicBezTo>
                  <a:cubicBezTo>
                    <a:pt x="3129" y="6344"/>
                    <a:pt x="2430" y="6630"/>
                    <a:pt x="1459" y="6612"/>
                  </a:cubicBezTo>
                  <a:cubicBezTo>
                    <a:pt x="487" y="6593"/>
                    <a:pt x="0" y="6976"/>
                    <a:pt x="0" y="6976"/>
                  </a:cubicBezTo>
                  <a:lnTo>
                    <a:pt x="290" y="6995"/>
                  </a:lnTo>
                  <a:close/>
                </a:path>
              </a:pathLst>
            </a:custGeom>
            <a:grpFill/>
            <a:ln w="1270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</p:grpSp>
      <p:grpSp>
        <p:nvGrpSpPr>
          <p:cNvPr id="261" name="Lecturer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054061" y="2327121"/>
            <a:ext cx="1034824" cy="542925"/>
            <a:chOff x="8" y="130"/>
            <a:chExt cx="507" cy="266"/>
          </a:xfrm>
          <a:solidFill>
            <a:srgbClr val="B9975B"/>
          </a:solidFill>
        </p:grpSpPr>
        <p:sp>
          <p:nvSpPr>
            <p:cNvPr id="262" name="Lecturer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0" y="181"/>
              <a:ext cx="76" cy="7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  <p:sp>
          <p:nvSpPr>
            <p:cNvPr id="263" name="Lecturer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8" y="130"/>
              <a:ext cx="507" cy="266"/>
            </a:xfrm>
            <a:custGeom>
              <a:avLst/>
              <a:gdLst>
                <a:gd name="T0" fmla="*/ 464 w 1250"/>
                <a:gd name="T1" fmla="*/ 0 h 653"/>
                <a:gd name="T2" fmla="*/ 464 w 1250"/>
                <a:gd name="T3" fmla="*/ 290 h 653"/>
                <a:gd name="T4" fmla="*/ 375 w 1250"/>
                <a:gd name="T5" fmla="*/ 333 h 653"/>
                <a:gd name="T6" fmla="*/ 340 w 1250"/>
                <a:gd name="T7" fmla="*/ 333 h 653"/>
                <a:gd name="T8" fmla="*/ 204 w 1250"/>
                <a:gd name="T9" fmla="*/ 333 h 653"/>
                <a:gd name="T10" fmla="*/ 145 w 1250"/>
                <a:gd name="T11" fmla="*/ 333 h 653"/>
                <a:gd name="T12" fmla="*/ 102 w 1250"/>
                <a:gd name="T13" fmla="*/ 363 h 653"/>
                <a:gd name="T14" fmla="*/ 0 w 1250"/>
                <a:gd name="T15" fmla="*/ 653 h 653"/>
                <a:gd name="T16" fmla="*/ 93 w 1250"/>
                <a:gd name="T17" fmla="*/ 653 h 653"/>
                <a:gd name="T18" fmla="*/ 145 w 1250"/>
                <a:gd name="T19" fmla="*/ 508 h 653"/>
                <a:gd name="T20" fmla="*/ 145 w 1250"/>
                <a:gd name="T21" fmla="*/ 653 h 653"/>
                <a:gd name="T22" fmla="*/ 398 w 1250"/>
                <a:gd name="T23" fmla="*/ 653 h 653"/>
                <a:gd name="T24" fmla="*/ 398 w 1250"/>
                <a:gd name="T25" fmla="*/ 419 h 653"/>
                <a:gd name="T26" fmla="*/ 401 w 1250"/>
                <a:gd name="T27" fmla="*/ 418 h 653"/>
                <a:gd name="T28" fmla="*/ 464 w 1250"/>
                <a:gd name="T29" fmla="*/ 388 h 653"/>
                <a:gd name="T30" fmla="*/ 464 w 1250"/>
                <a:gd name="T31" fmla="*/ 470 h 653"/>
                <a:gd name="T32" fmla="*/ 1250 w 1250"/>
                <a:gd name="T33" fmla="*/ 470 h 653"/>
                <a:gd name="T34" fmla="*/ 1250 w 1250"/>
                <a:gd name="T35" fmla="*/ 0 h 653"/>
                <a:gd name="T36" fmla="*/ 464 w 1250"/>
                <a:gd name="T37" fmla="*/ 0 h 653"/>
                <a:gd name="T38" fmla="*/ 1203 w 1250"/>
                <a:gd name="T39" fmla="*/ 423 h 653"/>
                <a:gd name="T40" fmla="*/ 511 w 1250"/>
                <a:gd name="T41" fmla="*/ 423 h 653"/>
                <a:gd name="T42" fmla="*/ 511 w 1250"/>
                <a:gd name="T43" fmla="*/ 365 h 653"/>
                <a:gd name="T44" fmla="*/ 728 w 1250"/>
                <a:gd name="T45" fmla="*/ 261 h 653"/>
                <a:gd name="T46" fmla="*/ 747 w 1250"/>
                <a:gd name="T47" fmla="*/ 206 h 653"/>
                <a:gd name="T48" fmla="*/ 745 w 1250"/>
                <a:gd name="T49" fmla="*/ 201 h 653"/>
                <a:gd name="T50" fmla="*/ 690 w 1250"/>
                <a:gd name="T51" fmla="*/ 182 h 653"/>
                <a:gd name="T52" fmla="*/ 511 w 1250"/>
                <a:gd name="T53" fmla="*/ 268 h 653"/>
                <a:gd name="T54" fmla="*/ 511 w 1250"/>
                <a:gd name="T55" fmla="*/ 46 h 653"/>
                <a:gd name="T56" fmla="*/ 1203 w 1250"/>
                <a:gd name="T57" fmla="*/ 46 h 653"/>
                <a:gd name="T58" fmla="*/ 1203 w 1250"/>
                <a:gd name="T59" fmla="*/ 42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50" h="653">
                  <a:moveTo>
                    <a:pt x="464" y="0"/>
                  </a:moveTo>
                  <a:lnTo>
                    <a:pt x="464" y="290"/>
                  </a:lnTo>
                  <a:lnTo>
                    <a:pt x="375" y="333"/>
                  </a:lnTo>
                  <a:lnTo>
                    <a:pt x="340" y="333"/>
                  </a:lnTo>
                  <a:lnTo>
                    <a:pt x="204" y="333"/>
                  </a:lnTo>
                  <a:lnTo>
                    <a:pt x="145" y="333"/>
                  </a:lnTo>
                  <a:cubicBezTo>
                    <a:pt x="126" y="331"/>
                    <a:pt x="109" y="345"/>
                    <a:pt x="102" y="363"/>
                  </a:cubicBezTo>
                  <a:lnTo>
                    <a:pt x="0" y="653"/>
                  </a:lnTo>
                  <a:lnTo>
                    <a:pt x="93" y="653"/>
                  </a:lnTo>
                  <a:lnTo>
                    <a:pt x="145" y="508"/>
                  </a:lnTo>
                  <a:lnTo>
                    <a:pt x="145" y="653"/>
                  </a:lnTo>
                  <a:lnTo>
                    <a:pt x="398" y="653"/>
                  </a:lnTo>
                  <a:lnTo>
                    <a:pt x="398" y="419"/>
                  </a:lnTo>
                  <a:cubicBezTo>
                    <a:pt x="399" y="419"/>
                    <a:pt x="400" y="419"/>
                    <a:pt x="401" y="418"/>
                  </a:cubicBezTo>
                  <a:lnTo>
                    <a:pt x="464" y="388"/>
                  </a:lnTo>
                  <a:lnTo>
                    <a:pt x="464" y="470"/>
                  </a:lnTo>
                  <a:lnTo>
                    <a:pt x="1250" y="470"/>
                  </a:lnTo>
                  <a:lnTo>
                    <a:pt x="1250" y="0"/>
                  </a:lnTo>
                  <a:lnTo>
                    <a:pt x="464" y="0"/>
                  </a:lnTo>
                  <a:close/>
                  <a:moveTo>
                    <a:pt x="1203" y="423"/>
                  </a:moveTo>
                  <a:lnTo>
                    <a:pt x="511" y="423"/>
                  </a:lnTo>
                  <a:lnTo>
                    <a:pt x="511" y="365"/>
                  </a:lnTo>
                  <a:lnTo>
                    <a:pt x="728" y="261"/>
                  </a:lnTo>
                  <a:cubicBezTo>
                    <a:pt x="748" y="251"/>
                    <a:pt x="757" y="227"/>
                    <a:pt x="747" y="206"/>
                  </a:cubicBezTo>
                  <a:lnTo>
                    <a:pt x="745" y="201"/>
                  </a:lnTo>
                  <a:cubicBezTo>
                    <a:pt x="735" y="181"/>
                    <a:pt x="710" y="172"/>
                    <a:pt x="690" y="182"/>
                  </a:cubicBezTo>
                  <a:lnTo>
                    <a:pt x="511" y="268"/>
                  </a:lnTo>
                  <a:lnTo>
                    <a:pt x="511" y="46"/>
                  </a:lnTo>
                  <a:lnTo>
                    <a:pt x="1203" y="46"/>
                  </a:lnTo>
                  <a:lnTo>
                    <a:pt x="1203" y="4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CH" dirty="0">
                <a:solidFill>
                  <a:prstClr val="black"/>
                </a:solidFill>
                <a:latin typeface="DIN-Regular" panose="02000503040000020003" pitchFamily="2" charset="0"/>
              </a:endParaRP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73B9CA-C01D-9A86-ABF8-C0E4F9315331}"/>
              </a:ext>
            </a:extLst>
          </p:cNvPr>
          <p:cNvCxnSpPr>
            <a:cxnSpLocks/>
          </p:cNvCxnSpPr>
          <p:nvPr/>
        </p:nvCxnSpPr>
        <p:spPr>
          <a:xfrm flipH="1">
            <a:off x="4463144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B8E4B7E-681B-793D-ADCA-45C9424D03A6}"/>
              </a:ext>
            </a:extLst>
          </p:cNvPr>
          <p:cNvCxnSpPr>
            <a:cxnSpLocks/>
          </p:cNvCxnSpPr>
          <p:nvPr/>
        </p:nvCxnSpPr>
        <p:spPr>
          <a:xfrm>
            <a:off x="2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E3B6A74-E95E-703A-6EE1-0D8769428A19}"/>
              </a:ext>
            </a:extLst>
          </p:cNvPr>
          <p:cNvSpPr txBox="1"/>
          <p:nvPr/>
        </p:nvSpPr>
        <p:spPr>
          <a:xfrm>
            <a:off x="827845" y="102147"/>
            <a:ext cx="7716914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685800">
              <a:lnSpc>
                <a:spcPct val="90000"/>
              </a:lnSpc>
            </a:pPr>
            <a:r>
              <a:rPr lang="en-CH" sz="2100" b="1" dirty="0">
                <a:solidFill>
                  <a:srgbClr val="1F497D"/>
                </a:solidFill>
                <a:latin typeface="DIN-Regular" panose="02000503040000020003" pitchFamily="2" charset="0"/>
              </a:rPr>
              <a:t>KEY FIGURES ABOUT HEC PARIS’ </a:t>
            </a:r>
            <a:r>
              <a:rPr lang="en-CH" sz="2100" b="1" dirty="0">
                <a:solidFill>
                  <a:srgbClr val="B9975B"/>
                </a:solidFill>
                <a:latin typeface="DIN-Regular" panose="02000503040000020003" pitchFamily="2" charset="0"/>
              </a:rPr>
              <a:t>FACULTY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C5675E38-E6BC-42AD-A726-A136DB89309D}"/>
              </a:ext>
            </a:extLst>
          </p:cNvPr>
          <p:cNvSpPr txBox="1">
            <a:spLocks/>
          </p:cNvSpPr>
          <p:nvPr/>
        </p:nvSpPr>
        <p:spPr>
          <a:xfrm>
            <a:off x="8176708" y="4740465"/>
            <a:ext cx="682782" cy="273844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7644" lvl="4" defTabSz="342900"/>
            <a:fld id="{87FB5E3A-1E28-1B4A-91D5-F1561850C4F5}" type="slidenum">
              <a:rPr lang="en-US" sz="1000">
                <a:solidFill>
                  <a:prstClr val="black"/>
                </a:solidFill>
                <a:latin typeface="DIN-Regular"/>
              </a:rPr>
              <a:pPr marL="197644" lvl="4" defTabSz="342900"/>
              <a:t>11</a:t>
            </a:fld>
            <a:endParaRPr lang="en-US" sz="1000" dirty="0">
              <a:solidFill>
                <a:prstClr val="black"/>
              </a:solidFill>
              <a:latin typeface="DIN-Regular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324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oup 114">
            <a:extLst>
              <a:ext uri="{FF2B5EF4-FFF2-40B4-BE49-F238E27FC236}">
                <a16:creationId xmlns:a16="http://schemas.microsoft.com/office/drawing/2014/main" id="{D51A595E-E42A-44FF-B9A6-958AFCF65BB2}"/>
              </a:ext>
            </a:extLst>
          </p:cNvPr>
          <p:cNvGrpSpPr/>
          <p:nvPr/>
        </p:nvGrpSpPr>
        <p:grpSpPr>
          <a:xfrm>
            <a:off x="1221581" y="977849"/>
            <a:ext cx="6700839" cy="3873092"/>
            <a:chOff x="5619750" y="3153727"/>
            <a:chExt cx="952499" cy="550545"/>
          </a:xfrm>
          <a:solidFill>
            <a:srgbClr val="00305C">
              <a:alpha val="7000"/>
            </a:srgbClr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493A90F-36FB-41EC-88CF-8DF574A0FCFA}"/>
                </a:ext>
              </a:extLst>
            </p:cNvPr>
            <p:cNvSpPr/>
            <p:nvPr/>
          </p:nvSpPr>
          <p:spPr>
            <a:xfrm>
              <a:off x="5631180" y="3184207"/>
              <a:ext cx="286702" cy="520065"/>
            </a:xfrm>
            <a:custGeom>
              <a:avLst/>
              <a:gdLst>
                <a:gd name="connsiteX0" fmla="*/ 0 w 286702"/>
                <a:gd name="connsiteY0" fmla="*/ 54293 h 520065"/>
                <a:gd name="connsiteX1" fmla="*/ 0 w 286702"/>
                <a:gd name="connsiteY1" fmla="*/ 51435 h 520065"/>
                <a:gd name="connsiteX2" fmla="*/ 15240 w 286702"/>
                <a:gd name="connsiteY2" fmla="*/ 43815 h 520065"/>
                <a:gd name="connsiteX3" fmla="*/ 15240 w 286702"/>
                <a:gd name="connsiteY3" fmla="*/ 41910 h 520065"/>
                <a:gd name="connsiteX4" fmla="*/ 11430 w 286702"/>
                <a:gd name="connsiteY4" fmla="*/ 40958 h 520065"/>
                <a:gd name="connsiteX5" fmla="*/ 11430 w 286702"/>
                <a:gd name="connsiteY5" fmla="*/ 37148 h 520065"/>
                <a:gd name="connsiteX6" fmla="*/ 15240 w 286702"/>
                <a:gd name="connsiteY6" fmla="*/ 27623 h 520065"/>
                <a:gd name="connsiteX7" fmla="*/ 21908 w 286702"/>
                <a:gd name="connsiteY7" fmla="*/ 27623 h 520065"/>
                <a:gd name="connsiteX8" fmla="*/ 35243 w 286702"/>
                <a:gd name="connsiteY8" fmla="*/ 23813 h 520065"/>
                <a:gd name="connsiteX9" fmla="*/ 38100 w 286702"/>
                <a:gd name="connsiteY9" fmla="*/ 13335 h 520065"/>
                <a:gd name="connsiteX10" fmla="*/ 53340 w 286702"/>
                <a:gd name="connsiteY10" fmla="*/ 5715 h 520065"/>
                <a:gd name="connsiteX11" fmla="*/ 64770 w 286702"/>
                <a:gd name="connsiteY11" fmla="*/ 5715 h 520065"/>
                <a:gd name="connsiteX12" fmla="*/ 82867 w 286702"/>
                <a:gd name="connsiteY12" fmla="*/ 0 h 520065"/>
                <a:gd name="connsiteX13" fmla="*/ 86678 w 286702"/>
                <a:gd name="connsiteY13" fmla="*/ 0 h 520065"/>
                <a:gd name="connsiteX14" fmla="*/ 100965 w 286702"/>
                <a:gd name="connsiteY14" fmla="*/ 8573 h 520065"/>
                <a:gd name="connsiteX15" fmla="*/ 121920 w 286702"/>
                <a:gd name="connsiteY15" fmla="*/ 13335 h 520065"/>
                <a:gd name="connsiteX16" fmla="*/ 143828 w 286702"/>
                <a:gd name="connsiteY16" fmla="*/ 12383 h 520065"/>
                <a:gd name="connsiteX17" fmla="*/ 157163 w 286702"/>
                <a:gd name="connsiteY17" fmla="*/ 22860 h 520065"/>
                <a:gd name="connsiteX18" fmla="*/ 161925 w 286702"/>
                <a:gd name="connsiteY18" fmla="*/ 23813 h 520065"/>
                <a:gd name="connsiteX19" fmla="*/ 167640 w 286702"/>
                <a:gd name="connsiteY19" fmla="*/ 20955 h 520065"/>
                <a:gd name="connsiteX20" fmla="*/ 172403 w 286702"/>
                <a:gd name="connsiteY20" fmla="*/ 20955 h 520065"/>
                <a:gd name="connsiteX21" fmla="*/ 190500 w 286702"/>
                <a:gd name="connsiteY21" fmla="*/ 28575 h 520065"/>
                <a:gd name="connsiteX22" fmla="*/ 201930 w 286702"/>
                <a:gd name="connsiteY22" fmla="*/ 24765 h 520065"/>
                <a:gd name="connsiteX23" fmla="*/ 201930 w 286702"/>
                <a:gd name="connsiteY23" fmla="*/ 22860 h 520065"/>
                <a:gd name="connsiteX24" fmla="*/ 200025 w 286702"/>
                <a:gd name="connsiteY24" fmla="*/ 18098 h 520065"/>
                <a:gd name="connsiteX25" fmla="*/ 204788 w 286702"/>
                <a:gd name="connsiteY25" fmla="*/ 14288 h 520065"/>
                <a:gd name="connsiteX26" fmla="*/ 207645 w 286702"/>
                <a:gd name="connsiteY26" fmla="*/ 14288 h 520065"/>
                <a:gd name="connsiteX27" fmla="*/ 208598 w 286702"/>
                <a:gd name="connsiteY27" fmla="*/ 15240 h 520065"/>
                <a:gd name="connsiteX28" fmla="*/ 209550 w 286702"/>
                <a:gd name="connsiteY28" fmla="*/ 21908 h 520065"/>
                <a:gd name="connsiteX29" fmla="*/ 220028 w 286702"/>
                <a:gd name="connsiteY29" fmla="*/ 24765 h 520065"/>
                <a:gd name="connsiteX30" fmla="*/ 220028 w 286702"/>
                <a:gd name="connsiteY30" fmla="*/ 21908 h 520065"/>
                <a:gd name="connsiteX31" fmla="*/ 222885 w 286702"/>
                <a:gd name="connsiteY31" fmla="*/ 21908 h 520065"/>
                <a:gd name="connsiteX32" fmla="*/ 225743 w 286702"/>
                <a:gd name="connsiteY32" fmla="*/ 24765 h 520065"/>
                <a:gd name="connsiteX33" fmla="*/ 225743 w 286702"/>
                <a:gd name="connsiteY33" fmla="*/ 27623 h 520065"/>
                <a:gd name="connsiteX34" fmla="*/ 220028 w 286702"/>
                <a:gd name="connsiteY34" fmla="*/ 33338 h 520065"/>
                <a:gd name="connsiteX35" fmla="*/ 204788 w 286702"/>
                <a:gd name="connsiteY35" fmla="*/ 34290 h 520065"/>
                <a:gd name="connsiteX36" fmla="*/ 194310 w 286702"/>
                <a:gd name="connsiteY36" fmla="*/ 40958 h 520065"/>
                <a:gd name="connsiteX37" fmla="*/ 180023 w 286702"/>
                <a:gd name="connsiteY37" fmla="*/ 44768 h 520065"/>
                <a:gd name="connsiteX38" fmla="*/ 175260 w 286702"/>
                <a:gd name="connsiteY38" fmla="*/ 51435 h 520065"/>
                <a:gd name="connsiteX39" fmla="*/ 170498 w 286702"/>
                <a:gd name="connsiteY39" fmla="*/ 60008 h 520065"/>
                <a:gd name="connsiteX40" fmla="*/ 169545 w 286702"/>
                <a:gd name="connsiteY40" fmla="*/ 66675 h 520065"/>
                <a:gd name="connsiteX41" fmla="*/ 176213 w 286702"/>
                <a:gd name="connsiteY41" fmla="*/ 70485 h 520065"/>
                <a:gd name="connsiteX42" fmla="*/ 181928 w 286702"/>
                <a:gd name="connsiteY42" fmla="*/ 76200 h 520065"/>
                <a:gd name="connsiteX43" fmla="*/ 186690 w 286702"/>
                <a:gd name="connsiteY43" fmla="*/ 77153 h 520065"/>
                <a:gd name="connsiteX44" fmla="*/ 186690 w 286702"/>
                <a:gd name="connsiteY44" fmla="*/ 80963 h 520065"/>
                <a:gd name="connsiteX45" fmla="*/ 183833 w 286702"/>
                <a:gd name="connsiteY45" fmla="*/ 86678 h 520065"/>
                <a:gd name="connsiteX46" fmla="*/ 183833 w 286702"/>
                <a:gd name="connsiteY46" fmla="*/ 91440 h 520065"/>
                <a:gd name="connsiteX47" fmla="*/ 189548 w 286702"/>
                <a:gd name="connsiteY47" fmla="*/ 90488 h 520065"/>
                <a:gd name="connsiteX48" fmla="*/ 197168 w 286702"/>
                <a:gd name="connsiteY48" fmla="*/ 78105 h 520065"/>
                <a:gd name="connsiteX49" fmla="*/ 204788 w 286702"/>
                <a:gd name="connsiteY49" fmla="*/ 73343 h 520065"/>
                <a:gd name="connsiteX50" fmla="*/ 205740 w 286702"/>
                <a:gd name="connsiteY50" fmla="*/ 66675 h 520065"/>
                <a:gd name="connsiteX51" fmla="*/ 217170 w 286702"/>
                <a:gd name="connsiteY51" fmla="*/ 50483 h 520065"/>
                <a:gd name="connsiteX52" fmla="*/ 227648 w 286702"/>
                <a:gd name="connsiteY52" fmla="*/ 49530 h 520065"/>
                <a:gd name="connsiteX53" fmla="*/ 232410 w 286702"/>
                <a:gd name="connsiteY53" fmla="*/ 58103 h 520065"/>
                <a:gd name="connsiteX54" fmla="*/ 232410 w 286702"/>
                <a:gd name="connsiteY54" fmla="*/ 60960 h 520065"/>
                <a:gd name="connsiteX55" fmla="*/ 231458 w 286702"/>
                <a:gd name="connsiteY55" fmla="*/ 63818 h 520065"/>
                <a:gd name="connsiteX56" fmla="*/ 238125 w 286702"/>
                <a:gd name="connsiteY56" fmla="*/ 64770 h 520065"/>
                <a:gd name="connsiteX57" fmla="*/ 242888 w 286702"/>
                <a:gd name="connsiteY57" fmla="*/ 58103 h 520065"/>
                <a:gd name="connsiteX58" fmla="*/ 244793 w 286702"/>
                <a:gd name="connsiteY58" fmla="*/ 58103 h 520065"/>
                <a:gd name="connsiteX59" fmla="*/ 246698 w 286702"/>
                <a:gd name="connsiteY59" fmla="*/ 71438 h 520065"/>
                <a:gd name="connsiteX60" fmla="*/ 253365 w 286702"/>
                <a:gd name="connsiteY60" fmla="*/ 86678 h 520065"/>
                <a:gd name="connsiteX61" fmla="*/ 253365 w 286702"/>
                <a:gd name="connsiteY61" fmla="*/ 90488 h 520065"/>
                <a:gd name="connsiteX62" fmla="*/ 251460 w 286702"/>
                <a:gd name="connsiteY62" fmla="*/ 94298 h 520065"/>
                <a:gd name="connsiteX63" fmla="*/ 237173 w 286702"/>
                <a:gd name="connsiteY63" fmla="*/ 100965 h 520065"/>
                <a:gd name="connsiteX64" fmla="*/ 231458 w 286702"/>
                <a:gd name="connsiteY64" fmla="*/ 101918 h 520065"/>
                <a:gd name="connsiteX65" fmla="*/ 230505 w 286702"/>
                <a:gd name="connsiteY65" fmla="*/ 100013 h 520065"/>
                <a:gd name="connsiteX66" fmla="*/ 219075 w 286702"/>
                <a:gd name="connsiteY66" fmla="*/ 100013 h 520065"/>
                <a:gd name="connsiteX67" fmla="*/ 203835 w 286702"/>
                <a:gd name="connsiteY67" fmla="*/ 109538 h 520065"/>
                <a:gd name="connsiteX68" fmla="*/ 203835 w 286702"/>
                <a:gd name="connsiteY68" fmla="*/ 111443 h 520065"/>
                <a:gd name="connsiteX69" fmla="*/ 205740 w 286702"/>
                <a:gd name="connsiteY69" fmla="*/ 111443 h 520065"/>
                <a:gd name="connsiteX70" fmla="*/ 215265 w 286702"/>
                <a:gd name="connsiteY70" fmla="*/ 105728 h 520065"/>
                <a:gd name="connsiteX71" fmla="*/ 223838 w 286702"/>
                <a:gd name="connsiteY71" fmla="*/ 105728 h 520065"/>
                <a:gd name="connsiteX72" fmla="*/ 223838 w 286702"/>
                <a:gd name="connsiteY72" fmla="*/ 107632 h 520065"/>
                <a:gd name="connsiteX73" fmla="*/ 220980 w 286702"/>
                <a:gd name="connsiteY73" fmla="*/ 110490 h 520065"/>
                <a:gd name="connsiteX74" fmla="*/ 220980 w 286702"/>
                <a:gd name="connsiteY74" fmla="*/ 115253 h 520065"/>
                <a:gd name="connsiteX75" fmla="*/ 227648 w 286702"/>
                <a:gd name="connsiteY75" fmla="*/ 118110 h 520065"/>
                <a:gd name="connsiteX76" fmla="*/ 226695 w 286702"/>
                <a:gd name="connsiteY76" fmla="*/ 121920 h 520065"/>
                <a:gd name="connsiteX77" fmla="*/ 218123 w 286702"/>
                <a:gd name="connsiteY77" fmla="*/ 123825 h 520065"/>
                <a:gd name="connsiteX78" fmla="*/ 215265 w 286702"/>
                <a:gd name="connsiteY78" fmla="*/ 125730 h 520065"/>
                <a:gd name="connsiteX79" fmla="*/ 215265 w 286702"/>
                <a:gd name="connsiteY79" fmla="*/ 127635 h 520065"/>
                <a:gd name="connsiteX80" fmla="*/ 213360 w 286702"/>
                <a:gd name="connsiteY80" fmla="*/ 126682 h 520065"/>
                <a:gd name="connsiteX81" fmla="*/ 213360 w 286702"/>
                <a:gd name="connsiteY81" fmla="*/ 124778 h 520065"/>
                <a:gd name="connsiteX82" fmla="*/ 217170 w 286702"/>
                <a:gd name="connsiteY82" fmla="*/ 122873 h 520065"/>
                <a:gd name="connsiteX83" fmla="*/ 217170 w 286702"/>
                <a:gd name="connsiteY83" fmla="*/ 119063 h 520065"/>
                <a:gd name="connsiteX84" fmla="*/ 209550 w 286702"/>
                <a:gd name="connsiteY84" fmla="*/ 120968 h 520065"/>
                <a:gd name="connsiteX85" fmla="*/ 199073 w 286702"/>
                <a:gd name="connsiteY85" fmla="*/ 126682 h 520065"/>
                <a:gd name="connsiteX86" fmla="*/ 195263 w 286702"/>
                <a:gd name="connsiteY86" fmla="*/ 133350 h 520065"/>
                <a:gd name="connsiteX87" fmla="*/ 186690 w 286702"/>
                <a:gd name="connsiteY87" fmla="*/ 134303 h 520065"/>
                <a:gd name="connsiteX88" fmla="*/ 179070 w 286702"/>
                <a:gd name="connsiteY88" fmla="*/ 145733 h 520065"/>
                <a:gd name="connsiteX89" fmla="*/ 176213 w 286702"/>
                <a:gd name="connsiteY89" fmla="*/ 149543 h 520065"/>
                <a:gd name="connsiteX90" fmla="*/ 173355 w 286702"/>
                <a:gd name="connsiteY90" fmla="*/ 150495 h 520065"/>
                <a:gd name="connsiteX91" fmla="*/ 174308 w 286702"/>
                <a:gd name="connsiteY91" fmla="*/ 144780 h 520065"/>
                <a:gd name="connsiteX92" fmla="*/ 172403 w 286702"/>
                <a:gd name="connsiteY92" fmla="*/ 144780 h 520065"/>
                <a:gd name="connsiteX93" fmla="*/ 168593 w 286702"/>
                <a:gd name="connsiteY93" fmla="*/ 157163 h 520065"/>
                <a:gd name="connsiteX94" fmla="*/ 157163 w 286702"/>
                <a:gd name="connsiteY94" fmla="*/ 165735 h 520065"/>
                <a:gd name="connsiteX95" fmla="*/ 149543 w 286702"/>
                <a:gd name="connsiteY95" fmla="*/ 174308 h 520065"/>
                <a:gd name="connsiteX96" fmla="*/ 148590 w 286702"/>
                <a:gd name="connsiteY96" fmla="*/ 182880 h 520065"/>
                <a:gd name="connsiteX97" fmla="*/ 146685 w 286702"/>
                <a:gd name="connsiteY97" fmla="*/ 194310 h 520065"/>
                <a:gd name="connsiteX98" fmla="*/ 145733 w 286702"/>
                <a:gd name="connsiteY98" fmla="*/ 198120 h 520065"/>
                <a:gd name="connsiteX99" fmla="*/ 143828 w 286702"/>
                <a:gd name="connsiteY99" fmla="*/ 198120 h 520065"/>
                <a:gd name="connsiteX100" fmla="*/ 140970 w 286702"/>
                <a:gd name="connsiteY100" fmla="*/ 191453 h 520065"/>
                <a:gd name="connsiteX101" fmla="*/ 140970 w 286702"/>
                <a:gd name="connsiteY101" fmla="*/ 179070 h 520065"/>
                <a:gd name="connsiteX102" fmla="*/ 136208 w 286702"/>
                <a:gd name="connsiteY102" fmla="*/ 177165 h 520065"/>
                <a:gd name="connsiteX103" fmla="*/ 129540 w 286702"/>
                <a:gd name="connsiteY103" fmla="*/ 177165 h 520065"/>
                <a:gd name="connsiteX104" fmla="*/ 123825 w 286702"/>
                <a:gd name="connsiteY104" fmla="*/ 178118 h 520065"/>
                <a:gd name="connsiteX105" fmla="*/ 123825 w 286702"/>
                <a:gd name="connsiteY105" fmla="*/ 181928 h 520065"/>
                <a:gd name="connsiteX106" fmla="*/ 119063 w 286702"/>
                <a:gd name="connsiteY106" fmla="*/ 182880 h 520065"/>
                <a:gd name="connsiteX107" fmla="*/ 113348 w 286702"/>
                <a:gd name="connsiteY107" fmla="*/ 180023 h 520065"/>
                <a:gd name="connsiteX108" fmla="*/ 103823 w 286702"/>
                <a:gd name="connsiteY108" fmla="*/ 180023 h 520065"/>
                <a:gd name="connsiteX109" fmla="*/ 94298 w 286702"/>
                <a:gd name="connsiteY109" fmla="*/ 188595 h 520065"/>
                <a:gd name="connsiteX110" fmla="*/ 88583 w 286702"/>
                <a:gd name="connsiteY110" fmla="*/ 200025 h 520065"/>
                <a:gd name="connsiteX111" fmla="*/ 86678 w 286702"/>
                <a:gd name="connsiteY111" fmla="*/ 212408 h 520065"/>
                <a:gd name="connsiteX112" fmla="*/ 89535 w 286702"/>
                <a:gd name="connsiteY112" fmla="*/ 220028 h 520065"/>
                <a:gd name="connsiteX113" fmla="*/ 92392 w 286702"/>
                <a:gd name="connsiteY113" fmla="*/ 224790 h 520065"/>
                <a:gd name="connsiteX114" fmla="*/ 102870 w 286702"/>
                <a:gd name="connsiteY114" fmla="*/ 224790 h 520065"/>
                <a:gd name="connsiteX115" fmla="*/ 107633 w 286702"/>
                <a:gd name="connsiteY115" fmla="*/ 217170 h 520065"/>
                <a:gd name="connsiteX116" fmla="*/ 120015 w 286702"/>
                <a:gd name="connsiteY116" fmla="*/ 215265 h 520065"/>
                <a:gd name="connsiteX117" fmla="*/ 120015 w 286702"/>
                <a:gd name="connsiteY117" fmla="*/ 219075 h 520065"/>
                <a:gd name="connsiteX118" fmla="*/ 111442 w 286702"/>
                <a:gd name="connsiteY118" fmla="*/ 234315 h 520065"/>
                <a:gd name="connsiteX119" fmla="*/ 110490 w 286702"/>
                <a:gd name="connsiteY119" fmla="*/ 237173 h 520065"/>
                <a:gd name="connsiteX120" fmla="*/ 126683 w 286702"/>
                <a:gd name="connsiteY120" fmla="*/ 238125 h 520065"/>
                <a:gd name="connsiteX121" fmla="*/ 124778 w 286702"/>
                <a:gd name="connsiteY121" fmla="*/ 252413 h 520065"/>
                <a:gd name="connsiteX122" fmla="*/ 124778 w 286702"/>
                <a:gd name="connsiteY122" fmla="*/ 259080 h 520065"/>
                <a:gd name="connsiteX123" fmla="*/ 127635 w 286702"/>
                <a:gd name="connsiteY123" fmla="*/ 260985 h 520065"/>
                <a:gd name="connsiteX124" fmla="*/ 129540 w 286702"/>
                <a:gd name="connsiteY124" fmla="*/ 264795 h 520065"/>
                <a:gd name="connsiteX125" fmla="*/ 133350 w 286702"/>
                <a:gd name="connsiteY125" fmla="*/ 266700 h 520065"/>
                <a:gd name="connsiteX126" fmla="*/ 137160 w 286702"/>
                <a:gd name="connsiteY126" fmla="*/ 264795 h 520065"/>
                <a:gd name="connsiteX127" fmla="*/ 140018 w 286702"/>
                <a:gd name="connsiteY127" fmla="*/ 263843 h 520065"/>
                <a:gd name="connsiteX128" fmla="*/ 141923 w 286702"/>
                <a:gd name="connsiteY128" fmla="*/ 264795 h 520065"/>
                <a:gd name="connsiteX129" fmla="*/ 143828 w 286702"/>
                <a:gd name="connsiteY129" fmla="*/ 266700 h 520065"/>
                <a:gd name="connsiteX130" fmla="*/ 144780 w 286702"/>
                <a:gd name="connsiteY130" fmla="*/ 268605 h 520065"/>
                <a:gd name="connsiteX131" fmla="*/ 147638 w 286702"/>
                <a:gd name="connsiteY131" fmla="*/ 268605 h 520065"/>
                <a:gd name="connsiteX132" fmla="*/ 150495 w 286702"/>
                <a:gd name="connsiteY132" fmla="*/ 259080 h 520065"/>
                <a:gd name="connsiteX133" fmla="*/ 155258 w 286702"/>
                <a:gd name="connsiteY133" fmla="*/ 257175 h 520065"/>
                <a:gd name="connsiteX134" fmla="*/ 160973 w 286702"/>
                <a:gd name="connsiteY134" fmla="*/ 254318 h 520065"/>
                <a:gd name="connsiteX135" fmla="*/ 164783 w 286702"/>
                <a:gd name="connsiteY135" fmla="*/ 251460 h 520065"/>
                <a:gd name="connsiteX136" fmla="*/ 166688 w 286702"/>
                <a:gd name="connsiteY136" fmla="*/ 252413 h 520065"/>
                <a:gd name="connsiteX137" fmla="*/ 166688 w 286702"/>
                <a:gd name="connsiteY137" fmla="*/ 254318 h 520065"/>
                <a:gd name="connsiteX138" fmla="*/ 163830 w 286702"/>
                <a:gd name="connsiteY138" fmla="*/ 256223 h 520065"/>
                <a:gd name="connsiteX139" fmla="*/ 163830 w 286702"/>
                <a:gd name="connsiteY139" fmla="*/ 259080 h 520065"/>
                <a:gd name="connsiteX140" fmla="*/ 162878 w 286702"/>
                <a:gd name="connsiteY140" fmla="*/ 260033 h 520065"/>
                <a:gd name="connsiteX141" fmla="*/ 161925 w 286702"/>
                <a:gd name="connsiteY141" fmla="*/ 263843 h 520065"/>
                <a:gd name="connsiteX142" fmla="*/ 163830 w 286702"/>
                <a:gd name="connsiteY142" fmla="*/ 265748 h 520065"/>
                <a:gd name="connsiteX143" fmla="*/ 167640 w 286702"/>
                <a:gd name="connsiteY143" fmla="*/ 264795 h 520065"/>
                <a:gd name="connsiteX144" fmla="*/ 167640 w 286702"/>
                <a:gd name="connsiteY144" fmla="*/ 258128 h 520065"/>
                <a:gd name="connsiteX145" fmla="*/ 169545 w 286702"/>
                <a:gd name="connsiteY145" fmla="*/ 253365 h 520065"/>
                <a:gd name="connsiteX146" fmla="*/ 172403 w 286702"/>
                <a:gd name="connsiteY146" fmla="*/ 253365 h 520065"/>
                <a:gd name="connsiteX147" fmla="*/ 180023 w 286702"/>
                <a:gd name="connsiteY147" fmla="*/ 260033 h 520065"/>
                <a:gd name="connsiteX148" fmla="*/ 186690 w 286702"/>
                <a:gd name="connsiteY148" fmla="*/ 260985 h 520065"/>
                <a:gd name="connsiteX149" fmla="*/ 190500 w 286702"/>
                <a:gd name="connsiteY149" fmla="*/ 260033 h 520065"/>
                <a:gd name="connsiteX150" fmla="*/ 193358 w 286702"/>
                <a:gd name="connsiteY150" fmla="*/ 259080 h 520065"/>
                <a:gd name="connsiteX151" fmla="*/ 195263 w 286702"/>
                <a:gd name="connsiteY151" fmla="*/ 260033 h 520065"/>
                <a:gd name="connsiteX152" fmla="*/ 198120 w 286702"/>
                <a:gd name="connsiteY152" fmla="*/ 264795 h 520065"/>
                <a:gd name="connsiteX153" fmla="*/ 202883 w 286702"/>
                <a:gd name="connsiteY153" fmla="*/ 268605 h 520065"/>
                <a:gd name="connsiteX154" fmla="*/ 205740 w 286702"/>
                <a:gd name="connsiteY154" fmla="*/ 272415 h 520065"/>
                <a:gd name="connsiteX155" fmla="*/ 211455 w 286702"/>
                <a:gd name="connsiteY155" fmla="*/ 278130 h 520065"/>
                <a:gd name="connsiteX156" fmla="*/ 223838 w 286702"/>
                <a:gd name="connsiteY156" fmla="*/ 280035 h 520065"/>
                <a:gd name="connsiteX157" fmla="*/ 227648 w 286702"/>
                <a:gd name="connsiteY157" fmla="*/ 284798 h 520065"/>
                <a:gd name="connsiteX158" fmla="*/ 231458 w 286702"/>
                <a:gd name="connsiteY158" fmla="*/ 289560 h 520065"/>
                <a:gd name="connsiteX159" fmla="*/ 233363 w 286702"/>
                <a:gd name="connsiteY159" fmla="*/ 296228 h 520065"/>
                <a:gd name="connsiteX160" fmla="*/ 232410 w 286702"/>
                <a:gd name="connsiteY160" fmla="*/ 300990 h 520065"/>
                <a:gd name="connsiteX161" fmla="*/ 230505 w 286702"/>
                <a:gd name="connsiteY161" fmla="*/ 303848 h 520065"/>
                <a:gd name="connsiteX162" fmla="*/ 228600 w 286702"/>
                <a:gd name="connsiteY162" fmla="*/ 306705 h 520065"/>
                <a:gd name="connsiteX163" fmla="*/ 228600 w 286702"/>
                <a:gd name="connsiteY163" fmla="*/ 308610 h 520065"/>
                <a:gd name="connsiteX164" fmla="*/ 230505 w 286702"/>
                <a:gd name="connsiteY164" fmla="*/ 308610 h 520065"/>
                <a:gd name="connsiteX165" fmla="*/ 230505 w 286702"/>
                <a:gd name="connsiteY165" fmla="*/ 306705 h 520065"/>
                <a:gd name="connsiteX166" fmla="*/ 235268 w 286702"/>
                <a:gd name="connsiteY166" fmla="*/ 304800 h 520065"/>
                <a:gd name="connsiteX167" fmla="*/ 236220 w 286702"/>
                <a:gd name="connsiteY167" fmla="*/ 303848 h 520065"/>
                <a:gd name="connsiteX168" fmla="*/ 240030 w 286702"/>
                <a:gd name="connsiteY168" fmla="*/ 303848 h 520065"/>
                <a:gd name="connsiteX169" fmla="*/ 240030 w 286702"/>
                <a:gd name="connsiteY169" fmla="*/ 304800 h 520065"/>
                <a:gd name="connsiteX170" fmla="*/ 240030 w 286702"/>
                <a:gd name="connsiteY170" fmla="*/ 306705 h 520065"/>
                <a:gd name="connsiteX171" fmla="*/ 239078 w 286702"/>
                <a:gd name="connsiteY171" fmla="*/ 308610 h 520065"/>
                <a:gd name="connsiteX172" fmla="*/ 237173 w 286702"/>
                <a:gd name="connsiteY172" fmla="*/ 309563 h 520065"/>
                <a:gd name="connsiteX173" fmla="*/ 235268 w 286702"/>
                <a:gd name="connsiteY173" fmla="*/ 309563 h 520065"/>
                <a:gd name="connsiteX174" fmla="*/ 235268 w 286702"/>
                <a:gd name="connsiteY174" fmla="*/ 310515 h 520065"/>
                <a:gd name="connsiteX175" fmla="*/ 235268 w 286702"/>
                <a:gd name="connsiteY175" fmla="*/ 312420 h 520065"/>
                <a:gd name="connsiteX176" fmla="*/ 239078 w 286702"/>
                <a:gd name="connsiteY176" fmla="*/ 312420 h 520065"/>
                <a:gd name="connsiteX177" fmla="*/ 241935 w 286702"/>
                <a:gd name="connsiteY177" fmla="*/ 309563 h 520065"/>
                <a:gd name="connsiteX178" fmla="*/ 242888 w 286702"/>
                <a:gd name="connsiteY178" fmla="*/ 305753 h 520065"/>
                <a:gd name="connsiteX179" fmla="*/ 245745 w 286702"/>
                <a:gd name="connsiteY179" fmla="*/ 305753 h 520065"/>
                <a:gd name="connsiteX180" fmla="*/ 248603 w 286702"/>
                <a:gd name="connsiteY180" fmla="*/ 308610 h 520065"/>
                <a:gd name="connsiteX181" fmla="*/ 252413 w 286702"/>
                <a:gd name="connsiteY181" fmla="*/ 310515 h 520065"/>
                <a:gd name="connsiteX182" fmla="*/ 261938 w 286702"/>
                <a:gd name="connsiteY182" fmla="*/ 315278 h 520065"/>
                <a:gd name="connsiteX183" fmla="*/ 269558 w 286702"/>
                <a:gd name="connsiteY183" fmla="*/ 315278 h 520065"/>
                <a:gd name="connsiteX184" fmla="*/ 280035 w 286702"/>
                <a:gd name="connsiteY184" fmla="*/ 321945 h 520065"/>
                <a:gd name="connsiteX185" fmla="*/ 283845 w 286702"/>
                <a:gd name="connsiteY185" fmla="*/ 321945 h 520065"/>
                <a:gd name="connsiteX186" fmla="*/ 286703 w 286702"/>
                <a:gd name="connsiteY186" fmla="*/ 336233 h 520065"/>
                <a:gd name="connsiteX187" fmla="*/ 273368 w 286702"/>
                <a:gd name="connsiteY187" fmla="*/ 353378 h 520065"/>
                <a:gd name="connsiteX188" fmla="*/ 275273 w 286702"/>
                <a:gd name="connsiteY188" fmla="*/ 361950 h 520065"/>
                <a:gd name="connsiteX189" fmla="*/ 275273 w 286702"/>
                <a:gd name="connsiteY189" fmla="*/ 370523 h 520065"/>
                <a:gd name="connsiteX190" fmla="*/ 271463 w 286702"/>
                <a:gd name="connsiteY190" fmla="*/ 383858 h 520065"/>
                <a:gd name="connsiteX191" fmla="*/ 268605 w 286702"/>
                <a:gd name="connsiteY191" fmla="*/ 393383 h 520065"/>
                <a:gd name="connsiteX192" fmla="*/ 258128 w 286702"/>
                <a:gd name="connsiteY192" fmla="*/ 397193 h 520065"/>
                <a:gd name="connsiteX193" fmla="*/ 248603 w 286702"/>
                <a:gd name="connsiteY193" fmla="*/ 402908 h 520065"/>
                <a:gd name="connsiteX194" fmla="*/ 247650 w 286702"/>
                <a:gd name="connsiteY194" fmla="*/ 417195 h 520065"/>
                <a:gd name="connsiteX195" fmla="*/ 243840 w 286702"/>
                <a:gd name="connsiteY195" fmla="*/ 427672 h 520065"/>
                <a:gd name="connsiteX196" fmla="*/ 240030 w 286702"/>
                <a:gd name="connsiteY196" fmla="*/ 437197 h 520065"/>
                <a:gd name="connsiteX197" fmla="*/ 236220 w 286702"/>
                <a:gd name="connsiteY197" fmla="*/ 442913 h 520065"/>
                <a:gd name="connsiteX198" fmla="*/ 233363 w 286702"/>
                <a:gd name="connsiteY198" fmla="*/ 442913 h 520065"/>
                <a:gd name="connsiteX199" fmla="*/ 225743 w 286702"/>
                <a:gd name="connsiteY199" fmla="*/ 439103 h 520065"/>
                <a:gd name="connsiteX200" fmla="*/ 221933 w 286702"/>
                <a:gd name="connsiteY200" fmla="*/ 438150 h 520065"/>
                <a:gd name="connsiteX201" fmla="*/ 230505 w 286702"/>
                <a:gd name="connsiteY201" fmla="*/ 448628 h 520065"/>
                <a:gd name="connsiteX202" fmla="*/ 227648 w 286702"/>
                <a:gd name="connsiteY202" fmla="*/ 454343 h 520065"/>
                <a:gd name="connsiteX203" fmla="*/ 224790 w 286702"/>
                <a:gd name="connsiteY203" fmla="*/ 458153 h 520065"/>
                <a:gd name="connsiteX204" fmla="*/ 219075 w 286702"/>
                <a:gd name="connsiteY204" fmla="*/ 458153 h 520065"/>
                <a:gd name="connsiteX205" fmla="*/ 216218 w 286702"/>
                <a:gd name="connsiteY205" fmla="*/ 460058 h 520065"/>
                <a:gd name="connsiteX206" fmla="*/ 216218 w 286702"/>
                <a:gd name="connsiteY206" fmla="*/ 461963 h 520065"/>
                <a:gd name="connsiteX207" fmla="*/ 217170 w 286702"/>
                <a:gd name="connsiteY207" fmla="*/ 462915 h 520065"/>
                <a:gd name="connsiteX208" fmla="*/ 216218 w 286702"/>
                <a:gd name="connsiteY208" fmla="*/ 466725 h 520065"/>
                <a:gd name="connsiteX209" fmla="*/ 211455 w 286702"/>
                <a:gd name="connsiteY209" fmla="*/ 468630 h 520065"/>
                <a:gd name="connsiteX210" fmla="*/ 211455 w 286702"/>
                <a:gd name="connsiteY210" fmla="*/ 468630 h 520065"/>
                <a:gd name="connsiteX211" fmla="*/ 211455 w 286702"/>
                <a:gd name="connsiteY211" fmla="*/ 471488 h 520065"/>
                <a:gd name="connsiteX212" fmla="*/ 214313 w 286702"/>
                <a:gd name="connsiteY212" fmla="*/ 475297 h 520065"/>
                <a:gd name="connsiteX213" fmla="*/ 213360 w 286702"/>
                <a:gd name="connsiteY213" fmla="*/ 481965 h 520065"/>
                <a:gd name="connsiteX214" fmla="*/ 209550 w 286702"/>
                <a:gd name="connsiteY214" fmla="*/ 488633 h 520065"/>
                <a:gd name="connsiteX215" fmla="*/ 217170 w 286702"/>
                <a:gd name="connsiteY215" fmla="*/ 493395 h 520065"/>
                <a:gd name="connsiteX216" fmla="*/ 217170 w 286702"/>
                <a:gd name="connsiteY216" fmla="*/ 497205 h 520065"/>
                <a:gd name="connsiteX217" fmla="*/ 215265 w 286702"/>
                <a:gd name="connsiteY217" fmla="*/ 500063 h 520065"/>
                <a:gd name="connsiteX218" fmla="*/ 215265 w 286702"/>
                <a:gd name="connsiteY218" fmla="*/ 507683 h 520065"/>
                <a:gd name="connsiteX219" fmla="*/ 217170 w 286702"/>
                <a:gd name="connsiteY219" fmla="*/ 513397 h 520065"/>
                <a:gd name="connsiteX220" fmla="*/ 214313 w 286702"/>
                <a:gd name="connsiteY220" fmla="*/ 517208 h 520065"/>
                <a:gd name="connsiteX221" fmla="*/ 214313 w 286702"/>
                <a:gd name="connsiteY221" fmla="*/ 520065 h 520065"/>
                <a:gd name="connsiteX222" fmla="*/ 212408 w 286702"/>
                <a:gd name="connsiteY222" fmla="*/ 520065 h 520065"/>
                <a:gd name="connsiteX223" fmla="*/ 207645 w 286702"/>
                <a:gd name="connsiteY223" fmla="*/ 517208 h 520065"/>
                <a:gd name="connsiteX224" fmla="*/ 206693 w 286702"/>
                <a:gd name="connsiteY224" fmla="*/ 513397 h 520065"/>
                <a:gd name="connsiteX225" fmla="*/ 203835 w 286702"/>
                <a:gd name="connsiteY225" fmla="*/ 512445 h 520065"/>
                <a:gd name="connsiteX226" fmla="*/ 193358 w 286702"/>
                <a:gd name="connsiteY226" fmla="*/ 494347 h 520065"/>
                <a:gd name="connsiteX227" fmla="*/ 191453 w 286702"/>
                <a:gd name="connsiteY227" fmla="*/ 493395 h 520065"/>
                <a:gd name="connsiteX228" fmla="*/ 189548 w 286702"/>
                <a:gd name="connsiteY228" fmla="*/ 492443 h 520065"/>
                <a:gd name="connsiteX229" fmla="*/ 189548 w 286702"/>
                <a:gd name="connsiteY229" fmla="*/ 490538 h 520065"/>
                <a:gd name="connsiteX230" fmla="*/ 192405 w 286702"/>
                <a:gd name="connsiteY230" fmla="*/ 488633 h 520065"/>
                <a:gd name="connsiteX231" fmla="*/ 192405 w 286702"/>
                <a:gd name="connsiteY231" fmla="*/ 484822 h 520065"/>
                <a:gd name="connsiteX232" fmla="*/ 188595 w 286702"/>
                <a:gd name="connsiteY232" fmla="*/ 472440 h 520065"/>
                <a:gd name="connsiteX233" fmla="*/ 181928 w 286702"/>
                <a:gd name="connsiteY233" fmla="*/ 468630 h 520065"/>
                <a:gd name="connsiteX234" fmla="*/ 180975 w 286702"/>
                <a:gd name="connsiteY234" fmla="*/ 464820 h 520065"/>
                <a:gd name="connsiteX235" fmla="*/ 180975 w 286702"/>
                <a:gd name="connsiteY235" fmla="*/ 460058 h 520065"/>
                <a:gd name="connsiteX236" fmla="*/ 179070 w 286702"/>
                <a:gd name="connsiteY236" fmla="*/ 456247 h 520065"/>
                <a:gd name="connsiteX237" fmla="*/ 180023 w 286702"/>
                <a:gd name="connsiteY237" fmla="*/ 447675 h 520065"/>
                <a:gd name="connsiteX238" fmla="*/ 180975 w 286702"/>
                <a:gd name="connsiteY238" fmla="*/ 446722 h 520065"/>
                <a:gd name="connsiteX239" fmla="*/ 180975 w 286702"/>
                <a:gd name="connsiteY239" fmla="*/ 435293 h 520065"/>
                <a:gd name="connsiteX240" fmla="*/ 178118 w 286702"/>
                <a:gd name="connsiteY240" fmla="*/ 431483 h 520065"/>
                <a:gd name="connsiteX241" fmla="*/ 178118 w 286702"/>
                <a:gd name="connsiteY241" fmla="*/ 419100 h 520065"/>
                <a:gd name="connsiteX242" fmla="*/ 177165 w 286702"/>
                <a:gd name="connsiteY242" fmla="*/ 413385 h 520065"/>
                <a:gd name="connsiteX243" fmla="*/ 176213 w 286702"/>
                <a:gd name="connsiteY243" fmla="*/ 407670 h 520065"/>
                <a:gd name="connsiteX244" fmla="*/ 175260 w 286702"/>
                <a:gd name="connsiteY244" fmla="*/ 400050 h 520065"/>
                <a:gd name="connsiteX245" fmla="*/ 175260 w 286702"/>
                <a:gd name="connsiteY245" fmla="*/ 393383 h 520065"/>
                <a:gd name="connsiteX246" fmla="*/ 174308 w 286702"/>
                <a:gd name="connsiteY246" fmla="*/ 387668 h 520065"/>
                <a:gd name="connsiteX247" fmla="*/ 172403 w 286702"/>
                <a:gd name="connsiteY247" fmla="*/ 381000 h 520065"/>
                <a:gd name="connsiteX248" fmla="*/ 171450 w 286702"/>
                <a:gd name="connsiteY248" fmla="*/ 378143 h 520065"/>
                <a:gd name="connsiteX249" fmla="*/ 163830 w 286702"/>
                <a:gd name="connsiteY249" fmla="*/ 372428 h 520065"/>
                <a:gd name="connsiteX250" fmla="*/ 160020 w 286702"/>
                <a:gd name="connsiteY250" fmla="*/ 368618 h 520065"/>
                <a:gd name="connsiteX251" fmla="*/ 151448 w 286702"/>
                <a:gd name="connsiteY251" fmla="*/ 360045 h 520065"/>
                <a:gd name="connsiteX252" fmla="*/ 147638 w 286702"/>
                <a:gd name="connsiteY252" fmla="*/ 353378 h 520065"/>
                <a:gd name="connsiteX253" fmla="*/ 143828 w 286702"/>
                <a:gd name="connsiteY253" fmla="*/ 348615 h 520065"/>
                <a:gd name="connsiteX254" fmla="*/ 140018 w 286702"/>
                <a:gd name="connsiteY254" fmla="*/ 340995 h 520065"/>
                <a:gd name="connsiteX255" fmla="*/ 139065 w 286702"/>
                <a:gd name="connsiteY255" fmla="*/ 338138 h 520065"/>
                <a:gd name="connsiteX256" fmla="*/ 137160 w 286702"/>
                <a:gd name="connsiteY256" fmla="*/ 332423 h 520065"/>
                <a:gd name="connsiteX257" fmla="*/ 130492 w 286702"/>
                <a:gd name="connsiteY257" fmla="*/ 328613 h 520065"/>
                <a:gd name="connsiteX258" fmla="*/ 130492 w 286702"/>
                <a:gd name="connsiteY258" fmla="*/ 320040 h 520065"/>
                <a:gd name="connsiteX259" fmla="*/ 134303 w 286702"/>
                <a:gd name="connsiteY259" fmla="*/ 316230 h 520065"/>
                <a:gd name="connsiteX260" fmla="*/ 134303 w 286702"/>
                <a:gd name="connsiteY260" fmla="*/ 314325 h 520065"/>
                <a:gd name="connsiteX261" fmla="*/ 131445 w 286702"/>
                <a:gd name="connsiteY261" fmla="*/ 314325 h 520065"/>
                <a:gd name="connsiteX262" fmla="*/ 131445 w 286702"/>
                <a:gd name="connsiteY262" fmla="*/ 308610 h 520065"/>
                <a:gd name="connsiteX263" fmla="*/ 133350 w 286702"/>
                <a:gd name="connsiteY263" fmla="*/ 299085 h 520065"/>
                <a:gd name="connsiteX264" fmla="*/ 141923 w 286702"/>
                <a:gd name="connsiteY264" fmla="*/ 290513 h 520065"/>
                <a:gd name="connsiteX265" fmla="*/ 141923 w 286702"/>
                <a:gd name="connsiteY265" fmla="*/ 278130 h 520065"/>
                <a:gd name="connsiteX266" fmla="*/ 141923 w 286702"/>
                <a:gd name="connsiteY266" fmla="*/ 273368 h 520065"/>
                <a:gd name="connsiteX267" fmla="*/ 140970 w 286702"/>
                <a:gd name="connsiteY267" fmla="*/ 269558 h 520065"/>
                <a:gd name="connsiteX268" fmla="*/ 139065 w 286702"/>
                <a:gd name="connsiteY268" fmla="*/ 268605 h 520065"/>
                <a:gd name="connsiteX269" fmla="*/ 138113 w 286702"/>
                <a:gd name="connsiteY269" fmla="*/ 268605 h 520065"/>
                <a:gd name="connsiteX270" fmla="*/ 136208 w 286702"/>
                <a:gd name="connsiteY270" fmla="*/ 269558 h 520065"/>
                <a:gd name="connsiteX271" fmla="*/ 135255 w 286702"/>
                <a:gd name="connsiteY271" fmla="*/ 273368 h 520065"/>
                <a:gd name="connsiteX272" fmla="*/ 131445 w 286702"/>
                <a:gd name="connsiteY272" fmla="*/ 273368 h 520065"/>
                <a:gd name="connsiteX273" fmla="*/ 125730 w 286702"/>
                <a:gd name="connsiteY273" fmla="*/ 267653 h 520065"/>
                <a:gd name="connsiteX274" fmla="*/ 119063 w 286702"/>
                <a:gd name="connsiteY274" fmla="*/ 263843 h 520065"/>
                <a:gd name="connsiteX275" fmla="*/ 117158 w 286702"/>
                <a:gd name="connsiteY275" fmla="*/ 260985 h 520065"/>
                <a:gd name="connsiteX276" fmla="*/ 116205 w 286702"/>
                <a:gd name="connsiteY276" fmla="*/ 256223 h 520065"/>
                <a:gd name="connsiteX277" fmla="*/ 114300 w 286702"/>
                <a:gd name="connsiteY277" fmla="*/ 252413 h 520065"/>
                <a:gd name="connsiteX278" fmla="*/ 112395 w 286702"/>
                <a:gd name="connsiteY278" fmla="*/ 248603 h 520065"/>
                <a:gd name="connsiteX279" fmla="*/ 107633 w 286702"/>
                <a:gd name="connsiteY279" fmla="*/ 248603 h 520065"/>
                <a:gd name="connsiteX280" fmla="*/ 101917 w 286702"/>
                <a:gd name="connsiteY280" fmla="*/ 243840 h 520065"/>
                <a:gd name="connsiteX281" fmla="*/ 99060 w 286702"/>
                <a:gd name="connsiteY281" fmla="*/ 241935 h 520065"/>
                <a:gd name="connsiteX282" fmla="*/ 96203 w 286702"/>
                <a:gd name="connsiteY282" fmla="*/ 240030 h 520065"/>
                <a:gd name="connsiteX283" fmla="*/ 93345 w 286702"/>
                <a:gd name="connsiteY283" fmla="*/ 236220 h 520065"/>
                <a:gd name="connsiteX284" fmla="*/ 91440 w 286702"/>
                <a:gd name="connsiteY284" fmla="*/ 234315 h 520065"/>
                <a:gd name="connsiteX285" fmla="*/ 89535 w 286702"/>
                <a:gd name="connsiteY285" fmla="*/ 236220 h 520065"/>
                <a:gd name="connsiteX286" fmla="*/ 85725 w 286702"/>
                <a:gd name="connsiteY286" fmla="*/ 238125 h 520065"/>
                <a:gd name="connsiteX287" fmla="*/ 73342 w 286702"/>
                <a:gd name="connsiteY287" fmla="*/ 230505 h 520065"/>
                <a:gd name="connsiteX288" fmla="*/ 66675 w 286702"/>
                <a:gd name="connsiteY288" fmla="*/ 226695 h 520065"/>
                <a:gd name="connsiteX289" fmla="*/ 60960 w 286702"/>
                <a:gd name="connsiteY289" fmla="*/ 221933 h 520065"/>
                <a:gd name="connsiteX290" fmla="*/ 58103 w 286702"/>
                <a:gd name="connsiteY290" fmla="*/ 218123 h 520065"/>
                <a:gd name="connsiteX291" fmla="*/ 59055 w 286702"/>
                <a:gd name="connsiteY291" fmla="*/ 214313 h 520065"/>
                <a:gd name="connsiteX292" fmla="*/ 59055 w 286702"/>
                <a:gd name="connsiteY292" fmla="*/ 204788 h 520065"/>
                <a:gd name="connsiteX293" fmla="*/ 53340 w 286702"/>
                <a:gd name="connsiteY293" fmla="*/ 193358 h 520065"/>
                <a:gd name="connsiteX294" fmla="*/ 49530 w 286702"/>
                <a:gd name="connsiteY294" fmla="*/ 183833 h 520065"/>
                <a:gd name="connsiteX295" fmla="*/ 47625 w 286702"/>
                <a:gd name="connsiteY295" fmla="*/ 176213 h 520065"/>
                <a:gd name="connsiteX296" fmla="*/ 47625 w 286702"/>
                <a:gd name="connsiteY296" fmla="*/ 165735 h 520065"/>
                <a:gd name="connsiteX297" fmla="*/ 47625 w 286702"/>
                <a:gd name="connsiteY297" fmla="*/ 160020 h 520065"/>
                <a:gd name="connsiteX298" fmla="*/ 45720 w 286702"/>
                <a:gd name="connsiteY298" fmla="*/ 160020 h 520065"/>
                <a:gd name="connsiteX299" fmla="*/ 44768 w 286702"/>
                <a:gd name="connsiteY299" fmla="*/ 163830 h 520065"/>
                <a:gd name="connsiteX300" fmla="*/ 42862 w 286702"/>
                <a:gd name="connsiteY300" fmla="*/ 171450 h 520065"/>
                <a:gd name="connsiteX301" fmla="*/ 41910 w 286702"/>
                <a:gd name="connsiteY301" fmla="*/ 176213 h 520065"/>
                <a:gd name="connsiteX302" fmla="*/ 43815 w 286702"/>
                <a:gd name="connsiteY302" fmla="*/ 180975 h 520065"/>
                <a:gd name="connsiteX303" fmla="*/ 46673 w 286702"/>
                <a:gd name="connsiteY303" fmla="*/ 191453 h 520065"/>
                <a:gd name="connsiteX304" fmla="*/ 49530 w 286702"/>
                <a:gd name="connsiteY304" fmla="*/ 201930 h 520065"/>
                <a:gd name="connsiteX305" fmla="*/ 49530 w 286702"/>
                <a:gd name="connsiteY305" fmla="*/ 203835 h 520065"/>
                <a:gd name="connsiteX306" fmla="*/ 46673 w 286702"/>
                <a:gd name="connsiteY306" fmla="*/ 203835 h 520065"/>
                <a:gd name="connsiteX307" fmla="*/ 44768 w 286702"/>
                <a:gd name="connsiteY307" fmla="*/ 198120 h 520065"/>
                <a:gd name="connsiteX308" fmla="*/ 41910 w 286702"/>
                <a:gd name="connsiteY308" fmla="*/ 193358 h 520065"/>
                <a:gd name="connsiteX309" fmla="*/ 39053 w 286702"/>
                <a:gd name="connsiteY309" fmla="*/ 186690 h 520065"/>
                <a:gd name="connsiteX310" fmla="*/ 38100 w 286702"/>
                <a:gd name="connsiteY310" fmla="*/ 182880 h 520065"/>
                <a:gd name="connsiteX311" fmla="*/ 40005 w 286702"/>
                <a:gd name="connsiteY311" fmla="*/ 177165 h 520065"/>
                <a:gd name="connsiteX312" fmla="*/ 39053 w 286702"/>
                <a:gd name="connsiteY312" fmla="*/ 173355 h 520065"/>
                <a:gd name="connsiteX313" fmla="*/ 38100 w 286702"/>
                <a:gd name="connsiteY313" fmla="*/ 167640 h 520065"/>
                <a:gd name="connsiteX314" fmla="*/ 37148 w 286702"/>
                <a:gd name="connsiteY314" fmla="*/ 163830 h 520065"/>
                <a:gd name="connsiteX315" fmla="*/ 37148 w 286702"/>
                <a:gd name="connsiteY315" fmla="*/ 158115 h 520065"/>
                <a:gd name="connsiteX316" fmla="*/ 31433 w 286702"/>
                <a:gd name="connsiteY316" fmla="*/ 153353 h 520065"/>
                <a:gd name="connsiteX317" fmla="*/ 31433 w 286702"/>
                <a:gd name="connsiteY317" fmla="*/ 145733 h 520065"/>
                <a:gd name="connsiteX318" fmla="*/ 33337 w 286702"/>
                <a:gd name="connsiteY318" fmla="*/ 137160 h 520065"/>
                <a:gd name="connsiteX319" fmla="*/ 36195 w 286702"/>
                <a:gd name="connsiteY319" fmla="*/ 127635 h 520065"/>
                <a:gd name="connsiteX320" fmla="*/ 45720 w 286702"/>
                <a:gd name="connsiteY320" fmla="*/ 111443 h 520065"/>
                <a:gd name="connsiteX321" fmla="*/ 51435 w 286702"/>
                <a:gd name="connsiteY321" fmla="*/ 100965 h 520065"/>
                <a:gd name="connsiteX322" fmla="*/ 56198 w 286702"/>
                <a:gd name="connsiteY322" fmla="*/ 95250 h 520065"/>
                <a:gd name="connsiteX323" fmla="*/ 60008 w 286702"/>
                <a:gd name="connsiteY323" fmla="*/ 95250 h 520065"/>
                <a:gd name="connsiteX324" fmla="*/ 60008 w 286702"/>
                <a:gd name="connsiteY324" fmla="*/ 97155 h 520065"/>
                <a:gd name="connsiteX325" fmla="*/ 61912 w 286702"/>
                <a:gd name="connsiteY325" fmla="*/ 98107 h 520065"/>
                <a:gd name="connsiteX326" fmla="*/ 61912 w 286702"/>
                <a:gd name="connsiteY326" fmla="*/ 94298 h 520065"/>
                <a:gd name="connsiteX327" fmla="*/ 62865 w 286702"/>
                <a:gd name="connsiteY327" fmla="*/ 86678 h 520065"/>
                <a:gd name="connsiteX328" fmla="*/ 60960 w 286702"/>
                <a:gd name="connsiteY328" fmla="*/ 81915 h 520065"/>
                <a:gd name="connsiteX329" fmla="*/ 61912 w 286702"/>
                <a:gd name="connsiteY329" fmla="*/ 76200 h 520065"/>
                <a:gd name="connsiteX330" fmla="*/ 64770 w 286702"/>
                <a:gd name="connsiteY330" fmla="*/ 65723 h 520065"/>
                <a:gd name="connsiteX331" fmla="*/ 68580 w 286702"/>
                <a:gd name="connsiteY331" fmla="*/ 57150 h 520065"/>
                <a:gd name="connsiteX332" fmla="*/ 69533 w 286702"/>
                <a:gd name="connsiteY332" fmla="*/ 52388 h 520065"/>
                <a:gd name="connsiteX333" fmla="*/ 69533 w 286702"/>
                <a:gd name="connsiteY333" fmla="*/ 50483 h 520065"/>
                <a:gd name="connsiteX334" fmla="*/ 68580 w 286702"/>
                <a:gd name="connsiteY334" fmla="*/ 50483 h 520065"/>
                <a:gd name="connsiteX335" fmla="*/ 65723 w 286702"/>
                <a:gd name="connsiteY335" fmla="*/ 51435 h 520065"/>
                <a:gd name="connsiteX336" fmla="*/ 63818 w 286702"/>
                <a:gd name="connsiteY336" fmla="*/ 51435 h 520065"/>
                <a:gd name="connsiteX337" fmla="*/ 62865 w 286702"/>
                <a:gd name="connsiteY337" fmla="*/ 49530 h 520065"/>
                <a:gd name="connsiteX338" fmla="*/ 61912 w 286702"/>
                <a:gd name="connsiteY338" fmla="*/ 47625 h 520065"/>
                <a:gd name="connsiteX339" fmla="*/ 60960 w 286702"/>
                <a:gd name="connsiteY339" fmla="*/ 44768 h 520065"/>
                <a:gd name="connsiteX340" fmla="*/ 57150 w 286702"/>
                <a:gd name="connsiteY340" fmla="*/ 43815 h 520065"/>
                <a:gd name="connsiteX341" fmla="*/ 52387 w 286702"/>
                <a:gd name="connsiteY341" fmla="*/ 40958 h 520065"/>
                <a:gd name="connsiteX342" fmla="*/ 50483 w 286702"/>
                <a:gd name="connsiteY342" fmla="*/ 39053 h 520065"/>
                <a:gd name="connsiteX343" fmla="*/ 48578 w 286702"/>
                <a:gd name="connsiteY343" fmla="*/ 39053 h 520065"/>
                <a:gd name="connsiteX344" fmla="*/ 46673 w 286702"/>
                <a:gd name="connsiteY344" fmla="*/ 40958 h 520065"/>
                <a:gd name="connsiteX345" fmla="*/ 42862 w 286702"/>
                <a:gd name="connsiteY345" fmla="*/ 42863 h 520065"/>
                <a:gd name="connsiteX346" fmla="*/ 40958 w 286702"/>
                <a:gd name="connsiteY346" fmla="*/ 43815 h 520065"/>
                <a:gd name="connsiteX347" fmla="*/ 38100 w 286702"/>
                <a:gd name="connsiteY347" fmla="*/ 43815 h 520065"/>
                <a:gd name="connsiteX348" fmla="*/ 35243 w 286702"/>
                <a:gd name="connsiteY348" fmla="*/ 43815 h 520065"/>
                <a:gd name="connsiteX349" fmla="*/ 34290 w 286702"/>
                <a:gd name="connsiteY349" fmla="*/ 42863 h 520065"/>
                <a:gd name="connsiteX350" fmla="*/ 36195 w 286702"/>
                <a:gd name="connsiteY350" fmla="*/ 40958 h 520065"/>
                <a:gd name="connsiteX351" fmla="*/ 39053 w 286702"/>
                <a:gd name="connsiteY351" fmla="*/ 40005 h 520065"/>
                <a:gd name="connsiteX352" fmla="*/ 40958 w 286702"/>
                <a:gd name="connsiteY352" fmla="*/ 38100 h 520065"/>
                <a:gd name="connsiteX353" fmla="*/ 43815 w 286702"/>
                <a:gd name="connsiteY353" fmla="*/ 36195 h 520065"/>
                <a:gd name="connsiteX354" fmla="*/ 43815 w 286702"/>
                <a:gd name="connsiteY354" fmla="*/ 34290 h 520065"/>
                <a:gd name="connsiteX355" fmla="*/ 41910 w 286702"/>
                <a:gd name="connsiteY355" fmla="*/ 34290 h 520065"/>
                <a:gd name="connsiteX356" fmla="*/ 36195 w 286702"/>
                <a:gd name="connsiteY356" fmla="*/ 37148 h 520065"/>
                <a:gd name="connsiteX357" fmla="*/ 14288 w 286702"/>
                <a:gd name="connsiteY357" fmla="*/ 48578 h 520065"/>
                <a:gd name="connsiteX358" fmla="*/ 5715 w 286702"/>
                <a:gd name="connsiteY358" fmla="*/ 53340 h 520065"/>
                <a:gd name="connsiteX359" fmla="*/ 1905 w 286702"/>
                <a:gd name="connsiteY359" fmla="*/ 54293 h 520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286702" h="520065">
                  <a:moveTo>
                    <a:pt x="0" y="54293"/>
                  </a:moveTo>
                  <a:lnTo>
                    <a:pt x="0" y="51435"/>
                  </a:lnTo>
                  <a:lnTo>
                    <a:pt x="15240" y="43815"/>
                  </a:lnTo>
                  <a:lnTo>
                    <a:pt x="15240" y="41910"/>
                  </a:lnTo>
                  <a:lnTo>
                    <a:pt x="11430" y="40958"/>
                  </a:lnTo>
                  <a:lnTo>
                    <a:pt x="11430" y="37148"/>
                  </a:lnTo>
                  <a:lnTo>
                    <a:pt x="15240" y="27623"/>
                  </a:lnTo>
                  <a:lnTo>
                    <a:pt x="21908" y="27623"/>
                  </a:lnTo>
                  <a:lnTo>
                    <a:pt x="35243" y="23813"/>
                  </a:lnTo>
                  <a:lnTo>
                    <a:pt x="38100" y="13335"/>
                  </a:lnTo>
                  <a:lnTo>
                    <a:pt x="53340" y="5715"/>
                  </a:lnTo>
                  <a:lnTo>
                    <a:pt x="64770" y="5715"/>
                  </a:lnTo>
                  <a:lnTo>
                    <a:pt x="82867" y="0"/>
                  </a:lnTo>
                  <a:lnTo>
                    <a:pt x="86678" y="0"/>
                  </a:lnTo>
                  <a:lnTo>
                    <a:pt x="100965" y="8573"/>
                  </a:lnTo>
                  <a:lnTo>
                    <a:pt x="121920" y="13335"/>
                  </a:lnTo>
                  <a:lnTo>
                    <a:pt x="143828" y="12383"/>
                  </a:lnTo>
                  <a:lnTo>
                    <a:pt x="157163" y="22860"/>
                  </a:lnTo>
                  <a:lnTo>
                    <a:pt x="161925" y="23813"/>
                  </a:lnTo>
                  <a:lnTo>
                    <a:pt x="167640" y="20955"/>
                  </a:lnTo>
                  <a:lnTo>
                    <a:pt x="172403" y="20955"/>
                  </a:lnTo>
                  <a:lnTo>
                    <a:pt x="190500" y="28575"/>
                  </a:lnTo>
                  <a:lnTo>
                    <a:pt x="201930" y="24765"/>
                  </a:lnTo>
                  <a:lnTo>
                    <a:pt x="201930" y="22860"/>
                  </a:lnTo>
                  <a:lnTo>
                    <a:pt x="200025" y="18098"/>
                  </a:lnTo>
                  <a:lnTo>
                    <a:pt x="204788" y="14288"/>
                  </a:lnTo>
                  <a:lnTo>
                    <a:pt x="207645" y="14288"/>
                  </a:lnTo>
                  <a:lnTo>
                    <a:pt x="208598" y="15240"/>
                  </a:lnTo>
                  <a:lnTo>
                    <a:pt x="209550" y="21908"/>
                  </a:lnTo>
                  <a:lnTo>
                    <a:pt x="220028" y="24765"/>
                  </a:lnTo>
                  <a:lnTo>
                    <a:pt x="220028" y="21908"/>
                  </a:lnTo>
                  <a:lnTo>
                    <a:pt x="222885" y="21908"/>
                  </a:lnTo>
                  <a:lnTo>
                    <a:pt x="225743" y="24765"/>
                  </a:lnTo>
                  <a:lnTo>
                    <a:pt x="225743" y="27623"/>
                  </a:lnTo>
                  <a:lnTo>
                    <a:pt x="220028" y="33338"/>
                  </a:lnTo>
                  <a:lnTo>
                    <a:pt x="204788" y="34290"/>
                  </a:lnTo>
                  <a:lnTo>
                    <a:pt x="194310" y="40958"/>
                  </a:lnTo>
                  <a:lnTo>
                    <a:pt x="180023" y="44768"/>
                  </a:lnTo>
                  <a:lnTo>
                    <a:pt x="175260" y="51435"/>
                  </a:lnTo>
                  <a:lnTo>
                    <a:pt x="170498" y="60008"/>
                  </a:lnTo>
                  <a:lnTo>
                    <a:pt x="169545" y="66675"/>
                  </a:lnTo>
                  <a:lnTo>
                    <a:pt x="176213" y="70485"/>
                  </a:lnTo>
                  <a:lnTo>
                    <a:pt x="181928" y="76200"/>
                  </a:lnTo>
                  <a:lnTo>
                    <a:pt x="186690" y="77153"/>
                  </a:lnTo>
                  <a:lnTo>
                    <a:pt x="186690" y="80963"/>
                  </a:lnTo>
                  <a:lnTo>
                    <a:pt x="183833" y="86678"/>
                  </a:lnTo>
                  <a:lnTo>
                    <a:pt x="183833" y="91440"/>
                  </a:lnTo>
                  <a:lnTo>
                    <a:pt x="189548" y="90488"/>
                  </a:lnTo>
                  <a:lnTo>
                    <a:pt x="197168" y="78105"/>
                  </a:lnTo>
                  <a:lnTo>
                    <a:pt x="204788" y="73343"/>
                  </a:lnTo>
                  <a:lnTo>
                    <a:pt x="205740" y="66675"/>
                  </a:lnTo>
                  <a:lnTo>
                    <a:pt x="217170" y="50483"/>
                  </a:lnTo>
                  <a:lnTo>
                    <a:pt x="227648" y="49530"/>
                  </a:lnTo>
                  <a:lnTo>
                    <a:pt x="232410" y="58103"/>
                  </a:lnTo>
                  <a:lnTo>
                    <a:pt x="232410" y="60960"/>
                  </a:lnTo>
                  <a:lnTo>
                    <a:pt x="231458" y="63818"/>
                  </a:lnTo>
                  <a:lnTo>
                    <a:pt x="238125" y="64770"/>
                  </a:lnTo>
                  <a:lnTo>
                    <a:pt x="242888" y="58103"/>
                  </a:lnTo>
                  <a:lnTo>
                    <a:pt x="244793" y="58103"/>
                  </a:lnTo>
                  <a:lnTo>
                    <a:pt x="246698" y="71438"/>
                  </a:lnTo>
                  <a:lnTo>
                    <a:pt x="253365" y="86678"/>
                  </a:lnTo>
                  <a:lnTo>
                    <a:pt x="253365" y="90488"/>
                  </a:lnTo>
                  <a:lnTo>
                    <a:pt x="251460" y="94298"/>
                  </a:lnTo>
                  <a:lnTo>
                    <a:pt x="237173" y="100965"/>
                  </a:lnTo>
                  <a:lnTo>
                    <a:pt x="231458" y="101918"/>
                  </a:lnTo>
                  <a:lnTo>
                    <a:pt x="230505" y="100013"/>
                  </a:lnTo>
                  <a:lnTo>
                    <a:pt x="219075" y="100013"/>
                  </a:lnTo>
                  <a:lnTo>
                    <a:pt x="203835" y="109538"/>
                  </a:lnTo>
                  <a:lnTo>
                    <a:pt x="203835" y="111443"/>
                  </a:lnTo>
                  <a:lnTo>
                    <a:pt x="205740" y="111443"/>
                  </a:lnTo>
                  <a:lnTo>
                    <a:pt x="215265" y="105728"/>
                  </a:lnTo>
                  <a:lnTo>
                    <a:pt x="223838" y="105728"/>
                  </a:lnTo>
                  <a:lnTo>
                    <a:pt x="223838" y="107632"/>
                  </a:lnTo>
                  <a:lnTo>
                    <a:pt x="220980" y="110490"/>
                  </a:lnTo>
                  <a:lnTo>
                    <a:pt x="220980" y="115253"/>
                  </a:lnTo>
                  <a:lnTo>
                    <a:pt x="227648" y="118110"/>
                  </a:lnTo>
                  <a:lnTo>
                    <a:pt x="226695" y="121920"/>
                  </a:lnTo>
                  <a:lnTo>
                    <a:pt x="218123" y="123825"/>
                  </a:lnTo>
                  <a:lnTo>
                    <a:pt x="215265" y="125730"/>
                  </a:lnTo>
                  <a:lnTo>
                    <a:pt x="215265" y="127635"/>
                  </a:lnTo>
                  <a:lnTo>
                    <a:pt x="213360" y="126682"/>
                  </a:lnTo>
                  <a:lnTo>
                    <a:pt x="213360" y="124778"/>
                  </a:lnTo>
                  <a:lnTo>
                    <a:pt x="217170" y="122873"/>
                  </a:lnTo>
                  <a:lnTo>
                    <a:pt x="217170" y="119063"/>
                  </a:lnTo>
                  <a:lnTo>
                    <a:pt x="209550" y="120968"/>
                  </a:lnTo>
                  <a:lnTo>
                    <a:pt x="199073" y="126682"/>
                  </a:lnTo>
                  <a:lnTo>
                    <a:pt x="195263" y="133350"/>
                  </a:lnTo>
                  <a:lnTo>
                    <a:pt x="186690" y="134303"/>
                  </a:lnTo>
                  <a:lnTo>
                    <a:pt x="179070" y="145733"/>
                  </a:lnTo>
                  <a:lnTo>
                    <a:pt x="176213" y="149543"/>
                  </a:lnTo>
                  <a:lnTo>
                    <a:pt x="173355" y="150495"/>
                  </a:lnTo>
                  <a:lnTo>
                    <a:pt x="174308" y="144780"/>
                  </a:lnTo>
                  <a:lnTo>
                    <a:pt x="172403" y="144780"/>
                  </a:lnTo>
                  <a:lnTo>
                    <a:pt x="168593" y="157163"/>
                  </a:lnTo>
                  <a:lnTo>
                    <a:pt x="157163" y="165735"/>
                  </a:lnTo>
                  <a:lnTo>
                    <a:pt x="149543" y="174308"/>
                  </a:lnTo>
                  <a:lnTo>
                    <a:pt x="148590" y="182880"/>
                  </a:lnTo>
                  <a:lnTo>
                    <a:pt x="146685" y="194310"/>
                  </a:lnTo>
                  <a:lnTo>
                    <a:pt x="145733" y="198120"/>
                  </a:lnTo>
                  <a:lnTo>
                    <a:pt x="143828" y="198120"/>
                  </a:lnTo>
                  <a:lnTo>
                    <a:pt x="140970" y="191453"/>
                  </a:lnTo>
                  <a:lnTo>
                    <a:pt x="140970" y="179070"/>
                  </a:lnTo>
                  <a:lnTo>
                    <a:pt x="136208" y="177165"/>
                  </a:lnTo>
                  <a:lnTo>
                    <a:pt x="129540" y="177165"/>
                  </a:lnTo>
                  <a:lnTo>
                    <a:pt x="123825" y="178118"/>
                  </a:lnTo>
                  <a:lnTo>
                    <a:pt x="123825" y="181928"/>
                  </a:lnTo>
                  <a:lnTo>
                    <a:pt x="119063" y="182880"/>
                  </a:lnTo>
                  <a:lnTo>
                    <a:pt x="113348" y="180023"/>
                  </a:lnTo>
                  <a:lnTo>
                    <a:pt x="103823" y="180023"/>
                  </a:lnTo>
                  <a:lnTo>
                    <a:pt x="94298" y="188595"/>
                  </a:lnTo>
                  <a:lnTo>
                    <a:pt x="88583" y="200025"/>
                  </a:lnTo>
                  <a:lnTo>
                    <a:pt x="86678" y="212408"/>
                  </a:lnTo>
                  <a:lnTo>
                    <a:pt x="89535" y="220028"/>
                  </a:lnTo>
                  <a:lnTo>
                    <a:pt x="92392" y="224790"/>
                  </a:lnTo>
                  <a:lnTo>
                    <a:pt x="102870" y="224790"/>
                  </a:lnTo>
                  <a:lnTo>
                    <a:pt x="107633" y="217170"/>
                  </a:lnTo>
                  <a:lnTo>
                    <a:pt x="120015" y="215265"/>
                  </a:lnTo>
                  <a:lnTo>
                    <a:pt x="120015" y="219075"/>
                  </a:lnTo>
                  <a:lnTo>
                    <a:pt x="111442" y="234315"/>
                  </a:lnTo>
                  <a:lnTo>
                    <a:pt x="110490" y="237173"/>
                  </a:lnTo>
                  <a:lnTo>
                    <a:pt x="126683" y="238125"/>
                  </a:lnTo>
                  <a:lnTo>
                    <a:pt x="124778" y="252413"/>
                  </a:lnTo>
                  <a:lnTo>
                    <a:pt x="124778" y="259080"/>
                  </a:lnTo>
                  <a:lnTo>
                    <a:pt x="127635" y="260985"/>
                  </a:lnTo>
                  <a:lnTo>
                    <a:pt x="129540" y="264795"/>
                  </a:lnTo>
                  <a:lnTo>
                    <a:pt x="133350" y="266700"/>
                  </a:lnTo>
                  <a:lnTo>
                    <a:pt x="137160" y="264795"/>
                  </a:lnTo>
                  <a:lnTo>
                    <a:pt x="140018" y="263843"/>
                  </a:lnTo>
                  <a:lnTo>
                    <a:pt x="141923" y="264795"/>
                  </a:lnTo>
                  <a:lnTo>
                    <a:pt x="143828" y="266700"/>
                  </a:lnTo>
                  <a:lnTo>
                    <a:pt x="144780" y="268605"/>
                  </a:lnTo>
                  <a:lnTo>
                    <a:pt x="147638" y="268605"/>
                  </a:lnTo>
                  <a:lnTo>
                    <a:pt x="150495" y="259080"/>
                  </a:lnTo>
                  <a:lnTo>
                    <a:pt x="155258" y="257175"/>
                  </a:lnTo>
                  <a:lnTo>
                    <a:pt x="160973" y="254318"/>
                  </a:lnTo>
                  <a:lnTo>
                    <a:pt x="164783" y="251460"/>
                  </a:lnTo>
                  <a:lnTo>
                    <a:pt x="166688" y="252413"/>
                  </a:lnTo>
                  <a:lnTo>
                    <a:pt x="166688" y="254318"/>
                  </a:lnTo>
                  <a:lnTo>
                    <a:pt x="163830" y="256223"/>
                  </a:lnTo>
                  <a:lnTo>
                    <a:pt x="163830" y="259080"/>
                  </a:lnTo>
                  <a:lnTo>
                    <a:pt x="162878" y="260033"/>
                  </a:lnTo>
                  <a:lnTo>
                    <a:pt x="161925" y="263843"/>
                  </a:lnTo>
                  <a:lnTo>
                    <a:pt x="163830" y="265748"/>
                  </a:lnTo>
                  <a:lnTo>
                    <a:pt x="167640" y="264795"/>
                  </a:lnTo>
                  <a:lnTo>
                    <a:pt x="167640" y="258128"/>
                  </a:lnTo>
                  <a:lnTo>
                    <a:pt x="169545" y="253365"/>
                  </a:lnTo>
                  <a:lnTo>
                    <a:pt x="172403" y="253365"/>
                  </a:lnTo>
                  <a:lnTo>
                    <a:pt x="180023" y="260033"/>
                  </a:lnTo>
                  <a:lnTo>
                    <a:pt x="186690" y="260985"/>
                  </a:lnTo>
                  <a:lnTo>
                    <a:pt x="190500" y="260033"/>
                  </a:lnTo>
                  <a:lnTo>
                    <a:pt x="193358" y="259080"/>
                  </a:lnTo>
                  <a:lnTo>
                    <a:pt x="195263" y="260033"/>
                  </a:lnTo>
                  <a:lnTo>
                    <a:pt x="198120" y="264795"/>
                  </a:lnTo>
                  <a:lnTo>
                    <a:pt x="202883" y="268605"/>
                  </a:lnTo>
                  <a:lnTo>
                    <a:pt x="205740" y="272415"/>
                  </a:lnTo>
                  <a:lnTo>
                    <a:pt x="211455" y="278130"/>
                  </a:lnTo>
                  <a:lnTo>
                    <a:pt x="223838" y="280035"/>
                  </a:lnTo>
                  <a:lnTo>
                    <a:pt x="227648" y="284798"/>
                  </a:lnTo>
                  <a:lnTo>
                    <a:pt x="231458" y="289560"/>
                  </a:lnTo>
                  <a:lnTo>
                    <a:pt x="233363" y="296228"/>
                  </a:lnTo>
                  <a:lnTo>
                    <a:pt x="232410" y="300990"/>
                  </a:lnTo>
                  <a:lnTo>
                    <a:pt x="230505" y="303848"/>
                  </a:lnTo>
                  <a:lnTo>
                    <a:pt x="228600" y="306705"/>
                  </a:lnTo>
                  <a:lnTo>
                    <a:pt x="228600" y="308610"/>
                  </a:lnTo>
                  <a:lnTo>
                    <a:pt x="230505" y="308610"/>
                  </a:lnTo>
                  <a:lnTo>
                    <a:pt x="230505" y="306705"/>
                  </a:lnTo>
                  <a:lnTo>
                    <a:pt x="235268" y="304800"/>
                  </a:lnTo>
                  <a:lnTo>
                    <a:pt x="236220" y="303848"/>
                  </a:lnTo>
                  <a:lnTo>
                    <a:pt x="240030" y="303848"/>
                  </a:lnTo>
                  <a:lnTo>
                    <a:pt x="240030" y="304800"/>
                  </a:lnTo>
                  <a:lnTo>
                    <a:pt x="240030" y="306705"/>
                  </a:lnTo>
                  <a:lnTo>
                    <a:pt x="239078" y="308610"/>
                  </a:lnTo>
                  <a:lnTo>
                    <a:pt x="237173" y="309563"/>
                  </a:lnTo>
                  <a:lnTo>
                    <a:pt x="235268" y="309563"/>
                  </a:lnTo>
                  <a:lnTo>
                    <a:pt x="235268" y="310515"/>
                  </a:lnTo>
                  <a:lnTo>
                    <a:pt x="235268" y="312420"/>
                  </a:lnTo>
                  <a:lnTo>
                    <a:pt x="239078" y="312420"/>
                  </a:lnTo>
                  <a:lnTo>
                    <a:pt x="241935" y="309563"/>
                  </a:lnTo>
                  <a:lnTo>
                    <a:pt x="242888" y="305753"/>
                  </a:lnTo>
                  <a:lnTo>
                    <a:pt x="245745" y="305753"/>
                  </a:lnTo>
                  <a:lnTo>
                    <a:pt x="248603" y="308610"/>
                  </a:lnTo>
                  <a:lnTo>
                    <a:pt x="252413" y="310515"/>
                  </a:lnTo>
                  <a:lnTo>
                    <a:pt x="261938" y="315278"/>
                  </a:lnTo>
                  <a:lnTo>
                    <a:pt x="269558" y="315278"/>
                  </a:lnTo>
                  <a:lnTo>
                    <a:pt x="280035" y="321945"/>
                  </a:lnTo>
                  <a:lnTo>
                    <a:pt x="283845" y="321945"/>
                  </a:lnTo>
                  <a:lnTo>
                    <a:pt x="286703" y="336233"/>
                  </a:lnTo>
                  <a:lnTo>
                    <a:pt x="273368" y="353378"/>
                  </a:lnTo>
                  <a:lnTo>
                    <a:pt x="275273" y="361950"/>
                  </a:lnTo>
                  <a:lnTo>
                    <a:pt x="275273" y="370523"/>
                  </a:lnTo>
                  <a:lnTo>
                    <a:pt x="271463" y="383858"/>
                  </a:lnTo>
                  <a:lnTo>
                    <a:pt x="268605" y="393383"/>
                  </a:lnTo>
                  <a:lnTo>
                    <a:pt x="258128" y="397193"/>
                  </a:lnTo>
                  <a:lnTo>
                    <a:pt x="248603" y="402908"/>
                  </a:lnTo>
                  <a:lnTo>
                    <a:pt x="247650" y="417195"/>
                  </a:lnTo>
                  <a:lnTo>
                    <a:pt x="243840" y="427672"/>
                  </a:lnTo>
                  <a:lnTo>
                    <a:pt x="240030" y="437197"/>
                  </a:lnTo>
                  <a:lnTo>
                    <a:pt x="236220" y="442913"/>
                  </a:lnTo>
                  <a:lnTo>
                    <a:pt x="233363" y="442913"/>
                  </a:lnTo>
                  <a:lnTo>
                    <a:pt x="225743" y="439103"/>
                  </a:lnTo>
                  <a:lnTo>
                    <a:pt x="221933" y="438150"/>
                  </a:lnTo>
                  <a:lnTo>
                    <a:pt x="230505" y="448628"/>
                  </a:lnTo>
                  <a:lnTo>
                    <a:pt x="227648" y="454343"/>
                  </a:lnTo>
                  <a:lnTo>
                    <a:pt x="224790" y="458153"/>
                  </a:lnTo>
                  <a:lnTo>
                    <a:pt x="219075" y="458153"/>
                  </a:lnTo>
                  <a:lnTo>
                    <a:pt x="216218" y="460058"/>
                  </a:lnTo>
                  <a:lnTo>
                    <a:pt x="216218" y="461963"/>
                  </a:lnTo>
                  <a:lnTo>
                    <a:pt x="217170" y="462915"/>
                  </a:lnTo>
                  <a:lnTo>
                    <a:pt x="216218" y="466725"/>
                  </a:lnTo>
                  <a:lnTo>
                    <a:pt x="211455" y="468630"/>
                  </a:lnTo>
                  <a:lnTo>
                    <a:pt x="211455" y="468630"/>
                  </a:lnTo>
                  <a:lnTo>
                    <a:pt x="211455" y="471488"/>
                  </a:lnTo>
                  <a:lnTo>
                    <a:pt x="214313" y="475297"/>
                  </a:lnTo>
                  <a:lnTo>
                    <a:pt x="213360" y="481965"/>
                  </a:lnTo>
                  <a:lnTo>
                    <a:pt x="209550" y="488633"/>
                  </a:lnTo>
                  <a:lnTo>
                    <a:pt x="217170" y="493395"/>
                  </a:lnTo>
                  <a:lnTo>
                    <a:pt x="217170" y="497205"/>
                  </a:lnTo>
                  <a:lnTo>
                    <a:pt x="215265" y="500063"/>
                  </a:lnTo>
                  <a:lnTo>
                    <a:pt x="215265" y="507683"/>
                  </a:lnTo>
                  <a:lnTo>
                    <a:pt x="217170" y="513397"/>
                  </a:lnTo>
                  <a:lnTo>
                    <a:pt x="214313" y="517208"/>
                  </a:lnTo>
                  <a:lnTo>
                    <a:pt x="214313" y="520065"/>
                  </a:lnTo>
                  <a:lnTo>
                    <a:pt x="212408" y="520065"/>
                  </a:lnTo>
                  <a:lnTo>
                    <a:pt x="207645" y="517208"/>
                  </a:lnTo>
                  <a:lnTo>
                    <a:pt x="206693" y="513397"/>
                  </a:lnTo>
                  <a:lnTo>
                    <a:pt x="203835" y="512445"/>
                  </a:lnTo>
                  <a:lnTo>
                    <a:pt x="193358" y="494347"/>
                  </a:lnTo>
                  <a:lnTo>
                    <a:pt x="191453" y="493395"/>
                  </a:lnTo>
                  <a:lnTo>
                    <a:pt x="189548" y="492443"/>
                  </a:lnTo>
                  <a:lnTo>
                    <a:pt x="189548" y="490538"/>
                  </a:lnTo>
                  <a:lnTo>
                    <a:pt x="192405" y="488633"/>
                  </a:lnTo>
                  <a:lnTo>
                    <a:pt x="192405" y="484822"/>
                  </a:lnTo>
                  <a:lnTo>
                    <a:pt x="188595" y="472440"/>
                  </a:lnTo>
                  <a:lnTo>
                    <a:pt x="181928" y="468630"/>
                  </a:lnTo>
                  <a:lnTo>
                    <a:pt x="180975" y="464820"/>
                  </a:lnTo>
                  <a:lnTo>
                    <a:pt x="180975" y="460058"/>
                  </a:lnTo>
                  <a:lnTo>
                    <a:pt x="179070" y="456247"/>
                  </a:lnTo>
                  <a:lnTo>
                    <a:pt x="180023" y="447675"/>
                  </a:lnTo>
                  <a:lnTo>
                    <a:pt x="180975" y="446722"/>
                  </a:lnTo>
                  <a:lnTo>
                    <a:pt x="180975" y="435293"/>
                  </a:lnTo>
                  <a:lnTo>
                    <a:pt x="178118" y="431483"/>
                  </a:lnTo>
                  <a:lnTo>
                    <a:pt x="178118" y="419100"/>
                  </a:lnTo>
                  <a:lnTo>
                    <a:pt x="177165" y="413385"/>
                  </a:lnTo>
                  <a:lnTo>
                    <a:pt x="176213" y="407670"/>
                  </a:lnTo>
                  <a:lnTo>
                    <a:pt x="175260" y="400050"/>
                  </a:lnTo>
                  <a:lnTo>
                    <a:pt x="175260" y="393383"/>
                  </a:lnTo>
                  <a:lnTo>
                    <a:pt x="174308" y="387668"/>
                  </a:lnTo>
                  <a:lnTo>
                    <a:pt x="172403" y="381000"/>
                  </a:lnTo>
                  <a:lnTo>
                    <a:pt x="171450" y="378143"/>
                  </a:lnTo>
                  <a:lnTo>
                    <a:pt x="163830" y="372428"/>
                  </a:lnTo>
                  <a:lnTo>
                    <a:pt x="160020" y="368618"/>
                  </a:lnTo>
                  <a:lnTo>
                    <a:pt x="151448" y="360045"/>
                  </a:lnTo>
                  <a:lnTo>
                    <a:pt x="147638" y="353378"/>
                  </a:lnTo>
                  <a:lnTo>
                    <a:pt x="143828" y="348615"/>
                  </a:lnTo>
                  <a:lnTo>
                    <a:pt x="140018" y="340995"/>
                  </a:lnTo>
                  <a:lnTo>
                    <a:pt x="139065" y="338138"/>
                  </a:lnTo>
                  <a:lnTo>
                    <a:pt x="137160" y="332423"/>
                  </a:lnTo>
                  <a:lnTo>
                    <a:pt x="130492" y="328613"/>
                  </a:lnTo>
                  <a:lnTo>
                    <a:pt x="130492" y="320040"/>
                  </a:lnTo>
                  <a:lnTo>
                    <a:pt x="134303" y="316230"/>
                  </a:lnTo>
                  <a:lnTo>
                    <a:pt x="134303" y="314325"/>
                  </a:lnTo>
                  <a:lnTo>
                    <a:pt x="131445" y="314325"/>
                  </a:lnTo>
                  <a:lnTo>
                    <a:pt x="131445" y="308610"/>
                  </a:lnTo>
                  <a:lnTo>
                    <a:pt x="133350" y="299085"/>
                  </a:lnTo>
                  <a:lnTo>
                    <a:pt x="141923" y="290513"/>
                  </a:lnTo>
                  <a:lnTo>
                    <a:pt x="141923" y="278130"/>
                  </a:lnTo>
                  <a:lnTo>
                    <a:pt x="141923" y="273368"/>
                  </a:lnTo>
                  <a:lnTo>
                    <a:pt x="140970" y="269558"/>
                  </a:lnTo>
                  <a:lnTo>
                    <a:pt x="139065" y="268605"/>
                  </a:lnTo>
                  <a:lnTo>
                    <a:pt x="138113" y="268605"/>
                  </a:lnTo>
                  <a:lnTo>
                    <a:pt x="136208" y="269558"/>
                  </a:lnTo>
                  <a:lnTo>
                    <a:pt x="135255" y="273368"/>
                  </a:lnTo>
                  <a:lnTo>
                    <a:pt x="131445" y="273368"/>
                  </a:lnTo>
                  <a:lnTo>
                    <a:pt x="125730" y="267653"/>
                  </a:lnTo>
                  <a:lnTo>
                    <a:pt x="119063" y="263843"/>
                  </a:lnTo>
                  <a:lnTo>
                    <a:pt x="117158" y="260985"/>
                  </a:lnTo>
                  <a:lnTo>
                    <a:pt x="116205" y="256223"/>
                  </a:lnTo>
                  <a:lnTo>
                    <a:pt x="114300" y="252413"/>
                  </a:lnTo>
                  <a:lnTo>
                    <a:pt x="112395" y="248603"/>
                  </a:lnTo>
                  <a:lnTo>
                    <a:pt x="107633" y="248603"/>
                  </a:lnTo>
                  <a:lnTo>
                    <a:pt x="101917" y="243840"/>
                  </a:lnTo>
                  <a:lnTo>
                    <a:pt x="99060" y="241935"/>
                  </a:lnTo>
                  <a:lnTo>
                    <a:pt x="96203" y="240030"/>
                  </a:lnTo>
                  <a:lnTo>
                    <a:pt x="93345" y="236220"/>
                  </a:lnTo>
                  <a:lnTo>
                    <a:pt x="91440" y="234315"/>
                  </a:lnTo>
                  <a:lnTo>
                    <a:pt x="89535" y="236220"/>
                  </a:lnTo>
                  <a:lnTo>
                    <a:pt x="85725" y="238125"/>
                  </a:lnTo>
                  <a:lnTo>
                    <a:pt x="73342" y="230505"/>
                  </a:lnTo>
                  <a:lnTo>
                    <a:pt x="66675" y="226695"/>
                  </a:lnTo>
                  <a:lnTo>
                    <a:pt x="60960" y="221933"/>
                  </a:lnTo>
                  <a:lnTo>
                    <a:pt x="58103" y="218123"/>
                  </a:lnTo>
                  <a:lnTo>
                    <a:pt x="59055" y="214313"/>
                  </a:lnTo>
                  <a:lnTo>
                    <a:pt x="59055" y="204788"/>
                  </a:lnTo>
                  <a:lnTo>
                    <a:pt x="53340" y="193358"/>
                  </a:lnTo>
                  <a:lnTo>
                    <a:pt x="49530" y="183833"/>
                  </a:lnTo>
                  <a:lnTo>
                    <a:pt x="47625" y="176213"/>
                  </a:lnTo>
                  <a:lnTo>
                    <a:pt x="47625" y="165735"/>
                  </a:lnTo>
                  <a:lnTo>
                    <a:pt x="47625" y="160020"/>
                  </a:lnTo>
                  <a:lnTo>
                    <a:pt x="45720" y="160020"/>
                  </a:lnTo>
                  <a:lnTo>
                    <a:pt x="44768" y="163830"/>
                  </a:lnTo>
                  <a:lnTo>
                    <a:pt x="42862" y="171450"/>
                  </a:lnTo>
                  <a:lnTo>
                    <a:pt x="41910" y="176213"/>
                  </a:lnTo>
                  <a:lnTo>
                    <a:pt x="43815" y="180975"/>
                  </a:lnTo>
                  <a:lnTo>
                    <a:pt x="46673" y="191453"/>
                  </a:lnTo>
                  <a:lnTo>
                    <a:pt x="49530" y="201930"/>
                  </a:lnTo>
                  <a:lnTo>
                    <a:pt x="49530" y="203835"/>
                  </a:lnTo>
                  <a:lnTo>
                    <a:pt x="46673" y="203835"/>
                  </a:lnTo>
                  <a:lnTo>
                    <a:pt x="44768" y="198120"/>
                  </a:lnTo>
                  <a:lnTo>
                    <a:pt x="41910" y="193358"/>
                  </a:lnTo>
                  <a:lnTo>
                    <a:pt x="39053" y="186690"/>
                  </a:lnTo>
                  <a:lnTo>
                    <a:pt x="38100" y="182880"/>
                  </a:lnTo>
                  <a:lnTo>
                    <a:pt x="40005" y="177165"/>
                  </a:lnTo>
                  <a:lnTo>
                    <a:pt x="39053" y="173355"/>
                  </a:lnTo>
                  <a:lnTo>
                    <a:pt x="38100" y="167640"/>
                  </a:lnTo>
                  <a:lnTo>
                    <a:pt x="37148" y="163830"/>
                  </a:lnTo>
                  <a:lnTo>
                    <a:pt x="37148" y="158115"/>
                  </a:lnTo>
                  <a:lnTo>
                    <a:pt x="31433" y="153353"/>
                  </a:lnTo>
                  <a:lnTo>
                    <a:pt x="31433" y="145733"/>
                  </a:lnTo>
                  <a:lnTo>
                    <a:pt x="33337" y="137160"/>
                  </a:lnTo>
                  <a:lnTo>
                    <a:pt x="36195" y="127635"/>
                  </a:lnTo>
                  <a:lnTo>
                    <a:pt x="45720" y="111443"/>
                  </a:lnTo>
                  <a:lnTo>
                    <a:pt x="51435" y="100965"/>
                  </a:lnTo>
                  <a:lnTo>
                    <a:pt x="56198" y="95250"/>
                  </a:lnTo>
                  <a:lnTo>
                    <a:pt x="60008" y="95250"/>
                  </a:lnTo>
                  <a:lnTo>
                    <a:pt x="60008" y="97155"/>
                  </a:lnTo>
                  <a:lnTo>
                    <a:pt x="61912" y="98107"/>
                  </a:lnTo>
                  <a:lnTo>
                    <a:pt x="61912" y="94298"/>
                  </a:lnTo>
                  <a:lnTo>
                    <a:pt x="62865" y="86678"/>
                  </a:lnTo>
                  <a:lnTo>
                    <a:pt x="60960" y="81915"/>
                  </a:lnTo>
                  <a:lnTo>
                    <a:pt x="61912" y="76200"/>
                  </a:lnTo>
                  <a:lnTo>
                    <a:pt x="64770" y="65723"/>
                  </a:lnTo>
                  <a:lnTo>
                    <a:pt x="68580" y="57150"/>
                  </a:lnTo>
                  <a:lnTo>
                    <a:pt x="69533" y="52388"/>
                  </a:lnTo>
                  <a:lnTo>
                    <a:pt x="69533" y="50483"/>
                  </a:lnTo>
                  <a:lnTo>
                    <a:pt x="68580" y="50483"/>
                  </a:lnTo>
                  <a:lnTo>
                    <a:pt x="65723" y="51435"/>
                  </a:lnTo>
                  <a:lnTo>
                    <a:pt x="63818" y="51435"/>
                  </a:lnTo>
                  <a:lnTo>
                    <a:pt x="62865" y="49530"/>
                  </a:lnTo>
                  <a:lnTo>
                    <a:pt x="61912" y="47625"/>
                  </a:lnTo>
                  <a:lnTo>
                    <a:pt x="60960" y="44768"/>
                  </a:lnTo>
                  <a:lnTo>
                    <a:pt x="57150" y="43815"/>
                  </a:lnTo>
                  <a:lnTo>
                    <a:pt x="52387" y="40958"/>
                  </a:lnTo>
                  <a:lnTo>
                    <a:pt x="50483" y="39053"/>
                  </a:lnTo>
                  <a:lnTo>
                    <a:pt x="48578" y="39053"/>
                  </a:lnTo>
                  <a:lnTo>
                    <a:pt x="46673" y="40958"/>
                  </a:lnTo>
                  <a:lnTo>
                    <a:pt x="42862" y="42863"/>
                  </a:lnTo>
                  <a:lnTo>
                    <a:pt x="40958" y="43815"/>
                  </a:lnTo>
                  <a:lnTo>
                    <a:pt x="38100" y="43815"/>
                  </a:lnTo>
                  <a:lnTo>
                    <a:pt x="35243" y="43815"/>
                  </a:lnTo>
                  <a:lnTo>
                    <a:pt x="34290" y="42863"/>
                  </a:lnTo>
                  <a:lnTo>
                    <a:pt x="36195" y="40958"/>
                  </a:lnTo>
                  <a:lnTo>
                    <a:pt x="39053" y="40005"/>
                  </a:lnTo>
                  <a:lnTo>
                    <a:pt x="40958" y="38100"/>
                  </a:lnTo>
                  <a:lnTo>
                    <a:pt x="43815" y="36195"/>
                  </a:lnTo>
                  <a:lnTo>
                    <a:pt x="43815" y="34290"/>
                  </a:lnTo>
                  <a:lnTo>
                    <a:pt x="41910" y="34290"/>
                  </a:lnTo>
                  <a:lnTo>
                    <a:pt x="36195" y="37148"/>
                  </a:lnTo>
                  <a:lnTo>
                    <a:pt x="14288" y="48578"/>
                  </a:lnTo>
                  <a:lnTo>
                    <a:pt x="5715" y="53340"/>
                  </a:lnTo>
                  <a:lnTo>
                    <a:pt x="1905" y="542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11239FB-C01C-42C7-AD3D-7E5288189668}"/>
                </a:ext>
              </a:extLst>
            </p:cNvPr>
            <p:cNvSpPr/>
            <p:nvPr/>
          </p:nvSpPr>
          <p:spPr>
            <a:xfrm>
              <a:off x="5619750" y="3236594"/>
              <a:ext cx="7620" cy="3810"/>
            </a:xfrm>
            <a:custGeom>
              <a:avLst/>
              <a:gdLst>
                <a:gd name="connsiteX0" fmla="*/ 0 w 7620"/>
                <a:gd name="connsiteY0" fmla="*/ 3810 h 3810"/>
                <a:gd name="connsiteX1" fmla="*/ 0 w 7620"/>
                <a:gd name="connsiteY1" fmla="*/ 953 h 3810"/>
                <a:gd name="connsiteX2" fmla="*/ 3810 w 7620"/>
                <a:gd name="connsiteY2" fmla="*/ 0 h 3810"/>
                <a:gd name="connsiteX3" fmla="*/ 6668 w 7620"/>
                <a:gd name="connsiteY3" fmla="*/ 953 h 3810"/>
                <a:gd name="connsiteX4" fmla="*/ 7620 w 7620"/>
                <a:gd name="connsiteY4" fmla="*/ 2858 h 3810"/>
                <a:gd name="connsiteX5" fmla="*/ 4763 w 7620"/>
                <a:gd name="connsiteY5" fmla="*/ 381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" h="3810">
                  <a:moveTo>
                    <a:pt x="0" y="3810"/>
                  </a:moveTo>
                  <a:lnTo>
                    <a:pt x="0" y="953"/>
                  </a:lnTo>
                  <a:lnTo>
                    <a:pt x="3810" y="0"/>
                  </a:lnTo>
                  <a:lnTo>
                    <a:pt x="6668" y="953"/>
                  </a:lnTo>
                  <a:lnTo>
                    <a:pt x="7620" y="2858"/>
                  </a:lnTo>
                  <a:lnTo>
                    <a:pt x="4763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0FB7A6B-FB7C-451C-BDAF-4EE9B354B916}"/>
                </a:ext>
              </a:extLst>
            </p:cNvPr>
            <p:cNvSpPr/>
            <p:nvPr/>
          </p:nvSpPr>
          <p:spPr>
            <a:xfrm>
              <a:off x="5685472" y="3267075"/>
              <a:ext cx="6667" cy="10477"/>
            </a:xfrm>
            <a:custGeom>
              <a:avLst/>
              <a:gdLst>
                <a:gd name="connsiteX0" fmla="*/ 0 w 6667"/>
                <a:gd name="connsiteY0" fmla="*/ 3810 h 10477"/>
                <a:gd name="connsiteX1" fmla="*/ 0 w 6667"/>
                <a:gd name="connsiteY1" fmla="*/ 0 h 10477"/>
                <a:gd name="connsiteX2" fmla="*/ 3810 w 6667"/>
                <a:gd name="connsiteY2" fmla="*/ 0 h 10477"/>
                <a:gd name="connsiteX3" fmla="*/ 4763 w 6667"/>
                <a:gd name="connsiteY3" fmla="*/ 2857 h 10477"/>
                <a:gd name="connsiteX4" fmla="*/ 6667 w 6667"/>
                <a:gd name="connsiteY4" fmla="*/ 5715 h 10477"/>
                <a:gd name="connsiteX5" fmla="*/ 6667 w 6667"/>
                <a:gd name="connsiteY5" fmla="*/ 10477 h 10477"/>
                <a:gd name="connsiteX6" fmla="*/ 5715 w 6667"/>
                <a:gd name="connsiteY6" fmla="*/ 10477 h 10477"/>
                <a:gd name="connsiteX7" fmla="*/ 2857 w 6667"/>
                <a:gd name="connsiteY7" fmla="*/ 7620 h 10477"/>
                <a:gd name="connsiteX8" fmla="*/ 2857 w 6667"/>
                <a:gd name="connsiteY8" fmla="*/ 381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" h="10477">
                  <a:moveTo>
                    <a:pt x="0" y="3810"/>
                  </a:moveTo>
                  <a:lnTo>
                    <a:pt x="0" y="0"/>
                  </a:lnTo>
                  <a:lnTo>
                    <a:pt x="3810" y="0"/>
                  </a:lnTo>
                  <a:lnTo>
                    <a:pt x="4763" y="2857"/>
                  </a:lnTo>
                  <a:lnTo>
                    <a:pt x="6667" y="5715"/>
                  </a:lnTo>
                  <a:lnTo>
                    <a:pt x="6667" y="10477"/>
                  </a:lnTo>
                  <a:lnTo>
                    <a:pt x="5715" y="10477"/>
                  </a:lnTo>
                  <a:lnTo>
                    <a:pt x="2857" y="7620"/>
                  </a:lnTo>
                  <a:lnTo>
                    <a:pt x="2857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8E47D34-D577-4CB3-973D-740CB7B6A068}"/>
                </a:ext>
              </a:extLst>
            </p:cNvPr>
            <p:cNvSpPr/>
            <p:nvPr/>
          </p:nvSpPr>
          <p:spPr>
            <a:xfrm>
              <a:off x="5777865" y="3285172"/>
              <a:ext cx="26669" cy="28575"/>
            </a:xfrm>
            <a:custGeom>
              <a:avLst/>
              <a:gdLst>
                <a:gd name="connsiteX0" fmla="*/ 17145 w 26669"/>
                <a:gd name="connsiteY0" fmla="*/ 22860 h 28575"/>
                <a:gd name="connsiteX1" fmla="*/ 19050 w 26669"/>
                <a:gd name="connsiteY1" fmla="*/ 22860 h 28575"/>
                <a:gd name="connsiteX2" fmla="*/ 21907 w 26669"/>
                <a:gd name="connsiteY2" fmla="*/ 18097 h 28575"/>
                <a:gd name="connsiteX3" fmla="*/ 23813 w 26669"/>
                <a:gd name="connsiteY3" fmla="*/ 17145 h 28575"/>
                <a:gd name="connsiteX4" fmla="*/ 25717 w 26669"/>
                <a:gd name="connsiteY4" fmla="*/ 19050 h 28575"/>
                <a:gd name="connsiteX5" fmla="*/ 26670 w 26669"/>
                <a:gd name="connsiteY5" fmla="*/ 19050 h 28575"/>
                <a:gd name="connsiteX6" fmla="*/ 26670 w 26669"/>
                <a:gd name="connsiteY6" fmla="*/ 16192 h 28575"/>
                <a:gd name="connsiteX7" fmla="*/ 23813 w 26669"/>
                <a:gd name="connsiteY7" fmla="*/ 11430 h 28575"/>
                <a:gd name="connsiteX8" fmla="*/ 19050 w 26669"/>
                <a:gd name="connsiteY8" fmla="*/ 10477 h 28575"/>
                <a:gd name="connsiteX9" fmla="*/ 18097 w 26669"/>
                <a:gd name="connsiteY9" fmla="*/ 8572 h 28575"/>
                <a:gd name="connsiteX10" fmla="*/ 17145 w 26669"/>
                <a:gd name="connsiteY10" fmla="*/ 3810 h 28575"/>
                <a:gd name="connsiteX11" fmla="*/ 13335 w 26669"/>
                <a:gd name="connsiteY11" fmla="*/ 0 h 28575"/>
                <a:gd name="connsiteX12" fmla="*/ 7620 w 26669"/>
                <a:gd name="connsiteY12" fmla="*/ 952 h 28575"/>
                <a:gd name="connsiteX13" fmla="*/ 0 w 26669"/>
                <a:gd name="connsiteY13" fmla="*/ 4763 h 28575"/>
                <a:gd name="connsiteX14" fmla="*/ 0 w 26669"/>
                <a:gd name="connsiteY14" fmla="*/ 6667 h 28575"/>
                <a:gd name="connsiteX15" fmla="*/ 2857 w 26669"/>
                <a:gd name="connsiteY15" fmla="*/ 7620 h 28575"/>
                <a:gd name="connsiteX16" fmla="*/ 7620 w 26669"/>
                <a:gd name="connsiteY16" fmla="*/ 6667 h 28575"/>
                <a:gd name="connsiteX17" fmla="*/ 11430 w 26669"/>
                <a:gd name="connsiteY17" fmla="*/ 8572 h 28575"/>
                <a:gd name="connsiteX18" fmla="*/ 15240 w 26669"/>
                <a:gd name="connsiteY18" fmla="*/ 9525 h 28575"/>
                <a:gd name="connsiteX19" fmla="*/ 16192 w 26669"/>
                <a:gd name="connsiteY19" fmla="*/ 12382 h 28575"/>
                <a:gd name="connsiteX20" fmla="*/ 7620 w 26669"/>
                <a:gd name="connsiteY20" fmla="*/ 13335 h 28575"/>
                <a:gd name="connsiteX21" fmla="*/ 4763 w 26669"/>
                <a:gd name="connsiteY21" fmla="*/ 15240 h 28575"/>
                <a:gd name="connsiteX22" fmla="*/ 2857 w 26669"/>
                <a:gd name="connsiteY22" fmla="*/ 20002 h 28575"/>
                <a:gd name="connsiteX23" fmla="*/ 0 w 26669"/>
                <a:gd name="connsiteY23" fmla="*/ 25717 h 28575"/>
                <a:gd name="connsiteX24" fmla="*/ 953 w 26669"/>
                <a:gd name="connsiteY24" fmla="*/ 28575 h 28575"/>
                <a:gd name="connsiteX25" fmla="*/ 5715 w 26669"/>
                <a:gd name="connsiteY25" fmla="*/ 24765 h 28575"/>
                <a:gd name="connsiteX26" fmla="*/ 6667 w 26669"/>
                <a:gd name="connsiteY26" fmla="*/ 20002 h 28575"/>
                <a:gd name="connsiteX27" fmla="*/ 10478 w 26669"/>
                <a:gd name="connsiteY27" fmla="*/ 16192 h 28575"/>
                <a:gd name="connsiteX28" fmla="*/ 13335 w 26669"/>
                <a:gd name="connsiteY28" fmla="*/ 15240 h 28575"/>
                <a:gd name="connsiteX29" fmla="*/ 17145 w 26669"/>
                <a:gd name="connsiteY29" fmla="*/ 1714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6669" h="28575">
                  <a:moveTo>
                    <a:pt x="17145" y="22860"/>
                  </a:moveTo>
                  <a:lnTo>
                    <a:pt x="19050" y="22860"/>
                  </a:lnTo>
                  <a:lnTo>
                    <a:pt x="21907" y="18097"/>
                  </a:lnTo>
                  <a:lnTo>
                    <a:pt x="23813" y="17145"/>
                  </a:lnTo>
                  <a:lnTo>
                    <a:pt x="25717" y="19050"/>
                  </a:lnTo>
                  <a:lnTo>
                    <a:pt x="26670" y="19050"/>
                  </a:lnTo>
                  <a:lnTo>
                    <a:pt x="26670" y="16192"/>
                  </a:lnTo>
                  <a:lnTo>
                    <a:pt x="23813" y="11430"/>
                  </a:lnTo>
                  <a:lnTo>
                    <a:pt x="19050" y="10477"/>
                  </a:lnTo>
                  <a:lnTo>
                    <a:pt x="18097" y="8572"/>
                  </a:lnTo>
                  <a:lnTo>
                    <a:pt x="17145" y="3810"/>
                  </a:lnTo>
                  <a:lnTo>
                    <a:pt x="13335" y="0"/>
                  </a:lnTo>
                  <a:lnTo>
                    <a:pt x="7620" y="952"/>
                  </a:lnTo>
                  <a:lnTo>
                    <a:pt x="0" y="4763"/>
                  </a:lnTo>
                  <a:lnTo>
                    <a:pt x="0" y="6667"/>
                  </a:lnTo>
                  <a:lnTo>
                    <a:pt x="2857" y="7620"/>
                  </a:lnTo>
                  <a:lnTo>
                    <a:pt x="7620" y="6667"/>
                  </a:lnTo>
                  <a:lnTo>
                    <a:pt x="11430" y="8572"/>
                  </a:lnTo>
                  <a:lnTo>
                    <a:pt x="15240" y="9525"/>
                  </a:lnTo>
                  <a:lnTo>
                    <a:pt x="16192" y="12382"/>
                  </a:lnTo>
                  <a:lnTo>
                    <a:pt x="7620" y="13335"/>
                  </a:lnTo>
                  <a:lnTo>
                    <a:pt x="4763" y="15240"/>
                  </a:lnTo>
                  <a:lnTo>
                    <a:pt x="2857" y="20002"/>
                  </a:lnTo>
                  <a:lnTo>
                    <a:pt x="0" y="25717"/>
                  </a:lnTo>
                  <a:lnTo>
                    <a:pt x="953" y="28575"/>
                  </a:lnTo>
                  <a:lnTo>
                    <a:pt x="5715" y="24765"/>
                  </a:lnTo>
                  <a:lnTo>
                    <a:pt x="6667" y="20002"/>
                  </a:lnTo>
                  <a:lnTo>
                    <a:pt x="10478" y="16192"/>
                  </a:lnTo>
                  <a:lnTo>
                    <a:pt x="13335" y="15240"/>
                  </a:lnTo>
                  <a:lnTo>
                    <a:pt x="17145" y="17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8A42F7D-F5CB-45EF-BE4A-7A03C7C3570B}"/>
                </a:ext>
              </a:extLst>
            </p:cNvPr>
            <p:cNvSpPr/>
            <p:nvPr/>
          </p:nvSpPr>
          <p:spPr>
            <a:xfrm>
              <a:off x="5789294" y="3307080"/>
              <a:ext cx="25717" cy="8572"/>
            </a:xfrm>
            <a:custGeom>
              <a:avLst/>
              <a:gdLst>
                <a:gd name="connsiteX0" fmla="*/ 0 w 25717"/>
                <a:gd name="connsiteY0" fmla="*/ 8572 h 8572"/>
                <a:gd name="connsiteX1" fmla="*/ 0 w 25717"/>
                <a:gd name="connsiteY1" fmla="*/ 6668 h 8572"/>
                <a:gd name="connsiteX2" fmla="*/ 5715 w 25717"/>
                <a:gd name="connsiteY2" fmla="*/ 5715 h 8572"/>
                <a:gd name="connsiteX3" fmla="*/ 9525 w 25717"/>
                <a:gd name="connsiteY3" fmla="*/ 4763 h 8572"/>
                <a:gd name="connsiteX4" fmla="*/ 14288 w 25717"/>
                <a:gd name="connsiteY4" fmla="*/ 2857 h 8572"/>
                <a:gd name="connsiteX5" fmla="*/ 20003 w 25717"/>
                <a:gd name="connsiteY5" fmla="*/ 1905 h 8572"/>
                <a:gd name="connsiteX6" fmla="*/ 22860 w 25717"/>
                <a:gd name="connsiteY6" fmla="*/ 0 h 8572"/>
                <a:gd name="connsiteX7" fmla="*/ 25718 w 25717"/>
                <a:gd name="connsiteY7" fmla="*/ 0 h 8572"/>
                <a:gd name="connsiteX8" fmla="*/ 25718 w 25717"/>
                <a:gd name="connsiteY8" fmla="*/ 1905 h 8572"/>
                <a:gd name="connsiteX9" fmla="*/ 21908 w 25717"/>
                <a:gd name="connsiteY9" fmla="*/ 3810 h 8572"/>
                <a:gd name="connsiteX10" fmla="*/ 14288 w 25717"/>
                <a:gd name="connsiteY10" fmla="*/ 4763 h 8572"/>
                <a:gd name="connsiteX11" fmla="*/ 12383 w 25717"/>
                <a:gd name="connsiteY11" fmla="*/ 6668 h 8572"/>
                <a:gd name="connsiteX12" fmla="*/ 4763 w 25717"/>
                <a:gd name="connsiteY12" fmla="*/ 8572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717" h="8572">
                  <a:moveTo>
                    <a:pt x="0" y="8572"/>
                  </a:moveTo>
                  <a:lnTo>
                    <a:pt x="0" y="6668"/>
                  </a:lnTo>
                  <a:lnTo>
                    <a:pt x="5715" y="5715"/>
                  </a:lnTo>
                  <a:lnTo>
                    <a:pt x="9525" y="4763"/>
                  </a:lnTo>
                  <a:lnTo>
                    <a:pt x="14288" y="2857"/>
                  </a:lnTo>
                  <a:lnTo>
                    <a:pt x="20003" y="1905"/>
                  </a:lnTo>
                  <a:lnTo>
                    <a:pt x="22860" y="0"/>
                  </a:lnTo>
                  <a:lnTo>
                    <a:pt x="25718" y="0"/>
                  </a:lnTo>
                  <a:lnTo>
                    <a:pt x="25718" y="1905"/>
                  </a:lnTo>
                  <a:lnTo>
                    <a:pt x="21908" y="3810"/>
                  </a:lnTo>
                  <a:lnTo>
                    <a:pt x="14288" y="4763"/>
                  </a:lnTo>
                  <a:lnTo>
                    <a:pt x="12383" y="6668"/>
                  </a:lnTo>
                  <a:lnTo>
                    <a:pt x="4763" y="8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086DDEA-F3C4-4554-BAE3-309CD710A97E}"/>
                </a:ext>
              </a:extLst>
            </p:cNvPr>
            <p:cNvSpPr/>
            <p:nvPr/>
          </p:nvSpPr>
          <p:spPr>
            <a:xfrm>
              <a:off x="5870257" y="3280410"/>
              <a:ext cx="16192" cy="20002"/>
            </a:xfrm>
            <a:custGeom>
              <a:avLst/>
              <a:gdLst>
                <a:gd name="connsiteX0" fmla="*/ 0 w 16192"/>
                <a:gd name="connsiteY0" fmla="*/ 9525 h 20002"/>
                <a:gd name="connsiteX1" fmla="*/ 11430 w 16192"/>
                <a:gd name="connsiteY1" fmla="*/ 952 h 20002"/>
                <a:gd name="connsiteX2" fmla="*/ 14288 w 16192"/>
                <a:gd name="connsiteY2" fmla="*/ 0 h 20002"/>
                <a:gd name="connsiteX3" fmla="*/ 15240 w 16192"/>
                <a:gd name="connsiteY3" fmla="*/ 1905 h 20002"/>
                <a:gd name="connsiteX4" fmla="*/ 13335 w 16192"/>
                <a:gd name="connsiteY4" fmla="*/ 6667 h 20002"/>
                <a:gd name="connsiteX5" fmla="*/ 15240 w 16192"/>
                <a:gd name="connsiteY5" fmla="*/ 9525 h 20002"/>
                <a:gd name="connsiteX6" fmla="*/ 16193 w 16192"/>
                <a:gd name="connsiteY6" fmla="*/ 15240 h 20002"/>
                <a:gd name="connsiteX7" fmla="*/ 15240 w 16192"/>
                <a:gd name="connsiteY7" fmla="*/ 20002 h 20002"/>
                <a:gd name="connsiteX8" fmla="*/ 10478 w 16192"/>
                <a:gd name="connsiteY8" fmla="*/ 17145 h 20002"/>
                <a:gd name="connsiteX9" fmla="*/ 6668 w 16192"/>
                <a:gd name="connsiteY9" fmla="*/ 15240 h 20002"/>
                <a:gd name="connsiteX10" fmla="*/ 1905 w 16192"/>
                <a:gd name="connsiteY10" fmla="*/ 15240 h 20002"/>
                <a:gd name="connsiteX11" fmla="*/ 0 w 16192"/>
                <a:gd name="connsiteY11" fmla="*/ 11430 h 20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92" h="20002">
                  <a:moveTo>
                    <a:pt x="0" y="9525"/>
                  </a:moveTo>
                  <a:lnTo>
                    <a:pt x="11430" y="952"/>
                  </a:lnTo>
                  <a:lnTo>
                    <a:pt x="14288" y="0"/>
                  </a:lnTo>
                  <a:lnTo>
                    <a:pt x="15240" y="1905"/>
                  </a:lnTo>
                  <a:lnTo>
                    <a:pt x="13335" y="6667"/>
                  </a:lnTo>
                  <a:lnTo>
                    <a:pt x="15240" y="9525"/>
                  </a:lnTo>
                  <a:lnTo>
                    <a:pt x="16193" y="15240"/>
                  </a:lnTo>
                  <a:lnTo>
                    <a:pt x="15240" y="20002"/>
                  </a:lnTo>
                  <a:lnTo>
                    <a:pt x="10478" y="17145"/>
                  </a:lnTo>
                  <a:lnTo>
                    <a:pt x="6668" y="15240"/>
                  </a:lnTo>
                  <a:lnTo>
                    <a:pt x="1905" y="1524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3095187-AE80-46D1-8AC5-10592D752856}"/>
                </a:ext>
              </a:extLst>
            </p:cNvPr>
            <p:cNvSpPr/>
            <p:nvPr/>
          </p:nvSpPr>
          <p:spPr>
            <a:xfrm>
              <a:off x="5881687" y="3155632"/>
              <a:ext cx="50482" cy="23812"/>
            </a:xfrm>
            <a:custGeom>
              <a:avLst/>
              <a:gdLst>
                <a:gd name="connsiteX0" fmla="*/ 50482 w 50482"/>
                <a:gd name="connsiteY0" fmla="*/ 1905 h 23812"/>
                <a:gd name="connsiteX1" fmla="*/ 50482 w 50482"/>
                <a:gd name="connsiteY1" fmla="*/ 3810 h 23812"/>
                <a:gd name="connsiteX2" fmla="*/ 41910 w 50482"/>
                <a:gd name="connsiteY2" fmla="*/ 9525 h 23812"/>
                <a:gd name="connsiteX3" fmla="*/ 33338 w 50482"/>
                <a:gd name="connsiteY3" fmla="*/ 9525 h 23812"/>
                <a:gd name="connsiteX4" fmla="*/ 23813 w 50482"/>
                <a:gd name="connsiteY4" fmla="*/ 13335 h 23812"/>
                <a:gd name="connsiteX5" fmla="*/ 14288 w 50482"/>
                <a:gd name="connsiteY5" fmla="*/ 22860 h 23812"/>
                <a:gd name="connsiteX6" fmla="*/ 9525 w 50482"/>
                <a:gd name="connsiteY6" fmla="*/ 23813 h 23812"/>
                <a:gd name="connsiteX7" fmla="*/ 2857 w 50482"/>
                <a:gd name="connsiteY7" fmla="*/ 23813 h 23812"/>
                <a:gd name="connsiteX8" fmla="*/ 0 w 50482"/>
                <a:gd name="connsiteY8" fmla="*/ 20955 h 23812"/>
                <a:gd name="connsiteX9" fmla="*/ 0 w 50482"/>
                <a:gd name="connsiteY9" fmla="*/ 19050 h 23812"/>
                <a:gd name="connsiteX10" fmla="*/ 4763 w 50482"/>
                <a:gd name="connsiteY10" fmla="*/ 14288 h 23812"/>
                <a:gd name="connsiteX11" fmla="*/ 12382 w 50482"/>
                <a:gd name="connsiteY11" fmla="*/ 10478 h 23812"/>
                <a:gd name="connsiteX12" fmla="*/ 20003 w 50482"/>
                <a:gd name="connsiteY12" fmla="*/ 8573 h 23812"/>
                <a:gd name="connsiteX13" fmla="*/ 20003 w 50482"/>
                <a:gd name="connsiteY13" fmla="*/ 6668 h 23812"/>
                <a:gd name="connsiteX14" fmla="*/ 14288 w 50482"/>
                <a:gd name="connsiteY14" fmla="*/ 5715 h 23812"/>
                <a:gd name="connsiteX15" fmla="*/ 5715 w 50482"/>
                <a:gd name="connsiteY15" fmla="*/ 6668 h 23812"/>
                <a:gd name="connsiteX16" fmla="*/ 953 w 50482"/>
                <a:gd name="connsiteY16" fmla="*/ 5715 h 23812"/>
                <a:gd name="connsiteX17" fmla="*/ 953 w 50482"/>
                <a:gd name="connsiteY17" fmla="*/ 3810 h 23812"/>
                <a:gd name="connsiteX18" fmla="*/ 7620 w 50482"/>
                <a:gd name="connsiteY18" fmla="*/ 1905 h 23812"/>
                <a:gd name="connsiteX19" fmla="*/ 14288 w 50482"/>
                <a:gd name="connsiteY19" fmla="*/ 0 h 23812"/>
                <a:gd name="connsiteX20" fmla="*/ 22860 w 50482"/>
                <a:gd name="connsiteY20" fmla="*/ 0 h 23812"/>
                <a:gd name="connsiteX21" fmla="*/ 27622 w 50482"/>
                <a:gd name="connsiteY21" fmla="*/ 2858 h 23812"/>
                <a:gd name="connsiteX22" fmla="*/ 33338 w 50482"/>
                <a:gd name="connsiteY22" fmla="*/ 2858 h 23812"/>
                <a:gd name="connsiteX23" fmla="*/ 40005 w 50482"/>
                <a:gd name="connsiteY23" fmla="*/ 2858 h 23812"/>
                <a:gd name="connsiteX24" fmla="*/ 47625 w 50482"/>
                <a:gd name="connsiteY24" fmla="*/ 1905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482" h="23812">
                  <a:moveTo>
                    <a:pt x="50482" y="1905"/>
                  </a:moveTo>
                  <a:lnTo>
                    <a:pt x="50482" y="3810"/>
                  </a:lnTo>
                  <a:lnTo>
                    <a:pt x="41910" y="9525"/>
                  </a:lnTo>
                  <a:lnTo>
                    <a:pt x="33338" y="9525"/>
                  </a:lnTo>
                  <a:lnTo>
                    <a:pt x="23813" y="13335"/>
                  </a:lnTo>
                  <a:lnTo>
                    <a:pt x="14288" y="22860"/>
                  </a:lnTo>
                  <a:lnTo>
                    <a:pt x="9525" y="23813"/>
                  </a:lnTo>
                  <a:lnTo>
                    <a:pt x="2857" y="23813"/>
                  </a:lnTo>
                  <a:lnTo>
                    <a:pt x="0" y="20955"/>
                  </a:lnTo>
                  <a:lnTo>
                    <a:pt x="0" y="19050"/>
                  </a:lnTo>
                  <a:lnTo>
                    <a:pt x="4763" y="14288"/>
                  </a:lnTo>
                  <a:lnTo>
                    <a:pt x="12382" y="10478"/>
                  </a:lnTo>
                  <a:lnTo>
                    <a:pt x="20003" y="8573"/>
                  </a:lnTo>
                  <a:lnTo>
                    <a:pt x="20003" y="6668"/>
                  </a:lnTo>
                  <a:lnTo>
                    <a:pt x="14288" y="5715"/>
                  </a:lnTo>
                  <a:lnTo>
                    <a:pt x="5715" y="6668"/>
                  </a:lnTo>
                  <a:lnTo>
                    <a:pt x="953" y="5715"/>
                  </a:lnTo>
                  <a:lnTo>
                    <a:pt x="953" y="3810"/>
                  </a:lnTo>
                  <a:lnTo>
                    <a:pt x="7620" y="1905"/>
                  </a:lnTo>
                  <a:lnTo>
                    <a:pt x="14288" y="0"/>
                  </a:lnTo>
                  <a:lnTo>
                    <a:pt x="22860" y="0"/>
                  </a:lnTo>
                  <a:lnTo>
                    <a:pt x="27622" y="2858"/>
                  </a:lnTo>
                  <a:lnTo>
                    <a:pt x="33338" y="2858"/>
                  </a:lnTo>
                  <a:lnTo>
                    <a:pt x="40005" y="2858"/>
                  </a:lnTo>
                  <a:lnTo>
                    <a:pt x="47625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8354BFB-8071-4302-A029-6EFE4F8446D9}"/>
                </a:ext>
              </a:extLst>
            </p:cNvPr>
            <p:cNvSpPr/>
            <p:nvPr/>
          </p:nvSpPr>
          <p:spPr>
            <a:xfrm>
              <a:off x="5832157" y="3220402"/>
              <a:ext cx="13335" cy="9525"/>
            </a:xfrm>
            <a:custGeom>
              <a:avLst/>
              <a:gdLst>
                <a:gd name="connsiteX0" fmla="*/ 1905 w 13335"/>
                <a:gd name="connsiteY0" fmla="*/ 8572 h 9525"/>
                <a:gd name="connsiteX1" fmla="*/ 0 w 13335"/>
                <a:gd name="connsiteY1" fmla="*/ 6667 h 9525"/>
                <a:gd name="connsiteX2" fmla="*/ 0 w 13335"/>
                <a:gd name="connsiteY2" fmla="*/ 4763 h 9525"/>
                <a:gd name="connsiteX3" fmla="*/ 6668 w 13335"/>
                <a:gd name="connsiteY3" fmla="*/ 0 h 9525"/>
                <a:gd name="connsiteX4" fmla="*/ 10478 w 13335"/>
                <a:gd name="connsiteY4" fmla="*/ 0 h 9525"/>
                <a:gd name="connsiteX5" fmla="*/ 11430 w 13335"/>
                <a:gd name="connsiteY5" fmla="*/ 953 h 9525"/>
                <a:gd name="connsiteX6" fmla="*/ 11430 w 13335"/>
                <a:gd name="connsiteY6" fmla="*/ 5715 h 9525"/>
                <a:gd name="connsiteX7" fmla="*/ 13335 w 13335"/>
                <a:gd name="connsiteY7" fmla="*/ 6667 h 9525"/>
                <a:gd name="connsiteX8" fmla="*/ 13335 w 13335"/>
                <a:gd name="connsiteY8" fmla="*/ 9525 h 9525"/>
                <a:gd name="connsiteX9" fmla="*/ 11430 w 13335"/>
                <a:gd name="connsiteY9" fmla="*/ 9525 h 9525"/>
                <a:gd name="connsiteX10" fmla="*/ 9525 w 13335"/>
                <a:gd name="connsiteY10" fmla="*/ 6667 h 9525"/>
                <a:gd name="connsiteX11" fmla="*/ 6668 w 13335"/>
                <a:gd name="connsiteY11" fmla="*/ 6667 h 9525"/>
                <a:gd name="connsiteX12" fmla="*/ 4763 w 13335"/>
                <a:gd name="connsiteY12" fmla="*/ 7620 h 9525"/>
                <a:gd name="connsiteX13" fmla="*/ 4763 w 13335"/>
                <a:gd name="connsiteY13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" h="9525">
                  <a:moveTo>
                    <a:pt x="1905" y="8572"/>
                  </a:moveTo>
                  <a:lnTo>
                    <a:pt x="0" y="6667"/>
                  </a:lnTo>
                  <a:lnTo>
                    <a:pt x="0" y="4763"/>
                  </a:lnTo>
                  <a:lnTo>
                    <a:pt x="6668" y="0"/>
                  </a:lnTo>
                  <a:lnTo>
                    <a:pt x="10478" y="0"/>
                  </a:lnTo>
                  <a:lnTo>
                    <a:pt x="11430" y="953"/>
                  </a:lnTo>
                  <a:lnTo>
                    <a:pt x="11430" y="5715"/>
                  </a:lnTo>
                  <a:lnTo>
                    <a:pt x="13335" y="6667"/>
                  </a:lnTo>
                  <a:lnTo>
                    <a:pt x="13335" y="9525"/>
                  </a:lnTo>
                  <a:lnTo>
                    <a:pt x="11430" y="9525"/>
                  </a:lnTo>
                  <a:lnTo>
                    <a:pt x="9525" y="6667"/>
                  </a:lnTo>
                  <a:lnTo>
                    <a:pt x="6668" y="6667"/>
                  </a:lnTo>
                  <a:lnTo>
                    <a:pt x="4763" y="7620"/>
                  </a:lnTo>
                  <a:lnTo>
                    <a:pt x="4763" y="9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DE53AE6-7561-428A-BD79-F8324A6D59CE}"/>
                </a:ext>
              </a:extLst>
            </p:cNvPr>
            <p:cNvSpPr/>
            <p:nvPr/>
          </p:nvSpPr>
          <p:spPr>
            <a:xfrm>
              <a:off x="5779769" y="3179444"/>
              <a:ext cx="23812" cy="13335"/>
            </a:xfrm>
            <a:custGeom>
              <a:avLst/>
              <a:gdLst>
                <a:gd name="connsiteX0" fmla="*/ 1905 w 23812"/>
                <a:gd name="connsiteY0" fmla="*/ 13335 h 13335"/>
                <a:gd name="connsiteX1" fmla="*/ 8573 w 23812"/>
                <a:gd name="connsiteY1" fmla="*/ 13335 h 13335"/>
                <a:gd name="connsiteX2" fmla="*/ 13335 w 23812"/>
                <a:gd name="connsiteY2" fmla="*/ 8573 h 13335"/>
                <a:gd name="connsiteX3" fmla="*/ 23813 w 23812"/>
                <a:gd name="connsiteY3" fmla="*/ 5715 h 13335"/>
                <a:gd name="connsiteX4" fmla="*/ 23813 w 23812"/>
                <a:gd name="connsiteY4" fmla="*/ 3810 h 13335"/>
                <a:gd name="connsiteX5" fmla="*/ 17145 w 23812"/>
                <a:gd name="connsiteY5" fmla="*/ 0 h 13335"/>
                <a:gd name="connsiteX6" fmla="*/ 11430 w 23812"/>
                <a:gd name="connsiteY6" fmla="*/ 1905 h 13335"/>
                <a:gd name="connsiteX7" fmla="*/ 5715 w 23812"/>
                <a:gd name="connsiteY7" fmla="*/ 7620 h 13335"/>
                <a:gd name="connsiteX8" fmla="*/ 0 w 23812"/>
                <a:gd name="connsiteY8" fmla="*/ 11430 h 1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12" h="13335">
                  <a:moveTo>
                    <a:pt x="1905" y="13335"/>
                  </a:moveTo>
                  <a:lnTo>
                    <a:pt x="8573" y="13335"/>
                  </a:lnTo>
                  <a:lnTo>
                    <a:pt x="13335" y="8573"/>
                  </a:lnTo>
                  <a:lnTo>
                    <a:pt x="23813" y="5715"/>
                  </a:lnTo>
                  <a:lnTo>
                    <a:pt x="23813" y="3810"/>
                  </a:lnTo>
                  <a:lnTo>
                    <a:pt x="17145" y="0"/>
                  </a:lnTo>
                  <a:lnTo>
                    <a:pt x="11430" y="1905"/>
                  </a:lnTo>
                  <a:lnTo>
                    <a:pt x="5715" y="762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0EC836F-D28C-481E-B3C3-E4A3F715D586}"/>
                </a:ext>
              </a:extLst>
            </p:cNvPr>
            <p:cNvSpPr/>
            <p:nvPr/>
          </p:nvSpPr>
          <p:spPr>
            <a:xfrm>
              <a:off x="5813107" y="3174682"/>
              <a:ext cx="19050" cy="9525"/>
            </a:xfrm>
            <a:custGeom>
              <a:avLst/>
              <a:gdLst>
                <a:gd name="connsiteX0" fmla="*/ 0 w 19050"/>
                <a:gd name="connsiteY0" fmla="*/ 4763 h 9525"/>
                <a:gd name="connsiteX1" fmla="*/ 0 w 19050"/>
                <a:gd name="connsiteY1" fmla="*/ 9525 h 9525"/>
                <a:gd name="connsiteX2" fmla="*/ 11430 w 19050"/>
                <a:gd name="connsiteY2" fmla="*/ 9525 h 9525"/>
                <a:gd name="connsiteX3" fmla="*/ 16193 w 19050"/>
                <a:gd name="connsiteY3" fmla="*/ 8573 h 9525"/>
                <a:gd name="connsiteX4" fmla="*/ 19050 w 19050"/>
                <a:gd name="connsiteY4" fmla="*/ 4763 h 9525"/>
                <a:gd name="connsiteX5" fmla="*/ 18098 w 19050"/>
                <a:gd name="connsiteY5" fmla="*/ 953 h 9525"/>
                <a:gd name="connsiteX6" fmla="*/ 15240 w 19050"/>
                <a:gd name="connsiteY6" fmla="*/ 0 h 9525"/>
                <a:gd name="connsiteX7" fmla="*/ 12383 w 19050"/>
                <a:gd name="connsiteY7" fmla="*/ 4763 h 9525"/>
                <a:gd name="connsiteX8" fmla="*/ 11430 w 19050"/>
                <a:gd name="connsiteY8" fmla="*/ 4763 h 9525"/>
                <a:gd name="connsiteX9" fmla="*/ 10478 w 19050"/>
                <a:gd name="connsiteY9" fmla="*/ 3810 h 9525"/>
                <a:gd name="connsiteX10" fmla="*/ 7620 w 19050"/>
                <a:gd name="connsiteY10" fmla="*/ 953 h 9525"/>
                <a:gd name="connsiteX11" fmla="*/ 4763 w 19050"/>
                <a:gd name="connsiteY11" fmla="*/ 190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050" h="9525">
                  <a:moveTo>
                    <a:pt x="0" y="4763"/>
                  </a:moveTo>
                  <a:lnTo>
                    <a:pt x="0" y="9525"/>
                  </a:lnTo>
                  <a:lnTo>
                    <a:pt x="11430" y="9525"/>
                  </a:lnTo>
                  <a:lnTo>
                    <a:pt x="16193" y="8573"/>
                  </a:lnTo>
                  <a:lnTo>
                    <a:pt x="19050" y="4763"/>
                  </a:lnTo>
                  <a:lnTo>
                    <a:pt x="18098" y="953"/>
                  </a:lnTo>
                  <a:lnTo>
                    <a:pt x="15240" y="0"/>
                  </a:lnTo>
                  <a:lnTo>
                    <a:pt x="12383" y="4763"/>
                  </a:lnTo>
                  <a:lnTo>
                    <a:pt x="11430" y="4763"/>
                  </a:lnTo>
                  <a:lnTo>
                    <a:pt x="10478" y="3810"/>
                  </a:lnTo>
                  <a:lnTo>
                    <a:pt x="7620" y="953"/>
                  </a:lnTo>
                  <a:lnTo>
                    <a:pt x="4763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8688402-0C0D-4262-9C7E-D980D4B7C5D7}"/>
                </a:ext>
              </a:extLst>
            </p:cNvPr>
            <p:cNvSpPr/>
            <p:nvPr/>
          </p:nvSpPr>
          <p:spPr>
            <a:xfrm>
              <a:off x="5786437" y="3188017"/>
              <a:ext cx="32384" cy="17144"/>
            </a:xfrm>
            <a:custGeom>
              <a:avLst/>
              <a:gdLst>
                <a:gd name="connsiteX0" fmla="*/ 6668 w 32384"/>
                <a:gd name="connsiteY0" fmla="*/ 7620 h 17144"/>
                <a:gd name="connsiteX1" fmla="*/ 6668 w 32384"/>
                <a:gd name="connsiteY1" fmla="*/ 5715 h 17144"/>
                <a:gd name="connsiteX2" fmla="*/ 14288 w 32384"/>
                <a:gd name="connsiteY2" fmla="*/ 952 h 17144"/>
                <a:gd name="connsiteX3" fmla="*/ 20003 w 32384"/>
                <a:gd name="connsiteY3" fmla="*/ 0 h 17144"/>
                <a:gd name="connsiteX4" fmla="*/ 27622 w 32384"/>
                <a:gd name="connsiteY4" fmla="*/ 3810 h 17144"/>
                <a:gd name="connsiteX5" fmla="*/ 32385 w 32384"/>
                <a:gd name="connsiteY5" fmla="*/ 4763 h 17144"/>
                <a:gd name="connsiteX6" fmla="*/ 32385 w 32384"/>
                <a:gd name="connsiteY6" fmla="*/ 7620 h 17144"/>
                <a:gd name="connsiteX7" fmla="*/ 29528 w 32384"/>
                <a:gd name="connsiteY7" fmla="*/ 10477 h 17144"/>
                <a:gd name="connsiteX8" fmla="*/ 30480 w 32384"/>
                <a:gd name="connsiteY8" fmla="*/ 11430 h 17144"/>
                <a:gd name="connsiteX9" fmla="*/ 31432 w 32384"/>
                <a:gd name="connsiteY9" fmla="*/ 14288 h 17144"/>
                <a:gd name="connsiteX10" fmla="*/ 30480 w 32384"/>
                <a:gd name="connsiteY10" fmla="*/ 14288 h 17144"/>
                <a:gd name="connsiteX11" fmla="*/ 26670 w 32384"/>
                <a:gd name="connsiteY11" fmla="*/ 15240 h 17144"/>
                <a:gd name="connsiteX12" fmla="*/ 23813 w 32384"/>
                <a:gd name="connsiteY12" fmla="*/ 17145 h 17144"/>
                <a:gd name="connsiteX13" fmla="*/ 20955 w 32384"/>
                <a:gd name="connsiteY13" fmla="*/ 16192 h 17144"/>
                <a:gd name="connsiteX14" fmla="*/ 18097 w 32384"/>
                <a:gd name="connsiteY14" fmla="*/ 15240 h 17144"/>
                <a:gd name="connsiteX15" fmla="*/ 11430 w 32384"/>
                <a:gd name="connsiteY15" fmla="*/ 15240 h 17144"/>
                <a:gd name="connsiteX16" fmla="*/ 3810 w 32384"/>
                <a:gd name="connsiteY16" fmla="*/ 15240 h 17144"/>
                <a:gd name="connsiteX17" fmla="*/ 0 w 32384"/>
                <a:gd name="connsiteY17" fmla="*/ 12382 h 17144"/>
                <a:gd name="connsiteX18" fmla="*/ 0 w 32384"/>
                <a:gd name="connsiteY18" fmla="*/ 10477 h 17144"/>
                <a:gd name="connsiteX19" fmla="*/ 6668 w 32384"/>
                <a:gd name="connsiteY19" fmla="*/ 9525 h 17144"/>
                <a:gd name="connsiteX20" fmla="*/ 10478 w 32384"/>
                <a:gd name="connsiteY20" fmla="*/ 10477 h 17144"/>
                <a:gd name="connsiteX21" fmla="*/ 10478 w 32384"/>
                <a:gd name="connsiteY21" fmla="*/ 8572 h 17144"/>
                <a:gd name="connsiteX22" fmla="*/ 7620 w 32384"/>
                <a:gd name="connsiteY22" fmla="*/ 7620 h 1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384" h="17144">
                  <a:moveTo>
                    <a:pt x="6668" y="7620"/>
                  </a:moveTo>
                  <a:lnTo>
                    <a:pt x="6668" y="5715"/>
                  </a:lnTo>
                  <a:lnTo>
                    <a:pt x="14288" y="952"/>
                  </a:lnTo>
                  <a:lnTo>
                    <a:pt x="20003" y="0"/>
                  </a:lnTo>
                  <a:lnTo>
                    <a:pt x="27622" y="3810"/>
                  </a:lnTo>
                  <a:lnTo>
                    <a:pt x="32385" y="4763"/>
                  </a:lnTo>
                  <a:lnTo>
                    <a:pt x="32385" y="7620"/>
                  </a:lnTo>
                  <a:lnTo>
                    <a:pt x="29528" y="10477"/>
                  </a:lnTo>
                  <a:lnTo>
                    <a:pt x="30480" y="11430"/>
                  </a:lnTo>
                  <a:lnTo>
                    <a:pt x="31432" y="14288"/>
                  </a:lnTo>
                  <a:lnTo>
                    <a:pt x="30480" y="14288"/>
                  </a:lnTo>
                  <a:lnTo>
                    <a:pt x="26670" y="15240"/>
                  </a:lnTo>
                  <a:lnTo>
                    <a:pt x="23813" y="17145"/>
                  </a:lnTo>
                  <a:lnTo>
                    <a:pt x="20955" y="16192"/>
                  </a:lnTo>
                  <a:lnTo>
                    <a:pt x="18097" y="15240"/>
                  </a:lnTo>
                  <a:lnTo>
                    <a:pt x="11430" y="15240"/>
                  </a:lnTo>
                  <a:lnTo>
                    <a:pt x="3810" y="15240"/>
                  </a:lnTo>
                  <a:lnTo>
                    <a:pt x="0" y="12382"/>
                  </a:lnTo>
                  <a:lnTo>
                    <a:pt x="0" y="10477"/>
                  </a:lnTo>
                  <a:lnTo>
                    <a:pt x="6668" y="9525"/>
                  </a:lnTo>
                  <a:lnTo>
                    <a:pt x="10478" y="10477"/>
                  </a:lnTo>
                  <a:lnTo>
                    <a:pt x="10478" y="8572"/>
                  </a:lnTo>
                  <a:lnTo>
                    <a:pt x="7620" y="762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4EFA07C-86F7-4424-AACF-CC949D2B093E}"/>
                </a:ext>
              </a:extLst>
            </p:cNvPr>
            <p:cNvSpPr/>
            <p:nvPr/>
          </p:nvSpPr>
          <p:spPr>
            <a:xfrm>
              <a:off x="5826442" y="3186112"/>
              <a:ext cx="13334" cy="11430"/>
            </a:xfrm>
            <a:custGeom>
              <a:avLst/>
              <a:gdLst>
                <a:gd name="connsiteX0" fmla="*/ 0 w 13334"/>
                <a:gd name="connsiteY0" fmla="*/ 3810 h 11430"/>
                <a:gd name="connsiteX1" fmla="*/ 6667 w 13334"/>
                <a:gd name="connsiteY1" fmla="*/ 0 h 11430"/>
                <a:gd name="connsiteX2" fmla="*/ 13335 w 13334"/>
                <a:gd name="connsiteY2" fmla="*/ 1905 h 11430"/>
                <a:gd name="connsiteX3" fmla="*/ 13335 w 13334"/>
                <a:gd name="connsiteY3" fmla="*/ 4763 h 11430"/>
                <a:gd name="connsiteX4" fmla="*/ 11430 w 13334"/>
                <a:gd name="connsiteY4" fmla="*/ 7620 h 11430"/>
                <a:gd name="connsiteX5" fmla="*/ 7620 w 13334"/>
                <a:gd name="connsiteY5" fmla="*/ 11430 h 11430"/>
                <a:gd name="connsiteX6" fmla="*/ 2857 w 13334"/>
                <a:gd name="connsiteY6" fmla="*/ 11430 h 11430"/>
                <a:gd name="connsiteX7" fmla="*/ 0 w 13334"/>
                <a:gd name="connsiteY7" fmla="*/ 8572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34" h="11430">
                  <a:moveTo>
                    <a:pt x="0" y="3810"/>
                  </a:moveTo>
                  <a:lnTo>
                    <a:pt x="6667" y="0"/>
                  </a:lnTo>
                  <a:lnTo>
                    <a:pt x="13335" y="1905"/>
                  </a:lnTo>
                  <a:lnTo>
                    <a:pt x="13335" y="4763"/>
                  </a:lnTo>
                  <a:lnTo>
                    <a:pt x="11430" y="7620"/>
                  </a:lnTo>
                  <a:lnTo>
                    <a:pt x="7620" y="11430"/>
                  </a:lnTo>
                  <a:lnTo>
                    <a:pt x="2857" y="11430"/>
                  </a:lnTo>
                  <a:lnTo>
                    <a:pt x="0" y="8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B06D17F-C4EE-468C-AE2D-A3C30D789300}"/>
                </a:ext>
              </a:extLst>
            </p:cNvPr>
            <p:cNvSpPr/>
            <p:nvPr/>
          </p:nvSpPr>
          <p:spPr>
            <a:xfrm>
              <a:off x="5841682" y="3188017"/>
              <a:ext cx="12382" cy="7619"/>
            </a:xfrm>
            <a:custGeom>
              <a:avLst/>
              <a:gdLst>
                <a:gd name="connsiteX0" fmla="*/ 0 w 12382"/>
                <a:gd name="connsiteY0" fmla="*/ 3810 h 7619"/>
                <a:gd name="connsiteX1" fmla="*/ 0 w 12382"/>
                <a:gd name="connsiteY1" fmla="*/ 7620 h 7619"/>
                <a:gd name="connsiteX2" fmla="*/ 2858 w 12382"/>
                <a:gd name="connsiteY2" fmla="*/ 7620 h 7619"/>
                <a:gd name="connsiteX3" fmla="*/ 7620 w 12382"/>
                <a:gd name="connsiteY3" fmla="*/ 5715 h 7619"/>
                <a:gd name="connsiteX4" fmla="*/ 12383 w 12382"/>
                <a:gd name="connsiteY4" fmla="*/ 2857 h 7619"/>
                <a:gd name="connsiteX5" fmla="*/ 12383 w 12382"/>
                <a:gd name="connsiteY5" fmla="*/ 0 h 7619"/>
                <a:gd name="connsiteX6" fmla="*/ 6668 w 12382"/>
                <a:gd name="connsiteY6" fmla="*/ 0 h 7619"/>
                <a:gd name="connsiteX7" fmla="*/ 2858 w 12382"/>
                <a:gd name="connsiteY7" fmla="*/ 952 h 7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82" h="7619">
                  <a:moveTo>
                    <a:pt x="0" y="3810"/>
                  </a:moveTo>
                  <a:lnTo>
                    <a:pt x="0" y="7620"/>
                  </a:lnTo>
                  <a:lnTo>
                    <a:pt x="2858" y="7620"/>
                  </a:lnTo>
                  <a:lnTo>
                    <a:pt x="7620" y="5715"/>
                  </a:lnTo>
                  <a:lnTo>
                    <a:pt x="12383" y="2857"/>
                  </a:lnTo>
                  <a:lnTo>
                    <a:pt x="12383" y="0"/>
                  </a:lnTo>
                  <a:lnTo>
                    <a:pt x="6668" y="0"/>
                  </a:lnTo>
                  <a:lnTo>
                    <a:pt x="2858" y="9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E9D6013-A25D-49CB-A34B-2E22AC66E6F4}"/>
                </a:ext>
              </a:extLst>
            </p:cNvPr>
            <p:cNvSpPr/>
            <p:nvPr/>
          </p:nvSpPr>
          <p:spPr>
            <a:xfrm>
              <a:off x="5841682" y="3177540"/>
              <a:ext cx="7620" cy="7619"/>
            </a:xfrm>
            <a:custGeom>
              <a:avLst/>
              <a:gdLst>
                <a:gd name="connsiteX0" fmla="*/ 0 w 7620"/>
                <a:gd name="connsiteY0" fmla="*/ 1905 h 7619"/>
                <a:gd name="connsiteX1" fmla="*/ 953 w 7620"/>
                <a:gd name="connsiteY1" fmla="*/ 7620 h 7619"/>
                <a:gd name="connsiteX2" fmla="*/ 2858 w 7620"/>
                <a:gd name="connsiteY2" fmla="*/ 7620 h 7619"/>
                <a:gd name="connsiteX3" fmla="*/ 7620 w 7620"/>
                <a:gd name="connsiteY3" fmla="*/ 4763 h 7619"/>
                <a:gd name="connsiteX4" fmla="*/ 7620 w 7620"/>
                <a:gd name="connsiteY4" fmla="*/ 1905 h 7619"/>
                <a:gd name="connsiteX5" fmla="*/ 5715 w 7620"/>
                <a:gd name="connsiteY5" fmla="*/ 0 h 7619"/>
                <a:gd name="connsiteX6" fmla="*/ 2858 w 7620"/>
                <a:gd name="connsiteY6" fmla="*/ 0 h 7619"/>
                <a:gd name="connsiteX7" fmla="*/ 0 w 7620"/>
                <a:gd name="connsiteY7" fmla="*/ 0 h 7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0" h="7619">
                  <a:moveTo>
                    <a:pt x="0" y="1905"/>
                  </a:moveTo>
                  <a:lnTo>
                    <a:pt x="953" y="7620"/>
                  </a:lnTo>
                  <a:lnTo>
                    <a:pt x="2858" y="7620"/>
                  </a:lnTo>
                  <a:lnTo>
                    <a:pt x="7620" y="4763"/>
                  </a:lnTo>
                  <a:lnTo>
                    <a:pt x="7620" y="1905"/>
                  </a:lnTo>
                  <a:lnTo>
                    <a:pt x="5715" y="0"/>
                  </a:lnTo>
                  <a:lnTo>
                    <a:pt x="285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C88F66-C7A5-4A7C-B850-E543DC6A62AF}"/>
                </a:ext>
              </a:extLst>
            </p:cNvPr>
            <p:cNvSpPr/>
            <p:nvPr/>
          </p:nvSpPr>
          <p:spPr>
            <a:xfrm>
              <a:off x="5855969" y="3177540"/>
              <a:ext cx="25717" cy="9525"/>
            </a:xfrm>
            <a:custGeom>
              <a:avLst/>
              <a:gdLst>
                <a:gd name="connsiteX0" fmla="*/ 0 w 25717"/>
                <a:gd name="connsiteY0" fmla="*/ 953 h 9525"/>
                <a:gd name="connsiteX1" fmla="*/ 1905 w 25717"/>
                <a:gd name="connsiteY1" fmla="*/ 6667 h 9525"/>
                <a:gd name="connsiteX2" fmla="*/ 10478 w 25717"/>
                <a:gd name="connsiteY2" fmla="*/ 9525 h 9525"/>
                <a:gd name="connsiteX3" fmla="*/ 25718 w 25717"/>
                <a:gd name="connsiteY3" fmla="*/ 9525 h 9525"/>
                <a:gd name="connsiteX4" fmla="*/ 24765 w 25717"/>
                <a:gd name="connsiteY4" fmla="*/ 5715 h 9525"/>
                <a:gd name="connsiteX5" fmla="*/ 9525 w 25717"/>
                <a:gd name="connsiteY5" fmla="*/ 5715 h 9525"/>
                <a:gd name="connsiteX6" fmla="*/ 4763 w 25717"/>
                <a:gd name="connsiteY6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" h="9525">
                  <a:moveTo>
                    <a:pt x="0" y="953"/>
                  </a:moveTo>
                  <a:lnTo>
                    <a:pt x="1905" y="6667"/>
                  </a:lnTo>
                  <a:lnTo>
                    <a:pt x="10478" y="9525"/>
                  </a:lnTo>
                  <a:lnTo>
                    <a:pt x="25718" y="9525"/>
                  </a:lnTo>
                  <a:lnTo>
                    <a:pt x="24765" y="5715"/>
                  </a:lnTo>
                  <a:lnTo>
                    <a:pt x="9525" y="5715"/>
                  </a:lnTo>
                  <a:lnTo>
                    <a:pt x="47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C77B4D2-3C7D-45B2-A6F7-7F225DDB7A02}"/>
                </a:ext>
              </a:extLst>
            </p:cNvPr>
            <p:cNvSpPr/>
            <p:nvPr/>
          </p:nvSpPr>
          <p:spPr>
            <a:xfrm>
              <a:off x="5851207" y="3189922"/>
              <a:ext cx="47625" cy="47625"/>
            </a:xfrm>
            <a:custGeom>
              <a:avLst/>
              <a:gdLst>
                <a:gd name="connsiteX0" fmla="*/ 953 w 47625"/>
                <a:gd name="connsiteY0" fmla="*/ 11430 h 47625"/>
                <a:gd name="connsiteX1" fmla="*/ 0 w 47625"/>
                <a:gd name="connsiteY1" fmla="*/ 6668 h 47625"/>
                <a:gd name="connsiteX2" fmla="*/ 9525 w 47625"/>
                <a:gd name="connsiteY2" fmla="*/ 0 h 47625"/>
                <a:gd name="connsiteX3" fmla="*/ 15240 w 47625"/>
                <a:gd name="connsiteY3" fmla="*/ 0 h 47625"/>
                <a:gd name="connsiteX4" fmla="*/ 19050 w 47625"/>
                <a:gd name="connsiteY4" fmla="*/ 0 h 47625"/>
                <a:gd name="connsiteX5" fmla="*/ 19050 w 47625"/>
                <a:gd name="connsiteY5" fmla="*/ 1905 h 47625"/>
                <a:gd name="connsiteX6" fmla="*/ 19050 w 47625"/>
                <a:gd name="connsiteY6" fmla="*/ 2858 h 47625"/>
                <a:gd name="connsiteX7" fmla="*/ 20955 w 47625"/>
                <a:gd name="connsiteY7" fmla="*/ 5715 h 47625"/>
                <a:gd name="connsiteX8" fmla="*/ 28575 w 47625"/>
                <a:gd name="connsiteY8" fmla="*/ 4763 h 47625"/>
                <a:gd name="connsiteX9" fmla="*/ 31433 w 47625"/>
                <a:gd name="connsiteY9" fmla="*/ 7620 h 47625"/>
                <a:gd name="connsiteX10" fmla="*/ 37148 w 47625"/>
                <a:gd name="connsiteY10" fmla="*/ 11430 h 47625"/>
                <a:gd name="connsiteX11" fmla="*/ 40958 w 47625"/>
                <a:gd name="connsiteY11" fmla="*/ 15240 h 47625"/>
                <a:gd name="connsiteX12" fmla="*/ 40005 w 47625"/>
                <a:gd name="connsiteY12" fmla="*/ 18097 h 47625"/>
                <a:gd name="connsiteX13" fmla="*/ 38100 w 47625"/>
                <a:gd name="connsiteY13" fmla="*/ 20955 h 47625"/>
                <a:gd name="connsiteX14" fmla="*/ 38100 w 47625"/>
                <a:gd name="connsiteY14" fmla="*/ 21908 h 47625"/>
                <a:gd name="connsiteX15" fmla="*/ 47625 w 47625"/>
                <a:gd name="connsiteY15" fmla="*/ 27622 h 47625"/>
                <a:gd name="connsiteX16" fmla="*/ 46673 w 47625"/>
                <a:gd name="connsiteY16" fmla="*/ 30480 h 47625"/>
                <a:gd name="connsiteX17" fmla="*/ 37148 w 47625"/>
                <a:gd name="connsiteY17" fmla="*/ 36195 h 47625"/>
                <a:gd name="connsiteX18" fmla="*/ 34290 w 47625"/>
                <a:gd name="connsiteY18" fmla="*/ 34290 h 47625"/>
                <a:gd name="connsiteX19" fmla="*/ 32385 w 47625"/>
                <a:gd name="connsiteY19" fmla="*/ 31433 h 47625"/>
                <a:gd name="connsiteX20" fmla="*/ 30480 w 47625"/>
                <a:gd name="connsiteY20" fmla="*/ 31433 h 47625"/>
                <a:gd name="connsiteX21" fmla="*/ 30480 w 47625"/>
                <a:gd name="connsiteY21" fmla="*/ 37147 h 47625"/>
                <a:gd name="connsiteX22" fmla="*/ 25718 w 47625"/>
                <a:gd name="connsiteY22" fmla="*/ 46672 h 47625"/>
                <a:gd name="connsiteX23" fmla="*/ 23813 w 47625"/>
                <a:gd name="connsiteY23" fmla="*/ 47625 h 47625"/>
                <a:gd name="connsiteX24" fmla="*/ 20003 w 47625"/>
                <a:gd name="connsiteY24" fmla="*/ 44768 h 47625"/>
                <a:gd name="connsiteX25" fmla="*/ 12383 w 47625"/>
                <a:gd name="connsiteY25" fmla="*/ 37147 h 47625"/>
                <a:gd name="connsiteX26" fmla="*/ 2858 w 47625"/>
                <a:gd name="connsiteY26" fmla="*/ 37147 h 47625"/>
                <a:gd name="connsiteX27" fmla="*/ 953 w 47625"/>
                <a:gd name="connsiteY27" fmla="*/ 35243 h 47625"/>
                <a:gd name="connsiteX28" fmla="*/ 5715 w 47625"/>
                <a:gd name="connsiteY28" fmla="*/ 31433 h 47625"/>
                <a:gd name="connsiteX29" fmla="*/ 8573 w 47625"/>
                <a:gd name="connsiteY29" fmla="*/ 31433 h 47625"/>
                <a:gd name="connsiteX30" fmla="*/ 13335 w 47625"/>
                <a:gd name="connsiteY30" fmla="*/ 31433 h 47625"/>
                <a:gd name="connsiteX31" fmla="*/ 22860 w 47625"/>
                <a:gd name="connsiteY31" fmla="*/ 20955 h 47625"/>
                <a:gd name="connsiteX32" fmla="*/ 25718 w 47625"/>
                <a:gd name="connsiteY32" fmla="*/ 18097 h 47625"/>
                <a:gd name="connsiteX33" fmla="*/ 24765 w 47625"/>
                <a:gd name="connsiteY33" fmla="*/ 15240 h 47625"/>
                <a:gd name="connsiteX34" fmla="*/ 15240 w 47625"/>
                <a:gd name="connsiteY34" fmla="*/ 14288 h 47625"/>
                <a:gd name="connsiteX35" fmla="*/ 6668 w 47625"/>
                <a:gd name="connsiteY35" fmla="*/ 1333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7625" h="47625">
                  <a:moveTo>
                    <a:pt x="953" y="11430"/>
                  </a:moveTo>
                  <a:lnTo>
                    <a:pt x="0" y="6668"/>
                  </a:lnTo>
                  <a:lnTo>
                    <a:pt x="9525" y="0"/>
                  </a:lnTo>
                  <a:lnTo>
                    <a:pt x="15240" y="0"/>
                  </a:lnTo>
                  <a:lnTo>
                    <a:pt x="19050" y="0"/>
                  </a:lnTo>
                  <a:lnTo>
                    <a:pt x="19050" y="1905"/>
                  </a:lnTo>
                  <a:lnTo>
                    <a:pt x="19050" y="2858"/>
                  </a:lnTo>
                  <a:lnTo>
                    <a:pt x="20955" y="5715"/>
                  </a:lnTo>
                  <a:lnTo>
                    <a:pt x="28575" y="4763"/>
                  </a:lnTo>
                  <a:lnTo>
                    <a:pt x="31433" y="7620"/>
                  </a:lnTo>
                  <a:lnTo>
                    <a:pt x="37148" y="11430"/>
                  </a:lnTo>
                  <a:lnTo>
                    <a:pt x="40958" y="15240"/>
                  </a:lnTo>
                  <a:lnTo>
                    <a:pt x="40005" y="18097"/>
                  </a:lnTo>
                  <a:lnTo>
                    <a:pt x="38100" y="20955"/>
                  </a:lnTo>
                  <a:lnTo>
                    <a:pt x="38100" y="21908"/>
                  </a:lnTo>
                  <a:lnTo>
                    <a:pt x="47625" y="27622"/>
                  </a:lnTo>
                  <a:lnTo>
                    <a:pt x="46673" y="30480"/>
                  </a:lnTo>
                  <a:lnTo>
                    <a:pt x="37148" y="36195"/>
                  </a:lnTo>
                  <a:lnTo>
                    <a:pt x="34290" y="34290"/>
                  </a:lnTo>
                  <a:lnTo>
                    <a:pt x="32385" y="31433"/>
                  </a:lnTo>
                  <a:lnTo>
                    <a:pt x="30480" y="31433"/>
                  </a:lnTo>
                  <a:lnTo>
                    <a:pt x="30480" y="37147"/>
                  </a:lnTo>
                  <a:lnTo>
                    <a:pt x="25718" y="46672"/>
                  </a:lnTo>
                  <a:lnTo>
                    <a:pt x="23813" y="47625"/>
                  </a:lnTo>
                  <a:lnTo>
                    <a:pt x="20003" y="44768"/>
                  </a:lnTo>
                  <a:lnTo>
                    <a:pt x="12383" y="37147"/>
                  </a:lnTo>
                  <a:lnTo>
                    <a:pt x="2858" y="37147"/>
                  </a:lnTo>
                  <a:lnTo>
                    <a:pt x="953" y="35243"/>
                  </a:lnTo>
                  <a:lnTo>
                    <a:pt x="5715" y="31433"/>
                  </a:lnTo>
                  <a:lnTo>
                    <a:pt x="8573" y="31433"/>
                  </a:lnTo>
                  <a:lnTo>
                    <a:pt x="13335" y="31433"/>
                  </a:lnTo>
                  <a:lnTo>
                    <a:pt x="22860" y="20955"/>
                  </a:lnTo>
                  <a:lnTo>
                    <a:pt x="25718" y="18097"/>
                  </a:lnTo>
                  <a:lnTo>
                    <a:pt x="24765" y="15240"/>
                  </a:lnTo>
                  <a:lnTo>
                    <a:pt x="15240" y="14288"/>
                  </a:lnTo>
                  <a:lnTo>
                    <a:pt x="6668" y="133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A0BF632-C5E2-43EC-AD6A-F35845200D52}"/>
                </a:ext>
              </a:extLst>
            </p:cNvPr>
            <p:cNvSpPr/>
            <p:nvPr/>
          </p:nvSpPr>
          <p:spPr>
            <a:xfrm>
              <a:off x="5759767" y="3391852"/>
              <a:ext cx="32385" cy="14287"/>
            </a:xfrm>
            <a:custGeom>
              <a:avLst/>
              <a:gdLst>
                <a:gd name="connsiteX0" fmla="*/ 0 w 32385"/>
                <a:gd name="connsiteY0" fmla="*/ 3810 h 14287"/>
                <a:gd name="connsiteX1" fmla="*/ 0 w 32385"/>
                <a:gd name="connsiteY1" fmla="*/ 2858 h 14287"/>
                <a:gd name="connsiteX2" fmla="*/ 3810 w 32385"/>
                <a:gd name="connsiteY2" fmla="*/ 0 h 14287"/>
                <a:gd name="connsiteX3" fmla="*/ 17145 w 32385"/>
                <a:gd name="connsiteY3" fmla="*/ 953 h 14287"/>
                <a:gd name="connsiteX4" fmla="*/ 32385 w 32385"/>
                <a:gd name="connsiteY4" fmla="*/ 11430 h 14287"/>
                <a:gd name="connsiteX5" fmla="*/ 32385 w 32385"/>
                <a:gd name="connsiteY5" fmla="*/ 13335 h 14287"/>
                <a:gd name="connsiteX6" fmla="*/ 32385 w 32385"/>
                <a:gd name="connsiteY6" fmla="*/ 14288 h 14287"/>
                <a:gd name="connsiteX7" fmla="*/ 20955 w 32385"/>
                <a:gd name="connsiteY7" fmla="*/ 14288 h 14287"/>
                <a:gd name="connsiteX8" fmla="*/ 21908 w 32385"/>
                <a:gd name="connsiteY8" fmla="*/ 11430 h 14287"/>
                <a:gd name="connsiteX9" fmla="*/ 20002 w 32385"/>
                <a:gd name="connsiteY9" fmla="*/ 10478 h 14287"/>
                <a:gd name="connsiteX10" fmla="*/ 17145 w 32385"/>
                <a:gd name="connsiteY10" fmla="*/ 7620 h 14287"/>
                <a:gd name="connsiteX11" fmla="*/ 14288 w 32385"/>
                <a:gd name="connsiteY11" fmla="*/ 381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385" h="14287">
                  <a:moveTo>
                    <a:pt x="0" y="3810"/>
                  </a:moveTo>
                  <a:lnTo>
                    <a:pt x="0" y="2858"/>
                  </a:lnTo>
                  <a:lnTo>
                    <a:pt x="3810" y="0"/>
                  </a:lnTo>
                  <a:lnTo>
                    <a:pt x="17145" y="953"/>
                  </a:lnTo>
                  <a:lnTo>
                    <a:pt x="32385" y="11430"/>
                  </a:lnTo>
                  <a:lnTo>
                    <a:pt x="32385" y="13335"/>
                  </a:lnTo>
                  <a:lnTo>
                    <a:pt x="32385" y="14288"/>
                  </a:lnTo>
                  <a:lnTo>
                    <a:pt x="20955" y="14288"/>
                  </a:lnTo>
                  <a:lnTo>
                    <a:pt x="21908" y="11430"/>
                  </a:lnTo>
                  <a:lnTo>
                    <a:pt x="20002" y="10478"/>
                  </a:lnTo>
                  <a:lnTo>
                    <a:pt x="17145" y="7620"/>
                  </a:lnTo>
                  <a:lnTo>
                    <a:pt x="14288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38CA470-0E70-4C06-96E7-418A73C94E8D}"/>
                </a:ext>
              </a:extLst>
            </p:cNvPr>
            <p:cNvSpPr/>
            <p:nvPr/>
          </p:nvSpPr>
          <p:spPr>
            <a:xfrm>
              <a:off x="5776912" y="3410902"/>
              <a:ext cx="5715" cy="2857"/>
            </a:xfrm>
            <a:custGeom>
              <a:avLst/>
              <a:gdLst>
                <a:gd name="connsiteX0" fmla="*/ 0 w 5715"/>
                <a:gd name="connsiteY0" fmla="*/ 0 h 2857"/>
                <a:gd name="connsiteX1" fmla="*/ 5715 w 5715"/>
                <a:gd name="connsiteY1" fmla="*/ 0 h 2857"/>
                <a:gd name="connsiteX2" fmla="*/ 4763 w 5715"/>
                <a:gd name="connsiteY2" fmla="*/ 2858 h 2857"/>
                <a:gd name="connsiteX3" fmla="*/ 1905 w 5715"/>
                <a:gd name="connsiteY3" fmla="*/ 2858 h 2857"/>
                <a:gd name="connsiteX4" fmla="*/ 0 w 5715"/>
                <a:gd name="connsiteY4" fmla="*/ 1905 h 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" h="2857">
                  <a:moveTo>
                    <a:pt x="0" y="0"/>
                  </a:moveTo>
                  <a:lnTo>
                    <a:pt x="5715" y="0"/>
                  </a:lnTo>
                  <a:lnTo>
                    <a:pt x="4763" y="2858"/>
                  </a:lnTo>
                  <a:lnTo>
                    <a:pt x="1905" y="2858"/>
                  </a:lnTo>
                  <a:lnTo>
                    <a:pt x="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D2A06C8-4EE1-425F-BEDA-2F2A338A2169}"/>
                </a:ext>
              </a:extLst>
            </p:cNvPr>
            <p:cNvSpPr/>
            <p:nvPr/>
          </p:nvSpPr>
          <p:spPr>
            <a:xfrm>
              <a:off x="5789294" y="3406139"/>
              <a:ext cx="20955" cy="8572"/>
            </a:xfrm>
            <a:custGeom>
              <a:avLst/>
              <a:gdLst>
                <a:gd name="connsiteX0" fmla="*/ 0 w 20955"/>
                <a:gd name="connsiteY0" fmla="*/ 5715 h 8572"/>
                <a:gd name="connsiteX1" fmla="*/ 0 w 20955"/>
                <a:gd name="connsiteY1" fmla="*/ 6668 h 8572"/>
                <a:gd name="connsiteX2" fmla="*/ 4763 w 20955"/>
                <a:gd name="connsiteY2" fmla="*/ 6668 h 8572"/>
                <a:gd name="connsiteX3" fmla="*/ 9525 w 20955"/>
                <a:gd name="connsiteY3" fmla="*/ 7620 h 8572"/>
                <a:gd name="connsiteX4" fmla="*/ 10478 w 20955"/>
                <a:gd name="connsiteY4" fmla="*/ 8573 h 8572"/>
                <a:gd name="connsiteX5" fmla="*/ 14288 w 20955"/>
                <a:gd name="connsiteY5" fmla="*/ 6668 h 8572"/>
                <a:gd name="connsiteX6" fmla="*/ 20955 w 20955"/>
                <a:gd name="connsiteY6" fmla="*/ 5715 h 8572"/>
                <a:gd name="connsiteX7" fmla="*/ 20955 w 20955"/>
                <a:gd name="connsiteY7" fmla="*/ 3810 h 8572"/>
                <a:gd name="connsiteX8" fmla="*/ 17145 w 20955"/>
                <a:gd name="connsiteY8" fmla="*/ 3810 h 8572"/>
                <a:gd name="connsiteX9" fmla="*/ 13335 w 20955"/>
                <a:gd name="connsiteY9" fmla="*/ 0 h 8572"/>
                <a:gd name="connsiteX10" fmla="*/ 7620 w 20955"/>
                <a:gd name="connsiteY10" fmla="*/ 953 h 8572"/>
                <a:gd name="connsiteX11" fmla="*/ 5715 w 20955"/>
                <a:gd name="connsiteY11" fmla="*/ 953 h 8572"/>
                <a:gd name="connsiteX12" fmla="*/ 5715 w 20955"/>
                <a:gd name="connsiteY12" fmla="*/ 4763 h 8572"/>
                <a:gd name="connsiteX13" fmla="*/ 953 w 20955"/>
                <a:gd name="connsiteY13" fmla="*/ 476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55" h="8572">
                  <a:moveTo>
                    <a:pt x="0" y="5715"/>
                  </a:moveTo>
                  <a:lnTo>
                    <a:pt x="0" y="6668"/>
                  </a:lnTo>
                  <a:lnTo>
                    <a:pt x="4763" y="6668"/>
                  </a:lnTo>
                  <a:lnTo>
                    <a:pt x="9525" y="7620"/>
                  </a:lnTo>
                  <a:lnTo>
                    <a:pt x="10478" y="8573"/>
                  </a:lnTo>
                  <a:lnTo>
                    <a:pt x="14288" y="6668"/>
                  </a:lnTo>
                  <a:lnTo>
                    <a:pt x="20955" y="5715"/>
                  </a:lnTo>
                  <a:lnTo>
                    <a:pt x="20955" y="3810"/>
                  </a:lnTo>
                  <a:lnTo>
                    <a:pt x="17145" y="3810"/>
                  </a:lnTo>
                  <a:lnTo>
                    <a:pt x="13335" y="0"/>
                  </a:lnTo>
                  <a:lnTo>
                    <a:pt x="7620" y="953"/>
                  </a:lnTo>
                  <a:lnTo>
                    <a:pt x="5715" y="953"/>
                  </a:lnTo>
                  <a:lnTo>
                    <a:pt x="5715" y="4763"/>
                  </a:lnTo>
                  <a:lnTo>
                    <a:pt x="953" y="4763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9DC18DE-F7F1-4058-B9F1-9883DA83ED55}"/>
                </a:ext>
              </a:extLst>
            </p:cNvPr>
            <p:cNvSpPr/>
            <p:nvPr/>
          </p:nvSpPr>
          <p:spPr>
            <a:xfrm>
              <a:off x="5814059" y="3411855"/>
              <a:ext cx="6667" cy="2857"/>
            </a:xfrm>
            <a:custGeom>
              <a:avLst/>
              <a:gdLst>
                <a:gd name="connsiteX0" fmla="*/ 1905 w 6667"/>
                <a:gd name="connsiteY0" fmla="*/ 0 h 2857"/>
                <a:gd name="connsiteX1" fmla="*/ 4763 w 6667"/>
                <a:gd name="connsiteY1" fmla="*/ 0 h 2857"/>
                <a:gd name="connsiteX2" fmla="*/ 6668 w 6667"/>
                <a:gd name="connsiteY2" fmla="*/ 1905 h 2857"/>
                <a:gd name="connsiteX3" fmla="*/ 1905 w 6667"/>
                <a:gd name="connsiteY3" fmla="*/ 2857 h 2857"/>
                <a:gd name="connsiteX4" fmla="*/ 0 w 6667"/>
                <a:gd name="connsiteY4" fmla="*/ 1905 h 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2857">
                  <a:moveTo>
                    <a:pt x="1905" y="0"/>
                  </a:moveTo>
                  <a:lnTo>
                    <a:pt x="4763" y="0"/>
                  </a:lnTo>
                  <a:lnTo>
                    <a:pt x="6668" y="1905"/>
                  </a:lnTo>
                  <a:lnTo>
                    <a:pt x="1905" y="2857"/>
                  </a:lnTo>
                  <a:lnTo>
                    <a:pt x="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B9D10E-820E-4434-9F65-CF2C11A8D310}"/>
                </a:ext>
              </a:extLst>
            </p:cNvPr>
            <p:cNvSpPr/>
            <p:nvPr/>
          </p:nvSpPr>
          <p:spPr>
            <a:xfrm>
              <a:off x="5828347" y="3418522"/>
              <a:ext cx="4762" cy="4762"/>
            </a:xfrm>
            <a:custGeom>
              <a:avLst/>
              <a:gdLst>
                <a:gd name="connsiteX0" fmla="*/ 0 w 4762"/>
                <a:gd name="connsiteY0" fmla="*/ 0 h 4762"/>
                <a:gd name="connsiteX1" fmla="*/ 1905 w 4762"/>
                <a:gd name="connsiteY1" fmla="*/ 4763 h 4762"/>
                <a:gd name="connsiteX2" fmla="*/ 4763 w 4762"/>
                <a:gd name="connsiteY2" fmla="*/ 3810 h 4762"/>
                <a:gd name="connsiteX3" fmla="*/ 4763 w 4762"/>
                <a:gd name="connsiteY3" fmla="*/ 952 h 4762"/>
                <a:gd name="connsiteX4" fmla="*/ 2858 w 4762"/>
                <a:gd name="connsiteY4" fmla="*/ 0 h 4762"/>
                <a:gd name="connsiteX5" fmla="*/ 0 w 4762"/>
                <a:gd name="connsiteY5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" h="4762">
                  <a:moveTo>
                    <a:pt x="0" y="0"/>
                  </a:moveTo>
                  <a:lnTo>
                    <a:pt x="1905" y="4763"/>
                  </a:lnTo>
                  <a:lnTo>
                    <a:pt x="4763" y="3810"/>
                  </a:lnTo>
                  <a:lnTo>
                    <a:pt x="4763" y="952"/>
                  </a:lnTo>
                  <a:lnTo>
                    <a:pt x="2858" y="0"/>
                  </a:ln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1FABB73-8B12-41AA-9355-2F7BAA52C6B3}"/>
                </a:ext>
              </a:extLst>
            </p:cNvPr>
            <p:cNvSpPr/>
            <p:nvPr/>
          </p:nvSpPr>
          <p:spPr>
            <a:xfrm>
              <a:off x="5830252" y="3424237"/>
              <a:ext cx="2857" cy="6667"/>
            </a:xfrm>
            <a:custGeom>
              <a:avLst/>
              <a:gdLst>
                <a:gd name="connsiteX0" fmla="*/ 0 w 2857"/>
                <a:gd name="connsiteY0" fmla="*/ 0 h 6667"/>
                <a:gd name="connsiteX1" fmla="*/ 1905 w 2857"/>
                <a:gd name="connsiteY1" fmla="*/ 0 h 6667"/>
                <a:gd name="connsiteX2" fmla="*/ 2857 w 2857"/>
                <a:gd name="connsiteY2" fmla="*/ 6668 h 6667"/>
                <a:gd name="connsiteX3" fmla="*/ 0 w 2857"/>
                <a:gd name="connsiteY3" fmla="*/ 6668 h 6667"/>
                <a:gd name="connsiteX4" fmla="*/ 0 w 2857"/>
                <a:gd name="connsiteY4" fmla="*/ 3810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" h="6667">
                  <a:moveTo>
                    <a:pt x="0" y="0"/>
                  </a:moveTo>
                  <a:lnTo>
                    <a:pt x="1905" y="0"/>
                  </a:lnTo>
                  <a:lnTo>
                    <a:pt x="2857" y="6668"/>
                  </a:lnTo>
                  <a:lnTo>
                    <a:pt x="0" y="6668"/>
                  </a:lnTo>
                  <a:lnTo>
                    <a:pt x="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75EED76-5C36-451B-A962-4C5ECBB9F4BB}"/>
                </a:ext>
              </a:extLst>
            </p:cNvPr>
            <p:cNvSpPr/>
            <p:nvPr/>
          </p:nvSpPr>
          <p:spPr>
            <a:xfrm>
              <a:off x="5910262" y="3153727"/>
              <a:ext cx="115252" cy="94297"/>
            </a:xfrm>
            <a:custGeom>
              <a:avLst/>
              <a:gdLst>
                <a:gd name="connsiteX0" fmla="*/ 67627 w 115252"/>
                <a:gd name="connsiteY0" fmla="*/ 0 h 94297"/>
                <a:gd name="connsiteX1" fmla="*/ 93345 w 115252"/>
                <a:gd name="connsiteY1" fmla="*/ 953 h 94297"/>
                <a:gd name="connsiteX2" fmla="*/ 93345 w 115252"/>
                <a:gd name="connsiteY2" fmla="*/ 2857 h 94297"/>
                <a:gd name="connsiteX3" fmla="*/ 90488 w 115252"/>
                <a:gd name="connsiteY3" fmla="*/ 3810 h 94297"/>
                <a:gd name="connsiteX4" fmla="*/ 85725 w 115252"/>
                <a:gd name="connsiteY4" fmla="*/ 5715 h 94297"/>
                <a:gd name="connsiteX5" fmla="*/ 85725 w 115252"/>
                <a:gd name="connsiteY5" fmla="*/ 6667 h 94297"/>
                <a:gd name="connsiteX6" fmla="*/ 88582 w 115252"/>
                <a:gd name="connsiteY6" fmla="*/ 8572 h 94297"/>
                <a:gd name="connsiteX7" fmla="*/ 92393 w 115252"/>
                <a:gd name="connsiteY7" fmla="*/ 10478 h 94297"/>
                <a:gd name="connsiteX8" fmla="*/ 96202 w 115252"/>
                <a:gd name="connsiteY8" fmla="*/ 12382 h 94297"/>
                <a:gd name="connsiteX9" fmla="*/ 100013 w 115252"/>
                <a:gd name="connsiteY9" fmla="*/ 11430 h 94297"/>
                <a:gd name="connsiteX10" fmla="*/ 103823 w 115252"/>
                <a:gd name="connsiteY10" fmla="*/ 9525 h 94297"/>
                <a:gd name="connsiteX11" fmla="*/ 110490 w 115252"/>
                <a:gd name="connsiteY11" fmla="*/ 9525 h 94297"/>
                <a:gd name="connsiteX12" fmla="*/ 115252 w 115252"/>
                <a:gd name="connsiteY12" fmla="*/ 10478 h 94297"/>
                <a:gd name="connsiteX13" fmla="*/ 115252 w 115252"/>
                <a:gd name="connsiteY13" fmla="*/ 12382 h 94297"/>
                <a:gd name="connsiteX14" fmla="*/ 112395 w 115252"/>
                <a:gd name="connsiteY14" fmla="*/ 13335 h 94297"/>
                <a:gd name="connsiteX15" fmla="*/ 105727 w 115252"/>
                <a:gd name="connsiteY15" fmla="*/ 16192 h 94297"/>
                <a:gd name="connsiteX16" fmla="*/ 103823 w 115252"/>
                <a:gd name="connsiteY16" fmla="*/ 18097 h 94297"/>
                <a:gd name="connsiteX17" fmla="*/ 97155 w 115252"/>
                <a:gd name="connsiteY17" fmla="*/ 21907 h 94297"/>
                <a:gd name="connsiteX18" fmla="*/ 90488 w 115252"/>
                <a:gd name="connsiteY18" fmla="*/ 27622 h 94297"/>
                <a:gd name="connsiteX19" fmla="*/ 90488 w 115252"/>
                <a:gd name="connsiteY19" fmla="*/ 32385 h 94297"/>
                <a:gd name="connsiteX20" fmla="*/ 96202 w 115252"/>
                <a:gd name="connsiteY20" fmla="*/ 36195 h 94297"/>
                <a:gd name="connsiteX21" fmla="*/ 96202 w 115252"/>
                <a:gd name="connsiteY21" fmla="*/ 37147 h 94297"/>
                <a:gd name="connsiteX22" fmla="*/ 92393 w 115252"/>
                <a:gd name="connsiteY22" fmla="*/ 42863 h 94297"/>
                <a:gd name="connsiteX23" fmla="*/ 89535 w 115252"/>
                <a:gd name="connsiteY23" fmla="*/ 45720 h 94297"/>
                <a:gd name="connsiteX24" fmla="*/ 86677 w 115252"/>
                <a:gd name="connsiteY24" fmla="*/ 45720 h 94297"/>
                <a:gd name="connsiteX25" fmla="*/ 84773 w 115252"/>
                <a:gd name="connsiteY25" fmla="*/ 44767 h 94297"/>
                <a:gd name="connsiteX26" fmla="*/ 81915 w 115252"/>
                <a:gd name="connsiteY26" fmla="*/ 45720 h 94297"/>
                <a:gd name="connsiteX27" fmla="*/ 81915 w 115252"/>
                <a:gd name="connsiteY27" fmla="*/ 48578 h 94297"/>
                <a:gd name="connsiteX28" fmla="*/ 85725 w 115252"/>
                <a:gd name="connsiteY28" fmla="*/ 52388 h 94297"/>
                <a:gd name="connsiteX29" fmla="*/ 85725 w 115252"/>
                <a:gd name="connsiteY29" fmla="*/ 54292 h 94297"/>
                <a:gd name="connsiteX30" fmla="*/ 81915 w 115252"/>
                <a:gd name="connsiteY30" fmla="*/ 54292 h 94297"/>
                <a:gd name="connsiteX31" fmla="*/ 80010 w 115252"/>
                <a:gd name="connsiteY31" fmla="*/ 52388 h 94297"/>
                <a:gd name="connsiteX32" fmla="*/ 78105 w 115252"/>
                <a:gd name="connsiteY32" fmla="*/ 52388 h 94297"/>
                <a:gd name="connsiteX33" fmla="*/ 78105 w 115252"/>
                <a:gd name="connsiteY33" fmla="*/ 55245 h 94297"/>
                <a:gd name="connsiteX34" fmla="*/ 82868 w 115252"/>
                <a:gd name="connsiteY34" fmla="*/ 57150 h 94297"/>
                <a:gd name="connsiteX35" fmla="*/ 85725 w 115252"/>
                <a:gd name="connsiteY35" fmla="*/ 57150 h 94297"/>
                <a:gd name="connsiteX36" fmla="*/ 84773 w 115252"/>
                <a:gd name="connsiteY36" fmla="*/ 60960 h 94297"/>
                <a:gd name="connsiteX37" fmla="*/ 76200 w 115252"/>
                <a:gd name="connsiteY37" fmla="*/ 60960 h 94297"/>
                <a:gd name="connsiteX38" fmla="*/ 63818 w 115252"/>
                <a:gd name="connsiteY38" fmla="*/ 62865 h 94297"/>
                <a:gd name="connsiteX39" fmla="*/ 50482 w 115252"/>
                <a:gd name="connsiteY39" fmla="*/ 68580 h 94297"/>
                <a:gd name="connsiteX40" fmla="*/ 39052 w 115252"/>
                <a:gd name="connsiteY40" fmla="*/ 72390 h 94297"/>
                <a:gd name="connsiteX41" fmla="*/ 22860 w 115252"/>
                <a:gd name="connsiteY41" fmla="*/ 92392 h 94297"/>
                <a:gd name="connsiteX42" fmla="*/ 19050 w 115252"/>
                <a:gd name="connsiteY42" fmla="*/ 94298 h 94297"/>
                <a:gd name="connsiteX43" fmla="*/ 14288 w 115252"/>
                <a:gd name="connsiteY43" fmla="*/ 89535 h 94297"/>
                <a:gd name="connsiteX44" fmla="*/ 8572 w 115252"/>
                <a:gd name="connsiteY44" fmla="*/ 85725 h 94297"/>
                <a:gd name="connsiteX45" fmla="*/ 8572 w 115252"/>
                <a:gd name="connsiteY45" fmla="*/ 71438 h 94297"/>
                <a:gd name="connsiteX46" fmla="*/ 16193 w 115252"/>
                <a:gd name="connsiteY46" fmla="*/ 60960 h 94297"/>
                <a:gd name="connsiteX47" fmla="*/ 21907 w 115252"/>
                <a:gd name="connsiteY47" fmla="*/ 51435 h 94297"/>
                <a:gd name="connsiteX48" fmla="*/ 18098 w 115252"/>
                <a:gd name="connsiteY48" fmla="*/ 43815 h 94297"/>
                <a:gd name="connsiteX49" fmla="*/ 16193 w 115252"/>
                <a:gd name="connsiteY49" fmla="*/ 33338 h 94297"/>
                <a:gd name="connsiteX50" fmla="*/ 9525 w 115252"/>
                <a:gd name="connsiteY50" fmla="*/ 28575 h 94297"/>
                <a:gd name="connsiteX51" fmla="*/ 4763 w 115252"/>
                <a:gd name="connsiteY51" fmla="*/ 28575 h 94297"/>
                <a:gd name="connsiteX52" fmla="*/ 953 w 115252"/>
                <a:gd name="connsiteY52" fmla="*/ 28575 h 94297"/>
                <a:gd name="connsiteX53" fmla="*/ 0 w 115252"/>
                <a:gd name="connsiteY53" fmla="*/ 23813 h 94297"/>
                <a:gd name="connsiteX54" fmla="*/ 3810 w 115252"/>
                <a:gd name="connsiteY54" fmla="*/ 20955 h 94297"/>
                <a:gd name="connsiteX55" fmla="*/ 5715 w 115252"/>
                <a:gd name="connsiteY55" fmla="*/ 21907 h 94297"/>
                <a:gd name="connsiteX56" fmla="*/ 11430 w 115252"/>
                <a:gd name="connsiteY56" fmla="*/ 21907 h 94297"/>
                <a:gd name="connsiteX57" fmla="*/ 13335 w 115252"/>
                <a:gd name="connsiteY57" fmla="*/ 20003 h 94297"/>
                <a:gd name="connsiteX58" fmla="*/ 13335 w 115252"/>
                <a:gd name="connsiteY58" fmla="*/ 16192 h 94297"/>
                <a:gd name="connsiteX59" fmla="*/ 42863 w 115252"/>
                <a:gd name="connsiteY59" fmla="*/ 3810 h 94297"/>
                <a:gd name="connsiteX60" fmla="*/ 47625 w 115252"/>
                <a:gd name="connsiteY60" fmla="*/ 3810 h 94297"/>
                <a:gd name="connsiteX61" fmla="*/ 52388 w 115252"/>
                <a:gd name="connsiteY61" fmla="*/ 6667 h 94297"/>
                <a:gd name="connsiteX62" fmla="*/ 63818 w 115252"/>
                <a:gd name="connsiteY62" fmla="*/ 5715 h 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15252" h="94297">
                  <a:moveTo>
                    <a:pt x="67627" y="0"/>
                  </a:moveTo>
                  <a:lnTo>
                    <a:pt x="93345" y="953"/>
                  </a:lnTo>
                  <a:lnTo>
                    <a:pt x="93345" y="2857"/>
                  </a:lnTo>
                  <a:lnTo>
                    <a:pt x="90488" y="3810"/>
                  </a:lnTo>
                  <a:lnTo>
                    <a:pt x="85725" y="5715"/>
                  </a:lnTo>
                  <a:lnTo>
                    <a:pt x="85725" y="6667"/>
                  </a:lnTo>
                  <a:lnTo>
                    <a:pt x="88582" y="8572"/>
                  </a:lnTo>
                  <a:lnTo>
                    <a:pt x="92393" y="10478"/>
                  </a:lnTo>
                  <a:lnTo>
                    <a:pt x="96202" y="12382"/>
                  </a:lnTo>
                  <a:lnTo>
                    <a:pt x="100013" y="11430"/>
                  </a:lnTo>
                  <a:lnTo>
                    <a:pt x="103823" y="9525"/>
                  </a:lnTo>
                  <a:lnTo>
                    <a:pt x="110490" y="9525"/>
                  </a:lnTo>
                  <a:lnTo>
                    <a:pt x="115252" y="10478"/>
                  </a:lnTo>
                  <a:lnTo>
                    <a:pt x="115252" y="12382"/>
                  </a:lnTo>
                  <a:lnTo>
                    <a:pt x="112395" y="13335"/>
                  </a:lnTo>
                  <a:lnTo>
                    <a:pt x="105727" y="16192"/>
                  </a:lnTo>
                  <a:lnTo>
                    <a:pt x="103823" y="18097"/>
                  </a:lnTo>
                  <a:lnTo>
                    <a:pt x="97155" y="21907"/>
                  </a:lnTo>
                  <a:lnTo>
                    <a:pt x="90488" y="27622"/>
                  </a:lnTo>
                  <a:lnTo>
                    <a:pt x="90488" y="32385"/>
                  </a:lnTo>
                  <a:lnTo>
                    <a:pt x="96202" y="36195"/>
                  </a:lnTo>
                  <a:lnTo>
                    <a:pt x="96202" y="37147"/>
                  </a:lnTo>
                  <a:lnTo>
                    <a:pt x="92393" y="42863"/>
                  </a:lnTo>
                  <a:lnTo>
                    <a:pt x="89535" y="45720"/>
                  </a:lnTo>
                  <a:lnTo>
                    <a:pt x="86677" y="45720"/>
                  </a:lnTo>
                  <a:lnTo>
                    <a:pt x="84773" y="44767"/>
                  </a:lnTo>
                  <a:lnTo>
                    <a:pt x="81915" y="45720"/>
                  </a:lnTo>
                  <a:lnTo>
                    <a:pt x="81915" y="48578"/>
                  </a:lnTo>
                  <a:lnTo>
                    <a:pt x="85725" y="52388"/>
                  </a:lnTo>
                  <a:lnTo>
                    <a:pt x="85725" y="54292"/>
                  </a:lnTo>
                  <a:lnTo>
                    <a:pt x="81915" y="54292"/>
                  </a:lnTo>
                  <a:lnTo>
                    <a:pt x="80010" y="52388"/>
                  </a:lnTo>
                  <a:lnTo>
                    <a:pt x="78105" y="52388"/>
                  </a:lnTo>
                  <a:lnTo>
                    <a:pt x="78105" y="55245"/>
                  </a:lnTo>
                  <a:lnTo>
                    <a:pt x="82868" y="57150"/>
                  </a:lnTo>
                  <a:lnTo>
                    <a:pt x="85725" y="57150"/>
                  </a:lnTo>
                  <a:lnTo>
                    <a:pt x="84773" y="60960"/>
                  </a:lnTo>
                  <a:lnTo>
                    <a:pt x="76200" y="60960"/>
                  </a:lnTo>
                  <a:lnTo>
                    <a:pt x="63818" y="62865"/>
                  </a:lnTo>
                  <a:lnTo>
                    <a:pt x="50482" y="68580"/>
                  </a:lnTo>
                  <a:lnTo>
                    <a:pt x="39052" y="72390"/>
                  </a:lnTo>
                  <a:lnTo>
                    <a:pt x="22860" y="92392"/>
                  </a:lnTo>
                  <a:lnTo>
                    <a:pt x="19050" y="94298"/>
                  </a:lnTo>
                  <a:lnTo>
                    <a:pt x="14288" y="89535"/>
                  </a:lnTo>
                  <a:lnTo>
                    <a:pt x="8572" y="85725"/>
                  </a:lnTo>
                  <a:lnTo>
                    <a:pt x="8572" y="71438"/>
                  </a:lnTo>
                  <a:lnTo>
                    <a:pt x="16193" y="60960"/>
                  </a:lnTo>
                  <a:lnTo>
                    <a:pt x="21907" y="51435"/>
                  </a:lnTo>
                  <a:lnTo>
                    <a:pt x="18098" y="43815"/>
                  </a:lnTo>
                  <a:lnTo>
                    <a:pt x="16193" y="33338"/>
                  </a:lnTo>
                  <a:lnTo>
                    <a:pt x="9525" y="28575"/>
                  </a:lnTo>
                  <a:lnTo>
                    <a:pt x="4763" y="28575"/>
                  </a:lnTo>
                  <a:lnTo>
                    <a:pt x="953" y="28575"/>
                  </a:lnTo>
                  <a:lnTo>
                    <a:pt x="0" y="23813"/>
                  </a:lnTo>
                  <a:lnTo>
                    <a:pt x="3810" y="20955"/>
                  </a:lnTo>
                  <a:lnTo>
                    <a:pt x="5715" y="21907"/>
                  </a:lnTo>
                  <a:lnTo>
                    <a:pt x="11430" y="21907"/>
                  </a:lnTo>
                  <a:lnTo>
                    <a:pt x="13335" y="20003"/>
                  </a:lnTo>
                  <a:lnTo>
                    <a:pt x="13335" y="16192"/>
                  </a:lnTo>
                  <a:lnTo>
                    <a:pt x="42863" y="3810"/>
                  </a:lnTo>
                  <a:lnTo>
                    <a:pt x="47625" y="3810"/>
                  </a:lnTo>
                  <a:lnTo>
                    <a:pt x="52388" y="6667"/>
                  </a:lnTo>
                  <a:lnTo>
                    <a:pt x="63818" y="57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0B8CAC9-C1CA-4C1D-AB6D-DADB0259296B}"/>
                </a:ext>
              </a:extLst>
            </p:cNvPr>
            <p:cNvSpPr/>
            <p:nvPr/>
          </p:nvSpPr>
          <p:spPr>
            <a:xfrm>
              <a:off x="5986462" y="3223259"/>
              <a:ext cx="22860" cy="12382"/>
            </a:xfrm>
            <a:custGeom>
              <a:avLst/>
              <a:gdLst>
                <a:gd name="connsiteX0" fmla="*/ 0 w 22860"/>
                <a:gd name="connsiteY0" fmla="*/ 2858 h 12382"/>
                <a:gd name="connsiteX1" fmla="*/ 2857 w 22860"/>
                <a:gd name="connsiteY1" fmla="*/ 0 h 12382"/>
                <a:gd name="connsiteX2" fmla="*/ 4763 w 22860"/>
                <a:gd name="connsiteY2" fmla="*/ 0 h 12382"/>
                <a:gd name="connsiteX3" fmla="*/ 7620 w 22860"/>
                <a:gd name="connsiteY3" fmla="*/ 3810 h 12382"/>
                <a:gd name="connsiteX4" fmla="*/ 9525 w 22860"/>
                <a:gd name="connsiteY4" fmla="*/ 3810 h 12382"/>
                <a:gd name="connsiteX5" fmla="*/ 13335 w 22860"/>
                <a:gd name="connsiteY5" fmla="*/ 1905 h 12382"/>
                <a:gd name="connsiteX6" fmla="*/ 20002 w 22860"/>
                <a:gd name="connsiteY6" fmla="*/ 953 h 12382"/>
                <a:gd name="connsiteX7" fmla="*/ 22860 w 22860"/>
                <a:gd name="connsiteY7" fmla="*/ 3810 h 12382"/>
                <a:gd name="connsiteX8" fmla="*/ 21907 w 22860"/>
                <a:gd name="connsiteY8" fmla="*/ 8572 h 12382"/>
                <a:gd name="connsiteX9" fmla="*/ 16193 w 22860"/>
                <a:gd name="connsiteY9" fmla="*/ 12383 h 12382"/>
                <a:gd name="connsiteX10" fmla="*/ 7620 w 22860"/>
                <a:gd name="connsiteY10" fmla="*/ 11430 h 12382"/>
                <a:gd name="connsiteX11" fmla="*/ 2857 w 22860"/>
                <a:gd name="connsiteY11" fmla="*/ 10478 h 12382"/>
                <a:gd name="connsiteX12" fmla="*/ 2857 w 22860"/>
                <a:gd name="connsiteY12" fmla="*/ 7620 h 12382"/>
                <a:gd name="connsiteX13" fmla="*/ 952 w 22860"/>
                <a:gd name="connsiteY13" fmla="*/ 6668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60" h="12382">
                  <a:moveTo>
                    <a:pt x="0" y="2858"/>
                  </a:moveTo>
                  <a:lnTo>
                    <a:pt x="2857" y="0"/>
                  </a:lnTo>
                  <a:lnTo>
                    <a:pt x="4763" y="0"/>
                  </a:lnTo>
                  <a:lnTo>
                    <a:pt x="7620" y="3810"/>
                  </a:lnTo>
                  <a:lnTo>
                    <a:pt x="9525" y="3810"/>
                  </a:lnTo>
                  <a:lnTo>
                    <a:pt x="13335" y="1905"/>
                  </a:lnTo>
                  <a:lnTo>
                    <a:pt x="20002" y="953"/>
                  </a:lnTo>
                  <a:lnTo>
                    <a:pt x="22860" y="3810"/>
                  </a:lnTo>
                  <a:lnTo>
                    <a:pt x="21907" y="8572"/>
                  </a:lnTo>
                  <a:lnTo>
                    <a:pt x="16193" y="12383"/>
                  </a:lnTo>
                  <a:lnTo>
                    <a:pt x="7620" y="11430"/>
                  </a:lnTo>
                  <a:lnTo>
                    <a:pt x="2857" y="10478"/>
                  </a:lnTo>
                  <a:lnTo>
                    <a:pt x="2857" y="7620"/>
                  </a:lnTo>
                  <a:lnTo>
                    <a:pt x="952" y="66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8763BFE-0167-41A4-AFAC-BBE084F2B02B}"/>
                </a:ext>
              </a:extLst>
            </p:cNvPr>
            <p:cNvSpPr/>
            <p:nvPr/>
          </p:nvSpPr>
          <p:spPr>
            <a:xfrm>
              <a:off x="6011227" y="3268980"/>
              <a:ext cx="15240" cy="15239"/>
            </a:xfrm>
            <a:custGeom>
              <a:avLst/>
              <a:gdLst>
                <a:gd name="connsiteX0" fmla="*/ 0 w 15240"/>
                <a:gd name="connsiteY0" fmla="*/ 15240 h 15239"/>
                <a:gd name="connsiteX1" fmla="*/ 1905 w 15240"/>
                <a:gd name="connsiteY1" fmla="*/ 11430 h 15239"/>
                <a:gd name="connsiteX2" fmla="*/ 0 w 15240"/>
                <a:gd name="connsiteY2" fmla="*/ 10477 h 15239"/>
                <a:gd name="connsiteX3" fmla="*/ 1905 w 15240"/>
                <a:gd name="connsiteY3" fmla="*/ 7620 h 15239"/>
                <a:gd name="connsiteX4" fmla="*/ 4763 w 15240"/>
                <a:gd name="connsiteY4" fmla="*/ 1905 h 15239"/>
                <a:gd name="connsiteX5" fmla="*/ 9525 w 15240"/>
                <a:gd name="connsiteY5" fmla="*/ 0 h 15239"/>
                <a:gd name="connsiteX6" fmla="*/ 12383 w 15240"/>
                <a:gd name="connsiteY6" fmla="*/ 0 h 15239"/>
                <a:gd name="connsiteX7" fmla="*/ 15240 w 15240"/>
                <a:gd name="connsiteY7" fmla="*/ 952 h 15239"/>
                <a:gd name="connsiteX8" fmla="*/ 12383 w 15240"/>
                <a:gd name="connsiteY8" fmla="*/ 5715 h 15239"/>
                <a:gd name="connsiteX9" fmla="*/ 10478 w 15240"/>
                <a:gd name="connsiteY9" fmla="*/ 10477 h 15239"/>
                <a:gd name="connsiteX10" fmla="*/ 6668 w 15240"/>
                <a:gd name="connsiteY10" fmla="*/ 15240 h 15239"/>
                <a:gd name="connsiteX11" fmla="*/ 4763 w 15240"/>
                <a:gd name="connsiteY11" fmla="*/ 15240 h 15239"/>
                <a:gd name="connsiteX12" fmla="*/ 3810 w 15240"/>
                <a:gd name="connsiteY12" fmla="*/ 14288 h 15239"/>
                <a:gd name="connsiteX13" fmla="*/ 1905 w 15240"/>
                <a:gd name="connsiteY13" fmla="*/ 1524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40" h="15239">
                  <a:moveTo>
                    <a:pt x="0" y="15240"/>
                  </a:moveTo>
                  <a:lnTo>
                    <a:pt x="1905" y="11430"/>
                  </a:lnTo>
                  <a:lnTo>
                    <a:pt x="0" y="10477"/>
                  </a:lnTo>
                  <a:lnTo>
                    <a:pt x="1905" y="7620"/>
                  </a:lnTo>
                  <a:lnTo>
                    <a:pt x="4763" y="1905"/>
                  </a:lnTo>
                  <a:lnTo>
                    <a:pt x="9525" y="0"/>
                  </a:lnTo>
                  <a:lnTo>
                    <a:pt x="12383" y="0"/>
                  </a:lnTo>
                  <a:lnTo>
                    <a:pt x="15240" y="952"/>
                  </a:lnTo>
                  <a:lnTo>
                    <a:pt x="12383" y="5715"/>
                  </a:lnTo>
                  <a:lnTo>
                    <a:pt x="10478" y="10477"/>
                  </a:lnTo>
                  <a:lnTo>
                    <a:pt x="6668" y="15240"/>
                  </a:lnTo>
                  <a:lnTo>
                    <a:pt x="4763" y="15240"/>
                  </a:lnTo>
                  <a:lnTo>
                    <a:pt x="3810" y="14288"/>
                  </a:lnTo>
                  <a:lnTo>
                    <a:pt x="1905" y="1524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51D1E64-08DF-4E18-932C-345BBAAB6E43}"/>
                </a:ext>
              </a:extLst>
            </p:cNvPr>
            <p:cNvSpPr/>
            <p:nvPr/>
          </p:nvSpPr>
          <p:spPr>
            <a:xfrm>
              <a:off x="6023610" y="3254692"/>
              <a:ext cx="21907" cy="34289"/>
            </a:xfrm>
            <a:custGeom>
              <a:avLst/>
              <a:gdLst>
                <a:gd name="connsiteX0" fmla="*/ 11430 w 21907"/>
                <a:gd name="connsiteY0" fmla="*/ 0 h 34289"/>
                <a:gd name="connsiteX1" fmla="*/ 11430 w 21907"/>
                <a:gd name="connsiteY1" fmla="*/ 952 h 34289"/>
                <a:gd name="connsiteX2" fmla="*/ 9525 w 21907"/>
                <a:gd name="connsiteY2" fmla="*/ 2857 h 34289"/>
                <a:gd name="connsiteX3" fmla="*/ 12382 w 21907"/>
                <a:gd name="connsiteY3" fmla="*/ 3810 h 34289"/>
                <a:gd name="connsiteX4" fmla="*/ 14288 w 21907"/>
                <a:gd name="connsiteY4" fmla="*/ 6668 h 34289"/>
                <a:gd name="connsiteX5" fmla="*/ 11430 w 21907"/>
                <a:gd name="connsiteY5" fmla="*/ 8572 h 34289"/>
                <a:gd name="connsiteX6" fmla="*/ 11430 w 21907"/>
                <a:gd name="connsiteY6" fmla="*/ 10477 h 34289"/>
                <a:gd name="connsiteX7" fmla="*/ 13335 w 21907"/>
                <a:gd name="connsiteY7" fmla="*/ 14288 h 34289"/>
                <a:gd name="connsiteX8" fmla="*/ 15240 w 21907"/>
                <a:gd name="connsiteY8" fmla="*/ 19050 h 34289"/>
                <a:gd name="connsiteX9" fmla="*/ 18097 w 21907"/>
                <a:gd name="connsiteY9" fmla="*/ 23813 h 34289"/>
                <a:gd name="connsiteX10" fmla="*/ 21907 w 21907"/>
                <a:gd name="connsiteY10" fmla="*/ 23813 h 34289"/>
                <a:gd name="connsiteX11" fmla="*/ 21907 w 21907"/>
                <a:gd name="connsiteY11" fmla="*/ 26670 h 34289"/>
                <a:gd name="connsiteX12" fmla="*/ 19050 w 21907"/>
                <a:gd name="connsiteY12" fmla="*/ 30480 h 34289"/>
                <a:gd name="connsiteX13" fmla="*/ 13335 w 21907"/>
                <a:gd name="connsiteY13" fmla="*/ 31432 h 34289"/>
                <a:gd name="connsiteX14" fmla="*/ 5715 w 21907"/>
                <a:gd name="connsiteY14" fmla="*/ 33338 h 34289"/>
                <a:gd name="connsiteX15" fmla="*/ 0 w 21907"/>
                <a:gd name="connsiteY15" fmla="*/ 34290 h 34289"/>
                <a:gd name="connsiteX16" fmla="*/ 952 w 21907"/>
                <a:gd name="connsiteY16" fmla="*/ 32385 h 34289"/>
                <a:gd name="connsiteX17" fmla="*/ 4763 w 21907"/>
                <a:gd name="connsiteY17" fmla="*/ 30480 h 34289"/>
                <a:gd name="connsiteX18" fmla="*/ 4763 w 21907"/>
                <a:gd name="connsiteY18" fmla="*/ 28575 h 34289"/>
                <a:gd name="connsiteX19" fmla="*/ 3810 w 21907"/>
                <a:gd name="connsiteY19" fmla="*/ 27622 h 34289"/>
                <a:gd name="connsiteX20" fmla="*/ 5715 w 21907"/>
                <a:gd name="connsiteY20" fmla="*/ 22860 h 34289"/>
                <a:gd name="connsiteX21" fmla="*/ 9525 w 21907"/>
                <a:gd name="connsiteY21" fmla="*/ 20002 h 34289"/>
                <a:gd name="connsiteX22" fmla="*/ 9525 w 21907"/>
                <a:gd name="connsiteY22" fmla="*/ 16193 h 34289"/>
                <a:gd name="connsiteX23" fmla="*/ 6667 w 21907"/>
                <a:gd name="connsiteY23" fmla="*/ 15240 h 34289"/>
                <a:gd name="connsiteX24" fmla="*/ 2857 w 21907"/>
                <a:gd name="connsiteY24" fmla="*/ 10477 h 34289"/>
                <a:gd name="connsiteX25" fmla="*/ 2857 w 21907"/>
                <a:gd name="connsiteY25" fmla="*/ 4763 h 34289"/>
                <a:gd name="connsiteX26" fmla="*/ 5715 w 21907"/>
                <a:gd name="connsiteY26" fmla="*/ 0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907" h="34289">
                  <a:moveTo>
                    <a:pt x="11430" y="0"/>
                  </a:moveTo>
                  <a:lnTo>
                    <a:pt x="11430" y="952"/>
                  </a:lnTo>
                  <a:lnTo>
                    <a:pt x="9525" y="2857"/>
                  </a:lnTo>
                  <a:lnTo>
                    <a:pt x="12382" y="3810"/>
                  </a:lnTo>
                  <a:lnTo>
                    <a:pt x="14288" y="6668"/>
                  </a:lnTo>
                  <a:lnTo>
                    <a:pt x="11430" y="8572"/>
                  </a:lnTo>
                  <a:lnTo>
                    <a:pt x="11430" y="10477"/>
                  </a:lnTo>
                  <a:lnTo>
                    <a:pt x="13335" y="14288"/>
                  </a:lnTo>
                  <a:lnTo>
                    <a:pt x="15240" y="19050"/>
                  </a:lnTo>
                  <a:lnTo>
                    <a:pt x="18097" y="23813"/>
                  </a:lnTo>
                  <a:lnTo>
                    <a:pt x="21907" y="23813"/>
                  </a:lnTo>
                  <a:lnTo>
                    <a:pt x="21907" y="26670"/>
                  </a:lnTo>
                  <a:lnTo>
                    <a:pt x="19050" y="30480"/>
                  </a:lnTo>
                  <a:lnTo>
                    <a:pt x="13335" y="31432"/>
                  </a:lnTo>
                  <a:lnTo>
                    <a:pt x="5715" y="33338"/>
                  </a:lnTo>
                  <a:lnTo>
                    <a:pt x="0" y="34290"/>
                  </a:lnTo>
                  <a:lnTo>
                    <a:pt x="952" y="32385"/>
                  </a:lnTo>
                  <a:lnTo>
                    <a:pt x="4763" y="30480"/>
                  </a:lnTo>
                  <a:lnTo>
                    <a:pt x="4763" y="28575"/>
                  </a:lnTo>
                  <a:lnTo>
                    <a:pt x="3810" y="27622"/>
                  </a:lnTo>
                  <a:lnTo>
                    <a:pt x="5715" y="22860"/>
                  </a:lnTo>
                  <a:lnTo>
                    <a:pt x="9525" y="20002"/>
                  </a:lnTo>
                  <a:lnTo>
                    <a:pt x="9525" y="16193"/>
                  </a:lnTo>
                  <a:lnTo>
                    <a:pt x="6667" y="15240"/>
                  </a:lnTo>
                  <a:lnTo>
                    <a:pt x="2857" y="10477"/>
                  </a:lnTo>
                  <a:lnTo>
                    <a:pt x="2857" y="4763"/>
                  </a:lnTo>
                  <a:lnTo>
                    <a:pt x="571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98E2F89-421F-481C-9F97-EFBDC3E8BE8B}"/>
                </a:ext>
              </a:extLst>
            </p:cNvPr>
            <p:cNvSpPr/>
            <p:nvPr/>
          </p:nvSpPr>
          <p:spPr>
            <a:xfrm>
              <a:off x="5978842" y="3179444"/>
              <a:ext cx="497205" cy="444817"/>
            </a:xfrm>
            <a:custGeom>
              <a:avLst/>
              <a:gdLst>
                <a:gd name="connsiteX0" fmla="*/ 32385 w 497205"/>
                <a:gd name="connsiteY0" fmla="*/ 160020 h 444817"/>
                <a:gd name="connsiteX1" fmla="*/ 32385 w 497205"/>
                <a:gd name="connsiteY1" fmla="*/ 140970 h 444817"/>
                <a:gd name="connsiteX2" fmla="*/ 32385 w 497205"/>
                <a:gd name="connsiteY2" fmla="*/ 136208 h 444817"/>
                <a:gd name="connsiteX3" fmla="*/ 37147 w 497205"/>
                <a:gd name="connsiteY3" fmla="*/ 135255 h 444817"/>
                <a:gd name="connsiteX4" fmla="*/ 42863 w 497205"/>
                <a:gd name="connsiteY4" fmla="*/ 135255 h 444817"/>
                <a:gd name="connsiteX5" fmla="*/ 49530 w 497205"/>
                <a:gd name="connsiteY5" fmla="*/ 137160 h 444817"/>
                <a:gd name="connsiteX6" fmla="*/ 52388 w 497205"/>
                <a:gd name="connsiteY6" fmla="*/ 137160 h 444817"/>
                <a:gd name="connsiteX7" fmla="*/ 56197 w 497205"/>
                <a:gd name="connsiteY7" fmla="*/ 135255 h 444817"/>
                <a:gd name="connsiteX8" fmla="*/ 55245 w 497205"/>
                <a:gd name="connsiteY8" fmla="*/ 132398 h 444817"/>
                <a:gd name="connsiteX9" fmla="*/ 57150 w 497205"/>
                <a:gd name="connsiteY9" fmla="*/ 129540 h 444817"/>
                <a:gd name="connsiteX10" fmla="*/ 56197 w 497205"/>
                <a:gd name="connsiteY10" fmla="*/ 123825 h 444817"/>
                <a:gd name="connsiteX11" fmla="*/ 52388 w 497205"/>
                <a:gd name="connsiteY11" fmla="*/ 120968 h 444817"/>
                <a:gd name="connsiteX12" fmla="*/ 48577 w 497205"/>
                <a:gd name="connsiteY12" fmla="*/ 119063 h 444817"/>
                <a:gd name="connsiteX13" fmla="*/ 47625 w 497205"/>
                <a:gd name="connsiteY13" fmla="*/ 118110 h 444817"/>
                <a:gd name="connsiteX14" fmla="*/ 47625 w 497205"/>
                <a:gd name="connsiteY14" fmla="*/ 115253 h 444817"/>
                <a:gd name="connsiteX15" fmla="*/ 53340 w 497205"/>
                <a:gd name="connsiteY15" fmla="*/ 115253 h 444817"/>
                <a:gd name="connsiteX16" fmla="*/ 54293 w 497205"/>
                <a:gd name="connsiteY16" fmla="*/ 112395 h 444817"/>
                <a:gd name="connsiteX17" fmla="*/ 53340 w 497205"/>
                <a:gd name="connsiteY17" fmla="*/ 111443 h 444817"/>
                <a:gd name="connsiteX18" fmla="*/ 56197 w 497205"/>
                <a:gd name="connsiteY18" fmla="*/ 110490 h 444817"/>
                <a:gd name="connsiteX19" fmla="*/ 57150 w 497205"/>
                <a:gd name="connsiteY19" fmla="*/ 113348 h 444817"/>
                <a:gd name="connsiteX20" fmla="*/ 60960 w 497205"/>
                <a:gd name="connsiteY20" fmla="*/ 113348 h 444817"/>
                <a:gd name="connsiteX21" fmla="*/ 67627 w 497205"/>
                <a:gd name="connsiteY21" fmla="*/ 105728 h 444817"/>
                <a:gd name="connsiteX22" fmla="*/ 70485 w 497205"/>
                <a:gd name="connsiteY22" fmla="*/ 104775 h 444817"/>
                <a:gd name="connsiteX23" fmla="*/ 72390 w 497205"/>
                <a:gd name="connsiteY23" fmla="*/ 101918 h 444817"/>
                <a:gd name="connsiteX24" fmla="*/ 74295 w 497205"/>
                <a:gd name="connsiteY24" fmla="*/ 100965 h 444817"/>
                <a:gd name="connsiteX25" fmla="*/ 75247 w 497205"/>
                <a:gd name="connsiteY25" fmla="*/ 103823 h 444817"/>
                <a:gd name="connsiteX26" fmla="*/ 76200 w 497205"/>
                <a:gd name="connsiteY26" fmla="*/ 102870 h 444817"/>
                <a:gd name="connsiteX27" fmla="*/ 76200 w 497205"/>
                <a:gd name="connsiteY27" fmla="*/ 97155 h 444817"/>
                <a:gd name="connsiteX28" fmla="*/ 80010 w 497205"/>
                <a:gd name="connsiteY28" fmla="*/ 96203 h 444817"/>
                <a:gd name="connsiteX29" fmla="*/ 84772 w 497205"/>
                <a:gd name="connsiteY29" fmla="*/ 95250 h 444817"/>
                <a:gd name="connsiteX30" fmla="*/ 85725 w 497205"/>
                <a:gd name="connsiteY30" fmla="*/ 91440 h 444817"/>
                <a:gd name="connsiteX31" fmla="*/ 85725 w 497205"/>
                <a:gd name="connsiteY31" fmla="*/ 84773 h 444817"/>
                <a:gd name="connsiteX32" fmla="*/ 84772 w 497205"/>
                <a:gd name="connsiteY32" fmla="*/ 81915 h 444817"/>
                <a:gd name="connsiteX33" fmla="*/ 87630 w 497205"/>
                <a:gd name="connsiteY33" fmla="*/ 80010 h 444817"/>
                <a:gd name="connsiteX34" fmla="*/ 90488 w 497205"/>
                <a:gd name="connsiteY34" fmla="*/ 79057 h 444817"/>
                <a:gd name="connsiteX35" fmla="*/ 91440 w 497205"/>
                <a:gd name="connsiteY35" fmla="*/ 81915 h 444817"/>
                <a:gd name="connsiteX36" fmla="*/ 91440 w 497205"/>
                <a:gd name="connsiteY36" fmla="*/ 86678 h 444817"/>
                <a:gd name="connsiteX37" fmla="*/ 89535 w 497205"/>
                <a:gd name="connsiteY37" fmla="*/ 88582 h 444817"/>
                <a:gd name="connsiteX38" fmla="*/ 89535 w 497205"/>
                <a:gd name="connsiteY38" fmla="*/ 91440 h 444817"/>
                <a:gd name="connsiteX39" fmla="*/ 92393 w 497205"/>
                <a:gd name="connsiteY39" fmla="*/ 92393 h 444817"/>
                <a:gd name="connsiteX40" fmla="*/ 97155 w 497205"/>
                <a:gd name="connsiteY40" fmla="*/ 93345 h 444817"/>
                <a:gd name="connsiteX41" fmla="*/ 100013 w 497205"/>
                <a:gd name="connsiteY41" fmla="*/ 93345 h 444817"/>
                <a:gd name="connsiteX42" fmla="*/ 104775 w 497205"/>
                <a:gd name="connsiteY42" fmla="*/ 91440 h 444817"/>
                <a:gd name="connsiteX43" fmla="*/ 107632 w 497205"/>
                <a:gd name="connsiteY43" fmla="*/ 91440 h 444817"/>
                <a:gd name="connsiteX44" fmla="*/ 112395 w 497205"/>
                <a:gd name="connsiteY44" fmla="*/ 91440 h 444817"/>
                <a:gd name="connsiteX45" fmla="*/ 115252 w 497205"/>
                <a:gd name="connsiteY45" fmla="*/ 92393 h 444817"/>
                <a:gd name="connsiteX46" fmla="*/ 117157 w 497205"/>
                <a:gd name="connsiteY46" fmla="*/ 91440 h 444817"/>
                <a:gd name="connsiteX47" fmla="*/ 118110 w 497205"/>
                <a:gd name="connsiteY47" fmla="*/ 86678 h 444817"/>
                <a:gd name="connsiteX48" fmla="*/ 120015 w 497205"/>
                <a:gd name="connsiteY48" fmla="*/ 81915 h 444817"/>
                <a:gd name="connsiteX49" fmla="*/ 121920 w 497205"/>
                <a:gd name="connsiteY49" fmla="*/ 80010 h 444817"/>
                <a:gd name="connsiteX50" fmla="*/ 123825 w 497205"/>
                <a:gd name="connsiteY50" fmla="*/ 80010 h 444817"/>
                <a:gd name="connsiteX51" fmla="*/ 124777 w 497205"/>
                <a:gd name="connsiteY51" fmla="*/ 80963 h 444817"/>
                <a:gd name="connsiteX52" fmla="*/ 127635 w 497205"/>
                <a:gd name="connsiteY52" fmla="*/ 80010 h 444817"/>
                <a:gd name="connsiteX53" fmla="*/ 127635 w 497205"/>
                <a:gd name="connsiteY53" fmla="*/ 77153 h 444817"/>
                <a:gd name="connsiteX54" fmla="*/ 126682 w 497205"/>
                <a:gd name="connsiteY54" fmla="*/ 73343 h 444817"/>
                <a:gd name="connsiteX55" fmla="*/ 133350 w 497205"/>
                <a:gd name="connsiteY55" fmla="*/ 72390 h 444817"/>
                <a:gd name="connsiteX56" fmla="*/ 136208 w 497205"/>
                <a:gd name="connsiteY56" fmla="*/ 72390 h 444817"/>
                <a:gd name="connsiteX57" fmla="*/ 140018 w 497205"/>
                <a:gd name="connsiteY57" fmla="*/ 70485 h 444817"/>
                <a:gd name="connsiteX58" fmla="*/ 138113 w 497205"/>
                <a:gd name="connsiteY58" fmla="*/ 68580 h 444817"/>
                <a:gd name="connsiteX59" fmla="*/ 137160 w 497205"/>
                <a:gd name="connsiteY59" fmla="*/ 67628 h 444817"/>
                <a:gd name="connsiteX60" fmla="*/ 134302 w 497205"/>
                <a:gd name="connsiteY60" fmla="*/ 68580 h 444817"/>
                <a:gd name="connsiteX61" fmla="*/ 131445 w 497205"/>
                <a:gd name="connsiteY61" fmla="*/ 69533 h 444817"/>
                <a:gd name="connsiteX62" fmla="*/ 127635 w 497205"/>
                <a:gd name="connsiteY62" fmla="*/ 70485 h 444817"/>
                <a:gd name="connsiteX63" fmla="*/ 123825 w 497205"/>
                <a:gd name="connsiteY63" fmla="*/ 70485 h 444817"/>
                <a:gd name="connsiteX64" fmla="*/ 119063 w 497205"/>
                <a:gd name="connsiteY64" fmla="*/ 60960 h 444817"/>
                <a:gd name="connsiteX65" fmla="*/ 119063 w 497205"/>
                <a:gd name="connsiteY65" fmla="*/ 58103 h 444817"/>
                <a:gd name="connsiteX66" fmla="*/ 122872 w 497205"/>
                <a:gd name="connsiteY66" fmla="*/ 54293 h 444817"/>
                <a:gd name="connsiteX67" fmla="*/ 125730 w 497205"/>
                <a:gd name="connsiteY67" fmla="*/ 51435 h 444817"/>
                <a:gd name="connsiteX68" fmla="*/ 125730 w 497205"/>
                <a:gd name="connsiteY68" fmla="*/ 46673 h 444817"/>
                <a:gd name="connsiteX69" fmla="*/ 124777 w 497205"/>
                <a:gd name="connsiteY69" fmla="*/ 46673 h 444817"/>
                <a:gd name="connsiteX70" fmla="*/ 121920 w 497205"/>
                <a:gd name="connsiteY70" fmla="*/ 45720 h 444817"/>
                <a:gd name="connsiteX71" fmla="*/ 119063 w 497205"/>
                <a:gd name="connsiteY71" fmla="*/ 48578 h 444817"/>
                <a:gd name="connsiteX72" fmla="*/ 115252 w 497205"/>
                <a:gd name="connsiteY72" fmla="*/ 52388 h 444817"/>
                <a:gd name="connsiteX73" fmla="*/ 115252 w 497205"/>
                <a:gd name="connsiteY73" fmla="*/ 55245 h 444817"/>
                <a:gd name="connsiteX74" fmla="*/ 111443 w 497205"/>
                <a:gd name="connsiteY74" fmla="*/ 57150 h 444817"/>
                <a:gd name="connsiteX75" fmla="*/ 108585 w 497205"/>
                <a:gd name="connsiteY75" fmla="*/ 63818 h 444817"/>
                <a:gd name="connsiteX76" fmla="*/ 110490 w 497205"/>
                <a:gd name="connsiteY76" fmla="*/ 68580 h 444817"/>
                <a:gd name="connsiteX77" fmla="*/ 110490 w 497205"/>
                <a:gd name="connsiteY77" fmla="*/ 71438 h 444817"/>
                <a:gd name="connsiteX78" fmla="*/ 107632 w 497205"/>
                <a:gd name="connsiteY78" fmla="*/ 76200 h 444817"/>
                <a:gd name="connsiteX79" fmla="*/ 105727 w 497205"/>
                <a:gd name="connsiteY79" fmla="*/ 80963 h 444817"/>
                <a:gd name="connsiteX80" fmla="*/ 105727 w 497205"/>
                <a:gd name="connsiteY80" fmla="*/ 83820 h 444817"/>
                <a:gd name="connsiteX81" fmla="*/ 103822 w 497205"/>
                <a:gd name="connsiteY81" fmla="*/ 85725 h 444817"/>
                <a:gd name="connsiteX82" fmla="*/ 101918 w 497205"/>
                <a:gd name="connsiteY82" fmla="*/ 86678 h 444817"/>
                <a:gd name="connsiteX83" fmla="*/ 100965 w 497205"/>
                <a:gd name="connsiteY83" fmla="*/ 88582 h 444817"/>
                <a:gd name="connsiteX84" fmla="*/ 97155 w 497205"/>
                <a:gd name="connsiteY84" fmla="*/ 88582 h 444817"/>
                <a:gd name="connsiteX85" fmla="*/ 97155 w 497205"/>
                <a:gd name="connsiteY85" fmla="*/ 84773 h 444817"/>
                <a:gd name="connsiteX86" fmla="*/ 95250 w 497205"/>
                <a:gd name="connsiteY86" fmla="*/ 81915 h 444817"/>
                <a:gd name="connsiteX87" fmla="*/ 93345 w 497205"/>
                <a:gd name="connsiteY87" fmla="*/ 80010 h 444817"/>
                <a:gd name="connsiteX88" fmla="*/ 93345 w 497205"/>
                <a:gd name="connsiteY88" fmla="*/ 75248 h 444817"/>
                <a:gd name="connsiteX89" fmla="*/ 92393 w 497205"/>
                <a:gd name="connsiteY89" fmla="*/ 76200 h 444817"/>
                <a:gd name="connsiteX90" fmla="*/ 92393 w 497205"/>
                <a:gd name="connsiteY90" fmla="*/ 73343 h 444817"/>
                <a:gd name="connsiteX91" fmla="*/ 88582 w 497205"/>
                <a:gd name="connsiteY91" fmla="*/ 75248 h 444817"/>
                <a:gd name="connsiteX92" fmla="*/ 87630 w 497205"/>
                <a:gd name="connsiteY92" fmla="*/ 75248 h 444817"/>
                <a:gd name="connsiteX93" fmla="*/ 85725 w 497205"/>
                <a:gd name="connsiteY93" fmla="*/ 77153 h 444817"/>
                <a:gd name="connsiteX94" fmla="*/ 81915 w 497205"/>
                <a:gd name="connsiteY94" fmla="*/ 77153 h 444817"/>
                <a:gd name="connsiteX95" fmla="*/ 80010 w 497205"/>
                <a:gd name="connsiteY95" fmla="*/ 74295 h 444817"/>
                <a:gd name="connsiteX96" fmla="*/ 80010 w 497205"/>
                <a:gd name="connsiteY96" fmla="*/ 64770 h 444817"/>
                <a:gd name="connsiteX97" fmla="*/ 84772 w 497205"/>
                <a:gd name="connsiteY97" fmla="*/ 60960 h 444817"/>
                <a:gd name="connsiteX98" fmla="*/ 88582 w 497205"/>
                <a:gd name="connsiteY98" fmla="*/ 57150 h 444817"/>
                <a:gd name="connsiteX99" fmla="*/ 97155 w 497205"/>
                <a:gd name="connsiteY99" fmla="*/ 48578 h 444817"/>
                <a:gd name="connsiteX100" fmla="*/ 103822 w 497205"/>
                <a:gd name="connsiteY100" fmla="*/ 42863 h 444817"/>
                <a:gd name="connsiteX101" fmla="*/ 112395 w 497205"/>
                <a:gd name="connsiteY101" fmla="*/ 34290 h 444817"/>
                <a:gd name="connsiteX102" fmla="*/ 125730 w 497205"/>
                <a:gd name="connsiteY102" fmla="*/ 25718 h 444817"/>
                <a:gd name="connsiteX103" fmla="*/ 132397 w 497205"/>
                <a:gd name="connsiteY103" fmla="*/ 25718 h 444817"/>
                <a:gd name="connsiteX104" fmla="*/ 138113 w 497205"/>
                <a:gd name="connsiteY104" fmla="*/ 27623 h 444817"/>
                <a:gd name="connsiteX105" fmla="*/ 140970 w 497205"/>
                <a:gd name="connsiteY105" fmla="*/ 29528 h 444817"/>
                <a:gd name="connsiteX106" fmla="*/ 150495 w 497205"/>
                <a:gd name="connsiteY106" fmla="*/ 33338 h 444817"/>
                <a:gd name="connsiteX107" fmla="*/ 159068 w 497205"/>
                <a:gd name="connsiteY107" fmla="*/ 39053 h 444817"/>
                <a:gd name="connsiteX108" fmla="*/ 160972 w 497205"/>
                <a:gd name="connsiteY108" fmla="*/ 39053 h 444817"/>
                <a:gd name="connsiteX109" fmla="*/ 162877 w 497205"/>
                <a:gd name="connsiteY109" fmla="*/ 40958 h 444817"/>
                <a:gd name="connsiteX110" fmla="*/ 163830 w 497205"/>
                <a:gd name="connsiteY110" fmla="*/ 41910 h 444817"/>
                <a:gd name="connsiteX111" fmla="*/ 163830 w 497205"/>
                <a:gd name="connsiteY111" fmla="*/ 44768 h 444817"/>
                <a:gd name="connsiteX112" fmla="*/ 162877 w 497205"/>
                <a:gd name="connsiteY112" fmla="*/ 46673 h 444817"/>
                <a:gd name="connsiteX113" fmla="*/ 159068 w 497205"/>
                <a:gd name="connsiteY113" fmla="*/ 46673 h 444817"/>
                <a:gd name="connsiteX114" fmla="*/ 154305 w 497205"/>
                <a:gd name="connsiteY114" fmla="*/ 44768 h 444817"/>
                <a:gd name="connsiteX115" fmla="*/ 150495 w 497205"/>
                <a:gd name="connsiteY115" fmla="*/ 43815 h 444817"/>
                <a:gd name="connsiteX116" fmla="*/ 146685 w 497205"/>
                <a:gd name="connsiteY116" fmla="*/ 41910 h 444817"/>
                <a:gd name="connsiteX117" fmla="*/ 146685 w 497205"/>
                <a:gd name="connsiteY117" fmla="*/ 45720 h 444817"/>
                <a:gd name="connsiteX118" fmla="*/ 148590 w 497205"/>
                <a:gd name="connsiteY118" fmla="*/ 47625 h 444817"/>
                <a:gd name="connsiteX119" fmla="*/ 152400 w 497205"/>
                <a:gd name="connsiteY119" fmla="*/ 49530 h 444817"/>
                <a:gd name="connsiteX120" fmla="*/ 157163 w 497205"/>
                <a:gd name="connsiteY120" fmla="*/ 54293 h 444817"/>
                <a:gd name="connsiteX121" fmla="*/ 160020 w 497205"/>
                <a:gd name="connsiteY121" fmla="*/ 54293 h 444817"/>
                <a:gd name="connsiteX122" fmla="*/ 166688 w 497205"/>
                <a:gd name="connsiteY122" fmla="*/ 48578 h 444817"/>
                <a:gd name="connsiteX123" fmla="*/ 168593 w 497205"/>
                <a:gd name="connsiteY123" fmla="*/ 47625 h 444817"/>
                <a:gd name="connsiteX124" fmla="*/ 171450 w 497205"/>
                <a:gd name="connsiteY124" fmla="*/ 44768 h 444817"/>
                <a:gd name="connsiteX125" fmla="*/ 172402 w 497205"/>
                <a:gd name="connsiteY125" fmla="*/ 46673 h 444817"/>
                <a:gd name="connsiteX126" fmla="*/ 175260 w 497205"/>
                <a:gd name="connsiteY126" fmla="*/ 46673 h 444817"/>
                <a:gd name="connsiteX127" fmla="*/ 175260 w 497205"/>
                <a:gd name="connsiteY127" fmla="*/ 42863 h 444817"/>
                <a:gd name="connsiteX128" fmla="*/ 173355 w 497205"/>
                <a:gd name="connsiteY128" fmla="*/ 41910 h 444817"/>
                <a:gd name="connsiteX129" fmla="*/ 173355 w 497205"/>
                <a:gd name="connsiteY129" fmla="*/ 39053 h 444817"/>
                <a:gd name="connsiteX130" fmla="*/ 171450 w 497205"/>
                <a:gd name="connsiteY130" fmla="*/ 38100 h 444817"/>
                <a:gd name="connsiteX131" fmla="*/ 171450 w 497205"/>
                <a:gd name="connsiteY131" fmla="*/ 34290 h 444817"/>
                <a:gd name="connsiteX132" fmla="*/ 173355 w 497205"/>
                <a:gd name="connsiteY132" fmla="*/ 34290 h 444817"/>
                <a:gd name="connsiteX133" fmla="*/ 177165 w 497205"/>
                <a:gd name="connsiteY133" fmla="*/ 37148 h 444817"/>
                <a:gd name="connsiteX134" fmla="*/ 177165 w 497205"/>
                <a:gd name="connsiteY134" fmla="*/ 40958 h 444817"/>
                <a:gd name="connsiteX135" fmla="*/ 179070 w 497205"/>
                <a:gd name="connsiteY135" fmla="*/ 40958 h 444817"/>
                <a:gd name="connsiteX136" fmla="*/ 184785 w 497205"/>
                <a:gd name="connsiteY136" fmla="*/ 39053 h 444817"/>
                <a:gd name="connsiteX137" fmla="*/ 192405 w 497205"/>
                <a:gd name="connsiteY137" fmla="*/ 36195 h 444817"/>
                <a:gd name="connsiteX138" fmla="*/ 198120 w 497205"/>
                <a:gd name="connsiteY138" fmla="*/ 34290 h 444817"/>
                <a:gd name="connsiteX139" fmla="*/ 206693 w 497205"/>
                <a:gd name="connsiteY139" fmla="*/ 32385 h 444817"/>
                <a:gd name="connsiteX140" fmla="*/ 216218 w 497205"/>
                <a:gd name="connsiteY140" fmla="*/ 31433 h 444817"/>
                <a:gd name="connsiteX141" fmla="*/ 220980 w 497205"/>
                <a:gd name="connsiteY141" fmla="*/ 34290 h 444817"/>
                <a:gd name="connsiteX142" fmla="*/ 224790 w 497205"/>
                <a:gd name="connsiteY142" fmla="*/ 34290 h 444817"/>
                <a:gd name="connsiteX143" fmla="*/ 224790 w 497205"/>
                <a:gd name="connsiteY143" fmla="*/ 31433 h 444817"/>
                <a:gd name="connsiteX144" fmla="*/ 221933 w 497205"/>
                <a:gd name="connsiteY144" fmla="*/ 27623 h 444817"/>
                <a:gd name="connsiteX145" fmla="*/ 219075 w 497205"/>
                <a:gd name="connsiteY145" fmla="*/ 26670 h 444817"/>
                <a:gd name="connsiteX146" fmla="*/ 219075 w 497205"/>
                <a:gd name="connsiteY146" fmla="*/ 23813 h 444817"/>
                <a:gd name="connsiteX147" fmla="*/ 224790 w 497205"/>
                <a:gd name="connsiteY147" fmla="*/ 18098 h 444817"/>
                <a:gd name="connsiteX148" fmla="*/ 225743 w 497205"/>
                <a:gd name="connsiteY148" fmla="*/ 17145 h 444817"/>
                <a:gd name="connsiteX149" fmla="*/ 229552 w 497205"/>
                <a:gd name="connsiteY149" fmla="*/ 16193 h 444817"/>
                <a:gd name="connsiteX150" fmla="*/ 230505 w 497205"/>
                <a:gd name="connsiteY150" fmla="*/ 18098 h 444817"/>
                <a:gd name="connsiteX151" fmla="*/ 230505 w 497205"/>
                <a:gd name="connsiteY151" fmla="*/ 21908 h 444817"/>
                <a:gd name="connsiteX152" fmla="*/ 239077 w 497205"/>
                <a:gd name="connsiteY152" fmla="*/ 33338 h 444817"/>
                <a:gd name="connsiteX153" fmla="*/ 239077 w 497205"/>
                <a:gd name="connsiteY153" fmla="*/ 38100 h 444817"/>
                <a:gd name="connsiteX154" fmla="*/ 236220 w 497205"/>
                <a:gd name="connsiteY154" fmla="*/ 39053 h 444817"/>
                <a:gd name="connsiteX155" fmla="*/ 234315 w 497205"/>
                <a:gd name="connsiteY155" fmla="*/ 41910 h 444817"/>
                <a:gd name="connsiteX156" fmla="*/ 239077 w 497205"/>
                <a:gd name="connsiteY156" fmla="*/ 41910 h 444817"/>
                <a:gd name="connsiteX157" fmla="*/ 241935 w 497205"/>
                <a:gd name="connsiteY157" fmla="*/ 39053 h 444817"/>
                <a:gd name="connsiteX158" fmla="*/ 242888 w 497205"/>
                <a:gd name="connsiteY158" fmla="*/ 33338 h 444817"/>
                <a:gd name="connsiteX159" fmla="*/ 246697 w 497205"/>
                <a:gd name="connsiteY159" fmla="*/ 33338 h 444817"/>
                <a:gd name="connsiteX160" fmla="*/ 248602 w 497205"/>
                <a:gd name="connsiteY160" fmla="*/ 33338 h 444817"/>
                <a:gd name="connsiteX161" fmla="*/ 248602 w 497205"/>
                <a:gd name="connsiteY161" fmla="*/ 31433 h 444817"/>
                <a:gd name="connsiteX162" fmla="*/ 241935 w 497205"/>
                <a:gd name="connsiteY162" fmla="*/ 29528 h 444817"/>
                <a:gd name="connsiteX163" fmla="*/ 237172 w 497205"/>
                <a:gd name="connsiteY163" fmla="*/ 25718 h 444817"/>
                <a:gd name="connsiteX164" fmla="*/ 235268 w 497205"/>
                <a:gd name="connsiteY164" fmla="*/ 20955 h 444817"/>
                <a:gd name="connsiteX165" fmla="*/ 245745 w 497205"/>
                <a:gd name="connsiteY165" fmla="*/ 14288 h 444817"/>
                <a:gd name="connsiteX166" fmla="*/ 250508 w 497205"/>
                <a:gd name="connsiteY166" fmla="*/ 10478 h 444817"/>
                <a:gd name="connsiteX167" fmla="*/ 256222 w 497205"/>
                <a:gd name="connsiteY167" fmla="*/ 5715 h 444817"/>
                <a:gd name="connsiteX168" fmla="*/ 271462 w 497205"/>
                <a:gd name="connsiteY168" fmla="*/ 953 h 444817"/>
                <a:gd name="connsiteX169" fmla="*/ 277178 w 497205"/>
                <a:gd name="connsiteY169" fmla="*/ 0 h 444817"/>
                <a:gd name="connsiteX170" fmla="*/ 300990 w 497205"/>
                <a:gd name="connsiteY170" fmla="*/ 0 h 444817"/>
                <a:gd name="connsiteX171" fmla="*/ 304800 w 497205"/>
                <a:gd name="connsiteY171" fmla="*/ 953 h 444817"/>
                <a:gd name="connsiteX172" fmla="*/ 303847 w 497205"/>
                <a:gd name="connsiteY172" fmla="*/ 4763 h 444817"/>
                <a:gd name="connsiteX173" fmla="*/ 299085 w 497205"/>
                <a:gd name="connsiteY173" fmla="*/ 11430 h 444817"/>
                <a:gd name="connsiteX174" fmla="*/ 299085 w 497205"/>
                <a:gd name="connsiteY174" fmla="*/ 11430 h 444817"/>
                <a:gd name="connsiteX175" fmla="*/ 300990 w 497205"/>
                <a:gd name="connsiteY175" fmla="*/ 12383 h 444817"/>
                <a:gd name="connsiteX176" fmla="*/ 309562 w 497205"/>
                <a:gd name="connsiteY176" fmla="*/ 7620 h 444817"/>
                <a:gd name="connsiteX177" fmla="*/ 320040 w 497205"/>
                <a:gd name="connsiteY177" fmla="*/ 7620 h 444817"/>
                <a:gd name="connsiteX178" fmla="*/ 354330 w 497205"/>
                <a:gd name="connsiteY178" fmla="*/ 13335 h 444817"/>
                <a:gd name="connsiteX179" fmla="*/ 358140 w 497205"/>
                <a:gd name="connsiteY179" fmla="*/ 14288 h 444817"/>
                <a:gd name="connsiteX180" fmla="*/ 366712 w 497205"/>
                <a:gd name="connsiteY180" fmla="*/ 13335 h 444817"/>
                <a:gd name="connsiteX181" fmla="*/ 367665 w 497205"/>
                <a:gd name="connsiteY181" fmla="*/ 9525 h 444817"/>
                <a:gd name="connsiteX182" fmla="*/ 369570 w 497205"/>
                <a:gd name="connsiteY182" fmla="*/ 6668 h 444817"/>
                <a:gd name="connsiteX183" fmla="*/ 375285 w 497205"/>
                <a:gd name="connsiteY183" fmla="*/ 7620 h 444817"/>
                <a:gd name="connsiteX184" fmla="*/ 389572 w 497205"/>
                <a:gd name="connsiteY184" fmla="*/ 10478 h 444817"/>
                <a:gd name="connsiteX185" fmla="*/ 402908 w 497205"/>
                <a:gd name="connsiteY185" fmla="*/ 10478 h 444817"/>
                <a:gd name="connsiteX186" fmla="*/ 412433 w 497205"/>
                <a:gd name="connsiteY186" fmla="*/ 9525 h 444817"/>
                <a:gd name="connsiteX187" fmla="*/ 422910 w 497205"/>
                <a:gd name="connsiteY187" fmla="*/ 13335 h 444817"/>
                <a:gd name="connsiteX188" fmla="*/ 431483 w 497205"/>
                <a:gd name="connsiteY188" fmla="*/ 13335 h 444817"/>
                <a:gd name="connsiteX189" fmla="*/ 441960 w 497205"/>
                <a:gd name="connsiteY189" fmla="*/ 8573 h 444817"/>
                <a:gd name="connsiteX190" fmla="*/ 450533 w 497205"/>
                <a:gd name="connsiteY190" fmla="*/ 8573 h 444817"/>
                <a:gd name="connsiteX191" fmla="*/ 471487 w 497205"/>
                <a:gd name="connsiteY191" fmla="*/ 10478 h 444817"/>
                <a:gd name="connsiteX192" fmla="*/ 484822 w 497205"/>
                <a:gd name="connsiteY192" fmla="*/ 15240 h 444817"/>
                <a:gd name="connsiteX193" fmla="*/ 493395 w 497205"/>
                <a:gd name="connsiteY193" fmla="*/ 17145 h 444817"/>
                <a:gd name="connsiteX194" fmla="*/ 497205 w 497205"/>
                <a:gd name="connsiteY194" fmla="*/ 20003 h 444817"/>
                <a:gd name="connsiteX195" fmla="*/ 497205 w 497205"/>
                <a:gd name="connsiteY195" fmla="*/ 21908 h 444817"/>
                <a:gd name="connsiteX196" fmla="*/ 493395 w 497205"/>
                <a:gd name="connsiteY196" fmla="*/ 21908 h 444817"/>
                <a:gd name="connsiteX197" fmla="*/ 489585 w 497205"/>
                <a:gd name="connsiteY197" fmla="*/ 20955 h 444817"/>
                <a:gd name="connsiteX198" fmla="*/ 485775 w 497205"/>
                <a:gd name="connsiteY198" fmla="*/ 20955 h 444817"/>
                <a:gd name="connsiteX199" fmla="*/ 483870 w 497205"/>
                <a:gd name="connsiteY199" fmla="*/ 20955 h 444817"/>
                <a:gd name="connsiteX200" fmla="*/ 481965 w 497205"/>
                <a:gd name="connsiteY200" fmla="*/ 20003 h 444817"/>
                <a:gd name="connsiteX201" fmla="*/ 480060 w 497205"/>
                <a:gd name="connsiteY201" fmla="*/ 20955 h 444817"/>
                <a:gd name="connsiteX202" fmla="*/ 480060 w 497205"/>
                <a:gd name="connsiteY202" fmla="*/ 25718 h 444817"/>
                <a:gd name="connsiteX203" fmla="*/ 485775 w 497205"/>
                <a:gd name="connsiteY203" fmla="*/ 27623 h 444817"/>
                <a:gd name="connsiteX204" fmla="*/ 490537 w 497205"/>
                <a:gd name="connsiteY204" fmla="*/ 29528 h 444817"/>
                <a:gd name="connsiteX205" fmla="*/ 493395 w 497205"/>
                <a:gd name="connsiteY205" fmla="*/ 30480 h 444817"/>
                <a:gd name="connsiteX206" fmla="*/ 492443 w 497205"/>
                <a:gd name="connsiteY206" fmla="*/ 33338 h 444817"/>
                <a:gd name="connsiteX207" fmla="*/ 486728 w 497205"/>
                <a:gd name="connsiteY207" fmla="*/ 41910 h 444817"/>
                <a:gd name="connsiteX208" fmla="*/ 486728 w 497205"/>
                <a:gd name="connsiteY208" fmla="*/ 43815 h 444817"/>
                <a:gd name="connsiteX209" fmla="*/ 479108 w 497205"/>
                <a:gd name="connsiteY209" fmla="*/ 44768 h 444817"/>
                <a:gd name="connsiteX210" fmla="*/ 474345 w 497205"/>
                <a:gd name="connsiteY210" fmla="*/ 46673 h 444817"/>
                <a:gd name="connsiteX211" fmla="*/ 477203 w 497205"/>
                <a:gd name="connsiteY211" fmla="*/ 50483 h 444817"/>
                <a:gd name="connsiteX212" fmla="*/ 483870 w 497205"/>
                <a:gd name="connsiteY212" fmla="*/ 57150 h 444817"/>
                <a:gd name="connsiteX213" fmla="*/ 489585 w 497205"/>
                <a:gd name="connsiteY213" fmla="*/ 66675 h 444817"/>
                <a:gd name="connsiteX214" fmla="*/ 492443 w 497205"/>
                <a:gd name="connsiteY214" fmla="*/ 76200 h 444817"/>
                <a:gd name="connsiteX215" fmla="*/ 492443 w 497205"/>
                <a:gd name="connsiteY215" fmla="*/ 81915 h 444817"/>
                <a:gd name="connsiteX216" fmla="*/ 490537 w 497205"/>
                <a:gd name="connsiteY216" fmla="*/ 81915 h 444817"/>
                <a:gd name="connsiteX217" fmla="*/ 486728 w 497205"/>
                <a:gd name="connsiteY217" fmla="*/ 77153 h 444817"/>
                <a:gd name="connsiteX218" fmla="*/ 481012 w 497205"/>
                <a:gd name="connsiteY218" fmla="*/ 71438 h 444817"/>
                <a:gd name="connsiteX219" fmla="*/ 472440 w 497205"/>
                <a:gd name="connsiteY219" fmla="*/ 63818 h 444817"/>
                <a:gd name="connsiteX220" fmla="*/ 466725 w 497205"/>
                <a:gd name="connsiteY220" fmla="*/ 60008 h 444817"/>
                <a:gd name="connsiteX221" fmla="*/ 466725 w 497205"/>
                <a:gd name="connsiteY221" fmla="*/ 55245 h 444817"/>
                <a:gd name="connsiteX222" fmla="*/ 469583 w 497205"/>
                <a:gd name="connsiteY222" fmla="*/ 51435 h 444817"/>
                <a:gd name="connsiteX223" fmla="*/ 468630 w 497205"/>
                <a:gd name="connsiteY223" fmla="*/ 45720 h 444817"/>
                <a:gd name="connsiteX224" fmla="*/ 465772 w 497205"/>
                <a:gd name="connsiteY224" fmla="*/ 40958 h 444817"/>
                <a:gd name="connsiteX225" fmla="*/ 463868 w 497205"/>
                <a:gd name="connsiteY225" fmla="*/ 40005 h 444817"/>
                <a:gd name="connsiteX226" fmla="*/ 461962 w 497205"/>
                <a:gd name="connsiteY226" fmla="*/ 42863 h 444817"/>
                <a:gd name="connsiteX227" fmla="*/ 461010 w 497205"/>
                <a:gd name="connsiteY227" fmla="*/ 42863 h 444817"/>
                <a:gd name="connsiteX228" fmla="*/ 459105 w 497205"/>
                <a:gd name="connsiteY228" fmla="*/ 41910 h 444817"/>
                <a:gd name="connsiteX229" fmla="*/ 455295 w 497205"/>
                <a:gd name="connsiteY229" fmla="*/ 41910 h 444817"/>
                <a:gd name="connsiteX230" fmla="*/ 455295 w 497205"/>
                <a:gd name="connsiteY230" fmla="*/ 46673 h 444817"/>
                <a:gd name="connsiteX231" fmla="*/ 457200 w 497205"/>
                <a:gd name="connsiteY231" fmla="*/ 51435 h 444817"/>
                <a:gd name="connsiteX232" fmla="*/ 453390 w 497205"/>
                <a:gd name="connsiteY232" fmla="*/ 54293 h 444817"/>
                <a:gd name="connsiteX233" fmla="*/ 446722 w 497205"/>
                <a:gd name="connsiteY233" fmla="*/ 55245 h 444817"/>
                <a:gd name="connsiteX234" fmla="*/ 441008 w 497205"/>
                <a:gd name="connsiteY234" fmla="*/ 56198 h 444817"/>
                <a:gd name="connsiteX235" fmla="*/ 434340 w 497205"/>
                <a:gd name="connsiteY235" fmla="*/ 56198 h 444817"/>
                <a:gd name="connsiteX236" fmla="*/ 428625 w 497205"/>
                <a:gd name="connsiteY236" fmla="*/ 58103 h 444817"/>
                <a:gd name="connsiteX237" fmla="*/ 427672 w 497205"/>
                <a:gd name="connsiteY237" fmla="*/ 60008 h 444817"/>
                <a:gd name="connsiteX238" fmla="*/ 427672 w 497205"/>
                <a:gd name="connsiteY238" fmla="*/ 72390 h 444817"/>
                <a:gd name="connsiteX239" fmla="*/ 432435 w 497205"/>
                <a:gd name="connsiteY239" fmla="*/ 77153 h 444817"/>
                <a:gd name="connsiteX240" fmla="*/ 434340 w 497205"/>
                <a:gd name="connsiteY240" fmla="*/ 77153 h 444817"/>
                <a:gd name="connsiteX241" fmla="*/ 435293 w 497205"/>
                <a:gd name="connsiteY241" fmla="*/ 76200 h 444817"/>
                <a:gd name="connsiteX242" fmla="*/ 439103 w 497205"/>
                <a:gd name="connsiteY242" fmla="*/ 76200 h 444817"/>
                <a:gd name="connsiteX243" fmla="*/ 442912 w 497205"/>
                <a:gd name="connsiteY243" fmla="*/ 79057 h 444817"/>
                <a:gd name="connsiteX244" fmla="*/ 449580 w 497205"/>
                <a:gd name="connsiteY244" fmla="*/ 86678 h 444817"/>
                <a:gd name="connsiteX245" fmla="*/ 453390 w 497205"/>
                <a:gd name="connsiteY245" fmla="*/ 94298 h 444817"/>
                <a:gd name="connsiteX246" fmla="*/ 456247 w 497205"/>
                <a:gd name="connsiteY246" fmla="*/ 101918 h 444817"/>
                <a:gd name="connsiteX247" fmla="*/ 458153 w 497205"/>
                <a:gd name="connsiteY247" fmla="*/ 111443 h 444817"/>
                <a:gd name="connsiteX248" fmla="*/ 459105 w 497205"/>
                <a:gd name="connsiteY248" fmla="*/ 120968 h 444817"/>
                <a:gd name="connsiteX249" fmla="*/ 449580 w 497205"/>
                <a:gd name="connsiteY249" fmla="*/ 123825 h 444817"/>
                <a:gd name="connsiteX250" fmla="*/ 448628 w 497205"/>
                <a:gd name="connsiteY250" fmla="*/ 131445 h 444817"/>
                <a:gd name="connsiteX251" fmla="*/ 447675 w 497205"/>
                <a:gd name="connsiteY251" fmla="*/ 138113 h 444817"/>
                <a:gd name="connsiteX252" fmla="*/ 451485 w 497205"/>
                <a:gd name="connsiteY252" fmla="*/ 143828 h 444817"/>
                <a:gd name="connsiteX253" fmla="*/ 456247 w 497205"/>
                <a:gd name="connsiteY253" fmla="*/ 151448 h 444817"/>
                <a:gd name="connsiteX254" fmla="*/ 457200 w 497205"/>
                <a:gd name="connsiteY254" fmla="*/ 153353 h 444817"/>
                <a:gd name="connsiteX255" fmla="*/ 457200 w 497205"/>
                <a:gd name="connsiteY255" fmla="*/ 156210 h 444817"/>
                <a:gd name="connsiteX256" fmla="*/ 454343 w 497205"/>
                <a:gd name="connsiteY256" fmla="*/ 158115 h 444817"/>
                <a:gd name="connsiteX257" fmla="*/ 451485 w 497205"/>
                <a:gd name="connsiteY257" fmla="*/ 160020 h 444817"/>
                <a:gd name="connsiteX258" fmla="*/ 450533 w 497205"/>
                <a:gd name="connsiteY258" fmla="*/ 157163 h 444817"/>
                <a:gd name="connsiteX259" fmla="*/ 447675 w 497205"/>
                <a:gd name="connsiteY259" fmla="*/ 151448 h 444817"/>
                <a:gd name="connsiteX260" fmla="*/ 444818 w 497205"/>
                <a:gd name="connsiteY260" fmla="*/ 146685 h 444817"/>
                <a:gd name="connsiteX261" fmla="*/ 441008 w 497205"/>
                <a:gd name="connsiteY261" fmla="*/ 143828 h 444817"/>
                <a:gd name="connsiteX262" fmla="*/ 435293 w 497205"/>
                <a:gd name="connsiteY262" fmla="*/ 138113 h 444817"/>
                <a:gd name="connsiteX263" fmla="*/ 434340 w 497205"/>
                <a:gd name="connsiteY263" fmla="*/ 138113 h 444817"/>
                <a:gd name="connsiteX264" fmla="*/ 430530 w 497205"/>
                <a:gd name="connsiteY264" fmla="*/ 141923 h 444817"/>
                <a:gd name="connsiteX265" fmla="*/ 427672 w 497205"/>
                <a:gd name="connsiteY265" fmla="*/ 140970 h 444817"/>
                <a:gd name="connsiteX266" fmla="*/ 427672 w 497205"/>
                <a:gd name="connsiteY266" fmla="*/ 137160 h 444817"/>
                <a:gd name="connsiteX267" fmla="*/ 428625 w 497205"/>
                <a:gd name="connsiteY267" fmla="*/ 135255 h 444817"/>
                <a:gd name="connsiteX268" fmla="*/ 424815 w 497205"/>
                <a:gd name="connsiteY268" fmla="*/ 135255 h 444817"/>
                <a:gd name="connsiteX269" fmla="*/ 419100 w 497205"/>
                <a:gd name="connsiteY269" fmla="*/ 140970 h 444817"/>
                <a:gd name="connsiteX270" fmla="*/ 419100 w 497205"/>
                <a:gd name="connsiteY270" fmla="*/ 143828 h 444817"/>
                <a:gd name="connsiteX271" fmla="*/ 422910 w 497205"/>
                <a:gd name="connsiteY271" fmla="*/ 147638 h 444817"/>
                <a:gd name="connsiteX272" fmla="*/ 430530 w 497205"/>
                <a:gd name="connsiteY272" fmla="*/ 147638 h 444817"/>
                <a:gd name="connsiteX273" fmla="*/ 434340 w 497205"/>
                <a:gd name="connsiteY273" fmla="*/ 149543 h 444817"/>
                <a:gd name="connsiteX274" fmla="*/ 433387 w 497205"/>
                <a:gd name="connsiteY274" fmla="*/ 151448 h 444817"/>
                <a:gd name="connsiteX275" fmla="*/ 431483 w 497205"/>
                <a:gd name="connsiteY275" fmla="*/ 152400 h 444817"/>
                <a:gd name="connsiteX276" fmla="*/ 431483 w 497205"/>
                <a:gd name="connsiteY276" fmla="*/ 157163 h 444817"/>
                <a:gd name="connsiteX277" fmla="*/ 439103 w 497205"/>
                <a:gd name="connsiteY277" fmla="*/ 168593 h 444817"/>
                <a:gd name="connsiteX278" fmla="*/ 442912 w 497205"/>
                <a:gd name="connsiteY278" fmla="*/ 176213 h 444817"/>
                <a:gd name="connsiteX279" fmla="*/ 440055 w 497205"/>
                <a:gd name="connsiteY279" fmla="*/ 177165 h 444817"/>
                <a:gd name="connsiteX280" fmla="*/ 442912 w 497205"/>
                <a:gd name="connsiteY280" fmla="*/ 179070 h 444817"/>
                <a:gd name="connsiteX281" fmla="*/ 444818 w 497205"/>
                <a:gd name="connsiteY281" fmla="*/ 181928 h 444817"/>
                <a:gd name="connsiteX282" fmla="*/ 444818 w 497205"/>
                <a:gd name="connsiteY282" fmla="*/ 195263 h 444817"/>
                <a:gd name="connsiteX283" fmla="*/ 441008 w 497205"/>
                <a:gd name="connsiteY283" fmla="*/ 200025 h 444817"/>
                <a:gd name="connsiteX284" fmla="*/ 431483 w 497205"/>
                <a:gd name="connsiteY284" fmla="*/ 209550 h 444817"/>
                <a:gd name="connsiteX285" fmla="*/ 422910 w 497205"/>
                <a:gd name="connsiteY285" fmla="*/ 215265 h 444817"/>
                <a:gd name="connsiteX286" fmla="*/ 420053 w 497205"/>
                <a:gd name="connsiteY286" fmla="*/ 220028 h 444817"/>
                <a:gd name="connsiteX287" fmla="*/ 418147 w 497205"/>
                <a:gd name="connsiteY287" fmla="*/ 220028 h 444817"/>
                <a:gd name="connsiteX288" fmla="*/ 416243 w 497205"/>
                <a:gd name="connsiteY288" fmla="*/ 217170 h 444817"/>
                <a:gd name="connsiteX289" fmla="*/ 414337 w 497205"/>
                <a:gd name="connsiteY289" fmla="*/ 215265 h 444817"/>
                <a:gd name="connsiteX290" fmla="*/ 410528 w 497205"/>
                <a:gd name="connsiteY290" fmla="*/ 217170 h 444817"/>
                <a:gd name="connsiteX291" fmla="*/ 406718 w 497205"/>
                <a:gd name="connsiteY291" fmla="*/ 226695 h 444817"/>
                <a:gd name="connsiteX292" fmla="*/ 407670 w 497205"/>
                <a:gd name="connsiteY292" fmla="*/ 230505 h 444817"/>
                <a:gd name="connsiteX293" fmla="*/ 415290 w 497205"/>
                <a:gd name="connsiteY293" fmla="*/ 237173 h 444817"/>
                <a:gd name="connsiteX294" fmla="*/ 421005 w 497205"/>
                <a:gd name="connsiteY294" fmla="*/ 243840 h 444817"/>
                <a:gd name="connsiteX295" fmla="*/ 421958 w 497205"/>
                <a:gd name="connsiteY295" fmla="*/ 255270 h 444817"/>
                <a:gd name="connsiteX296" fmla="*/ 419100 w 497205"/>
                <a:gd name="connsiteY296" fmla="*/ 260033 h 444817"/>
                <a:gd name="connsiteX297" fmla="*/ 416243 w 497205"/>
                <a:gd name="connsiteY297" fmla="*/ 263843 h 444817"/>
                <a:gd name="connsiteX298" fmla="*/ 412433 w 497205"/>
                <a:gd name="connsiteY298" fmla="*/ 266700 h 444817"/>
                <a:gd name="connsiteX299" fmla="*/ 411480 w 497205"/>
                <a:gd name="connsiteY299" fmla="*/ 269558 h 444817"/>
                <a:gd name="connsiteX300" fmla="*/ 408622 w 497205"/>
                <a:gd name="connsiteY300" fmla="*/ 269558 h 444817"/>
                <a:gd name="connsiteX301" fmla="*/ 408622 w 497205"/>
                <a:gd name="connsiteY301" fmla="*/ 266700 h 444817"/>
                <a:gd name="connsiteX302" fmla="*/ 406718 w 497205"/>
                <a:gd name="connsiteY302" fmla="*/ 263843 h 444817"/>
                <a:gd name="connsiteX303" fmla="*/ 404812 w 497205"/>
                <a:gd name="connsiteY303" fmla="*/ 261938 h 444817"/>
                <a:gd name="connsiteX304" fmla="*/ 401003 w 497205"/>
                <a:gd name="connsiteY304" fmla="*/ 259080 h 444817"/>
                <a:gd name="connsiteX305" fmla="*/ 401003 w 497205"/>
                <a:gd name="connsiteY305" fmla="*/ 255270 h 444817"/>
                <a:gd name="connsiteX306" fmla="*/ 398145 w 497205"/>
                <a:gd name="connsiteY306" fmla="*/ 254318 h 444817"/>
                <a:gd name="connsiteX307" fmla="*/ 395287 w 497205"/>
                <a:gd name="connsiteY307" fmla="*/ 252413 h 444817"/>
                <a:gd name="connsiteX308" fmla="*/ 394335 w 497205"/>
                <a:gd name="connsiteY308" fmla="*/ 250508 h 444817"/>
                <a:gd name="connsiteX309" fmla="*/ 390525 w 497205"/>
                <a:gd name="connsiteY309" fmla="*/ 250508 h 444817"/>
                <a:gd name="connsiteX310" fmla="*/ 392430 w 497205"/>
                <a:gd name="connsiteY310" fmla="*/ 260033 h 444817"/>
                <a:gd name="connsiteX311" fmla="*/ 392430 w 497205"/>
                <a:gd name="connsiteY311" fmla="*/ 267653 h 444817"/>
                <a:gd name="connsiteX312" fmla="*/ 395287 w 497205"/>
                <a:gd name="connsiteY312" fmla="*/ 274320 h 444817"/>
                <a:gd name="connsiteX313" fmla="*/ 399097 w 497205"/>
                <a:gd name="connsiteY313" fmla="*/ 280035 h 444817"/>
                <a:gd name="connsiteX314" fmla="*/ 402908 w 497205"/>
                <a:gd name="connsiteY314" fmla="*/ 285750 h 444817"/>
                <a:gd name="connsiteX315" fmla="*/ 405765 w 497205"/>
                <a:gd name="connsiteY315" fmla="*/ 291465 h 444817"/>
                <a:gd name="connsiteX316" fmla="*/ 407670 w 497205"/>
                <a:gd name="connsiteY316" fmla="*/ 295275 h 444817"/>
                <a:gd name="connsiteX317" fmla="*/ 406718 w 497205"/>
                <a:gd name="connsiteY317" fmla="*/ 298133 h 444817"/>
                <a:gd name="connsiteX318" fmla="*/ 403860 w 497205"/>
                <a:gd name="connsiteY318" fmla="*/ 298133 h 444817"/>
                <a:gd name="connsiteX319" fmla="*/ 401003 w 497205"/>
                <a:gd name="connsiteY319" fmla="*/ 295275 h 444817"/>
                <a:gd name="connsiteX320" fmla="*/ 399097 w 497205"/>
                <a:gd name="connsiteY320" fmla="*/ 295275 h 444817"/>
                <a:gd name="connsiteX321" fmla="*/ 393383 w 497205"/>
                <a:gd name="connsiteY321" fmla="*/ 282893 h 444817"/>
                <a:gd name="connsiteX322" fmla="*/ 390525 w 497205"/>
                <a:gd name="connsiteY322" fmla="*/ 278130 h 444817"/>
                <a:gd name="connsiteX323" fmla="*/ 385762 w 497205"/>
                <a:gd name="connsiteY323" fmla="*/ 273368 h 444817"/>
                <a:gd name="connsiteX324" fmla="*/ 385762 w 497205"/>
                <a:gd name="connsiteY324" fmla="*/ 260033 h 444817"/>
                <a:gd name="connsiteX325" fmla="*/ 384810 w 497205"/>
                <a:gd name="connsiteY325" fmla="*/ 251460 h 444817"/>
                <a:gd name="connsiteX326" fmla="*/ 381953 w 497205"/>
                <a:gd name="connsiteY326" fmla="*/ 243840 h 444817"/>
                <a:gd name="connsiteX327" fmla="*/ 379095 w 497205"/>
                <a:gd name="connsiteY327" fmla="*/ 235268 h 444817"/>
                <a:gd name="connsiteX328" fmla="*/ 377190 w 497205"/>
                <a:gd name="connsiteY328" fmla="*/ 236220 h 444817"/>
                <a:gd name="connsiteX329" fmla="*/ 374333 w 497205"/>
                <a:gd name="connsiteY329" fmla="*/ 239078 h 444817"/>
                <a:gd name="connsiteX330" fmla="*/ 371475 w 497205"/>
                <a:gd name="connsiteY330" fmla="*/ 240030 h 444817"/>
                <a:gd name="connsiteX331" fmla="*/ 368618 w 497205"/>
                <a:gd name="connsiteY331" fmla="*/ 239078 h 444817"/>
                <a:gd name="connsiteX332" fmla="*/ 369570 w 497205"/>
                <a:gd name="connsiteY332" fmla="*/ 231458 h 444817"/>
                <a:gd name="connsiteX333" fmla="*/ 363855 w 497205"/>
                <a:gd name="connsiteY333" fmla="*/ 223838 h 444817"/>
                <a:gd name="connsiteX334" fmla="*/ 360045 w 497205"/>
                <a:gd name="connsiteY334" fmla="*/ 220980 h 444817"/>
                <a:gd name="connsiteX335" fmla="*/ 360045 w 497205"/>
                <a:gd name="connsiteY335" fmla="*/ 218123 h 444817"/>
                <a:gd name="connsiteX336" fmla="*/ 359093 w 497205"/>
                <a:gd name="connsiteY336" fmla="*/ 213360 h 444817"/>
                <a:gd name="connsiteX337" fmla="*/ 355283 w 497205"/>
                <a:gd name="connsiteY337" fmla="*/ 213360 h 444817"/>
                <a:gd name="connsiteX338" fmla="*/ 351472 w 497205"/>
                <a:gd name="connsiteY338" fmla="*/ 218123 h 444817"/>
                <a:gd name="connsiteX339" fmla="*/ 348615 w 497205"/>
                <a:gd name="connsiteY339" fmla="*/ 217170 h 444817"/>
                <a:gd name="connsiteX340" fmla="*/ 347662 w 497205"/>
                <a:gd name="connsiteY340" fmla="*/ 215265 h 444817"/>
                <a:gd name="connsiteX341" fmla="*/ 344805 w 497205"/>
                <a:gd name="connsiteY341" fmla="*/ 217170 h 444817"/>
                <a:gd name="connsiteX342" fmla="*/ 340995 w 497205"/>
                <a:gd name="connsiteY342" fmla="*/ 223838 h 444817"/>
                <a:gd name="connsiteX343" fmla="*/ 336233 w 497205"/>
                <a:gd name="connsiteY343" fmla="*/ 230505 h 444817"/>
                <a:gd name="connsiteX344" fmla="*/ 332422 w 497205"/>
                <a:gd name="connsiteY344" fmla="*/ 235268 h 444817"/>
                <a:gd name="connsiteX345" fmla="*/ 326708 w 497205"/>
                <a:gd name="connsiteY345" fmla="*/ 243840 h 444817"/>
                <a:gd name="connsiteX346" fmla="*/ 323850 w 497205"/>
                <a:gd name="connsiteY346" fmla="*/ 256223 h 444817"/>
                <a:gd name="connsiteX347" fmla="*/ 322897 w 497205"/>
                <a:gd name="connsiteY347" fmla="*/ 263843 h 444817"/>
                <a:gd name="connsiteX348" fmla="*/ 320040 w 497205"/>
                <a:gd name="connsiteY348" fmla="*/ 274320 h 444817"/>
                <a:gd name="connsiteX349" fmla="*/ 318135 w 497205"/>
                <a:gd name="connsiteY349" fmla="*/ 274320 h 444817"/>
                <a:gd name="connsiteX350" fmla="*/ 315278 w 497205"/>
                <a:gd name="connsiteY350" fmla="*/ 273368 h 444817"/>
                <a:gd name="connsiteX351" fmla="*/ 312420 w 497205"/>
                <a:gd name="connsiteY351" fmla="*/ 264795 h 444817"/>
                <a:gd name="connsiteX352" fmla="*/ 307658 w 497205"/>
                <a:gd name="connsiteY352" fmla="*/ 257175 h 444817"/>
                <a:gd name="connsiteX353" fmla="*/ 300990 w 497205"/>
                <a:gd name="connsiteY353" fmla="*/ 240983 h 444817"/>
                <a:gd name="connsiteX354" fmla="*/ 298133 w 497205"/>
                <a:gd name="connsiteY354" fmla="*/ 229553 h 444817"/>
                <a:gd name="connsiteX355" fmla="*/ 297180 w 497205"/>
                <a:gd name="connsiteY355" fmla="*/ 218123 h 444817"/>
                <a:gd name="connsiteX356" fmla="*/ 294322 w 497205"/>
                <a:gd name="connsiteY356" fmla="*/ 218123 h 444817"/>
                <a:gd name="connsiteX357" fmla="*/ 293370 w 497205"/>
                <a:gd name="connsiteY357" fmla="*/ 223838 h 444817"/>
                <a:gd name="connsiteX358" fmla="*/ 291465 w 497205"/>
                <a:gd name="connsiteY358" fmla="*/ 224790 h 444817"/>
                <a:gd name="connsiteX359" fmla="*/ 288608 w 497205"/>
                <a:gd name="connsiteY359" fmla="*/ 222885 h 444817"/>
                <a:gd name="connsiteX360" fmla="*/ 282893 w 497205"/>
                <a:gd name="connsiteY360" fmla="*/ 217170 h 444817"/>
                <a:gd name="connsiteX361" fmla="*/ 280987 w 497205"/>
                <a:gd name="connsiteY361" fmla="*/ 214313 h 444817"/>
                <a:gd name="connsiteX362" fmla="*/ 280035 w 497205"/>
                <a:gd name="connsiteY362" fmla="*/ 210503 h 444817"/>
                <a:gd name="connsiteX363" fmla="*/ 275272 w 497205"/>
                <a:gd name="connsiteY363" fmla="*/ 206693 h 444817"/>
                <a:gd name="connsiteX364" fmla="*/ 253365 w 497205"/>
                <a:gd name="connsiteY364" fmla="*/ 206693 h 444817"/>
                <a:gd name="connsiteX365" fmla="*/ 249555 w 497205"/>
                <a:gd name="connsiteY365" fmla="*/ 205740 h 444817"/>
                <a:gd name="connsiteX366" fmla="*/ 244793 w 497205"/>
                <a:gd name="connsiteY366" fmla="*/ 203835 h 444817"/>
                <a:gd name="connsiteX367" fmla="*/ 244793 w 497205"/>
                <a:gd name="connsiteY367" fmla="*/ 200025 h 444817"/>
                <a:gd name="connsiteX368" fmla="*/ 242888 w 497205"/>
                <a:gd name="connsiteY368" fmla="*/ 198120 h 444817"/>
                <a:gd name="connsiteX369" fmla="*/ 238125 w 497205"/>
                <a:gd name="connsiteY369" fmla="*/ 199073 h 444817"/>
                <a:gd name="connsiteX370" fmla="*/ 236220 w 497205"/>
                <a:gd name="connsiteY370" fmla="*/ 200978 h 444817"/>
                <a:gd name="connsiteX371" fmla="*/ 230505 w 497205"/>
                <a:gd name="connsiteY371" fmla="*/ 200978 h 444817"/>
                <a:gd name="connsiteX372" fmla="*/ 227647 w 497205"/>
                <a:gd name="connsiteY372" fmla="*/ 198120 h 444817"/>
                <a:gd name="connsiteX373" fmla="*/ 221933 w 497205"/>
                <a:gd name="connsiteY373" fmla="*/ 192405 h 444817"/>
                <a:gd name="connsiteX374" fmla="*/ 218122 w 497205"/>
                <a:gd name="connsiteY374" fmla="*/ 188595 h 444817"/>
                <a:gd name="connsiteX375" fmla="*/ 214313 w 497205"/>
                <a:gd name="connsiteY375" fmla="*/ 188595 h 444817"/>
                <a:gd name="connsiteX376" fmla="*/ 212408 w 497205"/>
                <a:gd name="connsiteY376" fmla="*/ 191453 h 444817"/>
                <a:gd name="connsiteX377" fmla="*/ 212408 w 497205"/>
                <a:gd name="connsiteY377" fmla="*/ 193358 h 444817"/>
                <a:gd name="connsiteX378" fmla="*/ 217170 w 497205"/>
                <a:gd name="connsiteY378" fmla="*/ 197168 h 444817"/>
                <a:gd name="connsiteX379" fmla="*/ 219075 w 497205"/>
                <a:gd name="connsiteY379" fmla="*/ 200978 h 444817"/>
                <a:gd name="connsiteX380" fmla="*/ 220980 w 497205"/>
                <a:gd name="connsiteY380" fmla="*/ 201930 h 444817"/>
                <a:gd name="connsiteX381" fmla="*/ 221933 w 497205"/>
                <a:gd name="connsiteY381" fmla="*/ 204788 h 444817"/>
                <a:gd name="connsiteX382" fmla="*/ 223838 w 497205"/>
                <a:gd name="connsiteY382" fmla="*/ 204788 h 444817"/>
                <a:gd name="connsiteX383" fmla="*/ 226695 w 497205"/>
                <a:gd name="connsiteY383" fmla="*/ 203835 h 444817"/>
                <a:gd name="connsiteX384" fmla="*/ 227647 w 497205"/>
                <a:gd name="connsiteY384" fmla="*/ 205740 h 444817"/>
                <a:gd name="connsiteX385" fmla="*/ 227647 w 497205"/>
                <a:gd name="connsiteY385" fmla="*/ 210503 h 444817"/>
                <a:gd name="connsiteX386" fmla="*/ 230505 w 497205"/>
                <a:gd name="connsiteY386" fmla="*/ 210503 h 444817"/>
                <a:gd name="connsiteX387" fmla="*/ 235268 w 497205"/>
                <a:gd name="connsiteY387" fmla="*/ 211455 h 444817"/>
                <a:gd name="connsiteX388" fmla="*/ 237172 w 497205"/>
                <a:gd name="connsiteY388" fmla="*/ 208598 h 444817"/>
                <a:gd name="connsiteX389" fmla="*/ 239077 w 497205"/>
                <a:gd name="connsiteY389" fmla="*/ 204788 h 444817"/>
                <a:gd name="connsiteX390" fmla="*/ 242888 w 497205"/>
                <a:gd name="connsiteY390" fmla="*/ 204788 h 444817"/>
                <a:gd name="connsiteX391" fmla="*/ 242888 w 497205"/>
                <a:gd name="connsiteY391" fmla="*/ 209550 h 444817"/>
                <a:gd name="connsiteX392" fmla="*/ 243840 w 497205"/>
                <a:gd name="connsiteY392" fmla="*/ 212408 h 444817"/>
                <a:gd name="connsiteX393" fmla="*/ 246697 w 497205"/>
                <a:gd name="connsiteY393" fmla="*/ 213360 h 444817"/>
                <a:gd name="connsiteX394" fmla="*/ 250508 w 497205"/>
                <a:gd name="connsiteY394" fmla="*/ 214313 h 444817"/>
                <a:gd name="connsiteX395" fmla="*/ 252412 w 497205"/>
                <a:gd name="connsiteY395" fmla="*/ 215265 h 444817"/>
                <a:gd name="connsiteX396" fmla="*/ 253365 w 497205"/>
                <a:gd name="connsiteY396" fmla="*/ 217170 h 444817"/>
                <a:gd name="connsiteX397" fmla="*/ 249555 w 497205"/>
                <a:gd name="connsiteY397" fmla="*/ 227648 h 444817"/>
                <a:gd name="connsiteX398" fmla="*/ 244793 w 497205"/>
                <a:gd name="connsiteY398" fmla="*/ 234315 h 444817"/>
                <a:gd name="connsiteX399" fmla="*/ 240030 w 497205"/>
                <a:gd name="connsiteY399" fmla="*/ 239078 h 444817"/>
                <a:gd name="connsiteX400" fmla="*/ 236220 w 497205"/>
                <a:gd name="connsiteY400" fmla="*/ 240983 h 444817"/>
                <a:gd name="connsiteX401" fmla="*/ 230505 w 497205"/>
                <a:gd name="connsiteY401" fmla="*/ 244793 h 444817"/>
                <a:gd name="connsiteX402" fmla="*/ 225743 w 497205"/>
                <a:gd name="connsiteY402" fmla="*/ 249555 h 444817"/>
                <a:gd name="connsiteX403" fmla="*/ 220980 w 497205"/>
                <a:gd name="connsiteY403" fmla="*/ 252413 h 444817"/>
                <a:gd name="connsiteX404" fmla="*/ 208597 w 497205"/>
                <a:gd name="connsiteY404" fmla="*/ 255270 h 444817"/>
                <a:gd name="connsiteX405" fmla="*/ 204788 w 497205"/>
                <a:gd name="connsiteY405" fmla="*/ 256223 h 444817"/>
                <a:gd name="connsiteX406" fmla="*/ 200977 w 497205"/>
                <a:gd name="connsiteY406" fmla="*/ 250508 h 444817"/>
                <a:gd name="connsiteX407" fmla="*/ 199072 w 497205"/>
                <a:gd name="connsiteY407" fmla="*/ 247650 h 444817"/>
                <a:gd name="connsiteX408" fmla="*/ 197168 w 497205"/>
                <a:gd name="connsiteY408" fmla="*/ 236220 h 444817"/>
                <a:gd name="connsiteX409" fmla="*/ 188595 w 497205"/>
                <a:gd name="connsiteY409" fmla="*/ 223838 h 444817"/>
                <a:gd name="connsiteX410" fmla="*/ 174308 w 497205"/>
                <a:gd name="connsiteY410" fmla="*/ 201930 h 444817"/>
                <a:gd name="connsiteX411" fmla="*/ 171450 w 497205"/>
                <a:gd name="connsiteY411" fmla="*/ 192405 h 444817"/>
                <a:gd name="connsiteX412" fmla="*/ 169545 w 497205"/>
                <a:gd name="connsiteY412" fmla="*/ 194310 h 444817"/>
                <a:gd name="connsiteX413" fmla="*/ 168593 w 497205"/>
                <a:gd name="connsiteY413" fmla="*/ 193358 h 444817"/>
                <a:gd name="connsiteX414" fmla="*/ 167640 w 497205"/>
                <a:gd name="connsiteY414" fmla="*/ 192405 h 444817"/>
                <a:gd name="connsiteX415" fmla="*/ 164783 w 497205"/>
                <a:gd name="connsiteY415" fmla="*/ 192405 h 444817"/>
                <a:gd name="connsiteX416" fmla="*/ 164783 w 497205"/>
                <a:gd name="connsiteY416" fmla="*/ 196215 h 444817"/>
                <a:gd name="connsiteX417" fmla="*/ 167640 w 497205"/>
                <a:gd name="connsiteY417" fmla="*/ 201930 h 444817"/>
                <a:gd name="connsiteX418" fmla="*/ 174308 w 497205"/>
                <a:gd name="connsiteY418" fmla="*/ 214313 h 444817"/>
                <a:gd name="connsiteX419" fmla="*/ 180022 w 497205"/>
                <a:gd name="connsiteY419" fmla="*/ 223838 h 444817"/>
                <a:gd name="connsiteX420" fmla="*/ 180022 w 497205"/>
                <a:gd name="connsiteY420" fmla="*/ 230505 h 444817"/>
                <a:gd name="connsiteX421" fmla="*/ 187643 w 497205"/>
                <a:gd name="connsiteY421" fmla="*/ 238125 h 444817"/>
                <a:gd name="connsiteX422" fmla="*/ 189547 w 497205"/>
                <a:gd name="connsiteY422" fmla="*/ 245745 h 444817"/>
                <a:gd name="connsiteX423" fmla="*/ 191452 w 497205"/>
                <a:gd name="connsiteY423" fmla="*/ 246698 h 444817"/>
                <a:gd name="connsiteX424" fmla="*/ 196215 w 497205"/>
                <a:gd name="connsiteY424" fmla="*/ 252413 h 444817"/>
                <a:gd name="connsiteX425" fmla="*/ 201930 w 497205"/>
                <a:gd name="connsiteY425" fmla="*/ 258128 h 444817"/>
                <a:gd name="connsiteX426" fmla="*/ 200977 w 497205"/>
                <a:gd name="connsiteY426" fmla="*/ 264795 h 444817"/>
                <a:gd name="connsiteX427" fmla="*/ 204788 w 497205"/>
                <a:gd name="connsiteY427" fmla="*/ 265748 h 444817"/>
                <a:gd name="connsiteX428" fmla="*/ 211455 w 497205"/>
                <a:gd name="connsiteY428" fmla="*/ 263843 h 444817"/>
                <a:gd name="connsiteX429" fmla="*/ 222885 w 497205"/>
                <a:gd name="connsiteY429" fmla="*/ 260033 h 444817"/>
                <a:gd name="connsiteX430" fmla="*/ 228600 w 497205"/>
                <a:gd name="connsiteY430" fmla="*/ 259080 h 444817"/>
                <a:gd name="connsiteX431" fmla="*/ 228600 w 497205"/>
                <a:gd name="connsiteY431" fmla="*/ 261938 h 444817"/>
                <a:gd name="connsiteX432" fmla="*/ 218122 w 497205"/>
                <a:gd name="connsiteY432" fmla="*/ 287655 h 444817"/>
                <a:gd name="connsiteX433" fmla="*/ 209550 w 497205"/>
                <a:gd name="connsiteY433" fmla="*/ 300038 h 444817"/>
                <a:gd name="connsiteX434" fmla="*/ 198120 w 497205"/>
                <a:gd name="connsiteY434" fmla="*/ 311468 h 444817"/>
                <a:gd name="connsiteX435" fmla="*/ 189547 w 497205"/>
                <a:gd name="connsiteY435" fmla="*/ 321945 h 444817"/>
                <a:gd name="connsiteX436" fmla="*/ 189547 w 497205"/>
                <a:gd name="connsiteY436" fmla="*/ 334328 h 444817"/>
                <a:gd name="connsiteX437" fmla="*/ 193358 w 497205"/>
                <a:gd name="connsiteY437" fmla="*/ 359093 h 444817"/>
                <a:gd name="connsiteX438" fmla="*/ 193358 w 497205"/>
                <a:gd name="connsiteY438" fmla="*/ 365760 h 444817"/>
                <a:gd name="connsiteX439" fmla="*/ 185738 w 497205"/>
                <a:gd name="connsiteY439" fmla="*/ 373380 h 444817"/>
                <a:gd name="connsiteX440" fmla="*/ 178118 w 497205"/>
                <a:gd name="connsiteY440" fmla="*/ 380048 h 444817"/>
                <a:gd name="connsiteX441" fmla="*/ 171450 w 497205"/>
                <a:gd name="connsiteY441" fmla="*/ 385763 h 444817"/>
                <a:gd name="connsiteX442" fmla="*/ 173355 w 497205"/>
                <a:gd name="connsiteY442" fmla="*/ 394335 h 444817"/>
                <a:gd name="connsiteX443" fmla="*/ 173355 w 497205"/>
                <a:gd name="connsiteY443" fmla="*/ 402908 h 444817"/>
                <a:gd name="connsiteX444" fmla="*/ 164783 w 497205"/>
                <a:gd name="connsiteY444" fmla="*/ 408622 h 444817"/>
                <a:gd name="connsiteX445" fmla="*/ 164783 w 497205"/>
                <a:gd name="connsiteY445" fmla="*/ 411480 h 444817"/>
                <a:gd name="connsiteX446" fmla="*/ 159068 w 497205"/>
                <a:gd name="connsiteY446" fmla="*/ 422910 h 444817"/>
                <a:gd name="connsiteX447" fmla="*/ 150495 w 497205"/>
                <a:gd name="connsiteY447" fmla="*/ 433388 h 444817"/>
                <a:gd name="connsiteX448" fmla="*/ 143827 w 497205"/>
                <a:gd name="connsiteY448" fmla="*/ 438150 h 444817"/>
                <a:gd name="connsiteX449" fmla="*/ 137160 w 497205"/>
                <a:gd name="connsiteY449" fmla="*/ 439103 h 444817"/>
                <a:gd name="connsiteX450" fmla="*/ 127635 w 497205"/>
                <a:gd name="connsiteY450" fmla="*/ 441008 h 444817"/>
                <a:gd name="connsiteX451" fmla="*/ 123825 w 497205"/>
                <a:gd name="connsiteY451" fmla="*/ 444818 h 444817"/>
                <a:gd name="connsiteX452" fmla="*/ 120968 w 497205"/>
                <a:gd name="connsiteY452" fmla="*/ 443865 h 444817"/>
                <a:gd name="connsiteX453" fmla="*/ 120015 w 497205"/>
                <a:gd name="connsiteY453" fmla="*/ 441960 h 444817"/>
                <a:gd name="connsiteX454" fmla="*/ 115252 w 497205"/>
                <a:gd name="connsiteY454" fmla="*/ 439103 h 444817"/>
                <a:gd name="connsiteX455" fmla="*/ 114300 w 497205"/>
                <a:gd name="connsiteY455" fmla="*/ 429578 h 444817"/>
                <a:gd name="connsiteX456" fmla="*/ 105727 w 497205"/>
                <a:gd name="connsiteY456" fmla="*/ 414338 h 444817"/>
                <a:gd name="connsiteX457" fmla="*/ 103822 w 497205"/>
                <a:gd name="connsiteY457" fmla="*/ 401003 h 444817"/>
                <a:gd name="connsiteX458" fmla="*/ 102870 w 497205"/>
                <a:gd name="connsiteY458" fmla="*/ 394335 h 444817"/>
                <a:gd name="connsiteX459" fmla="*/ 96202 w 497205"/>
                <a:gd name="connsiteY459" fmla="*/ 379095 h 444817"/>
                <a:gd name="connsiteX460" fmla="*/ 96202 w 497205"/>
                <a:gd name="connsiteY460" fmla="*/ 363855 h 444817"/>
                <a:gd name="connsiteX461" fmla="*/ 102870 w 497205"/>
                <a:gd name="connsiteY461" fmla="*/ 351473 h 444817"/>
                <a:gd name="connsiteX462" fmla="*/ 100013 w 497205"/>
                <a:gd name="connsiteY462" fmla="*/ 334328 h 444817"/>
                <a:gd name="connsiteX463" fmla="*/ 94297 w 497205"/>
                <a:gd name="connsiteY463" fmla="*/ 322898 h 444817"/>
                <a:gd name="connsiteX464" fmla="*/ 85725 w 497205"/>
                <a:gd name="connsiteY464" fmla="*/ 309563 h 444817"/>
                <a:gd name="connsiteX465" fmla="*/ 86677 w 497205"/>
                <a:gd name="connsiteY465" fmla="*/ 301943 h 444817"/>
                <a:gd name="connsiteX466" fmla="*/ 89535 w 497205"/>
                <a:gd name="connsiteY466" fmla="*/ 296228 h 444817"/>
                <a:gd name="connsiteX467" fmla="*/ 89535 w 497205"/>
                <a:gd name="connsiteY467" fmla="*/ 291465 h 444817"/>
                <a:gd name="connsiteX468" fmla="*/ 84772 w 497205"/>
                <a:gd name="connsiteY468" fmla="*/ 291465 h 444817"/>
                <a:gd name="connsiteX469" fmla="*/ 79057 w 497205"/>
                <a:gd name="connsiteY469" fmla="*/ 291465 h 444817"/>
                <a:gd name="connsiteX470" fmla="*/ 73343 w 497205"/>
                <a:gd name="connsiteY470" fmla="*/ 282893 h 444817"/>
                <a:gd name="connsiteX471" fmla="*/ 66675 w 497205"/>
                <a:gd name="connsiteY471" fmla="*/ 282893 h 444817"/>
                <a:gd name="connsiteX472" fmla="*/ 53340 w 497205"/>
                <a:gd name="connsiteY472" fmla="*/ 286703 h 444817"/>
                <a:gd name="connsiteX473" fmla="*/ 36195 w 497205"/>
                <a:gd name="connsiteY473" fmla="*/ 292418 h 444817"/>
                <a:gd name="connsiteX474" fmla="*/ 29527 w 497205"/>
                <a:gd name="connsiteY474" fmla="*/ 291465 h 444817"/>
                <a:gd name="connsiteX475" fmla="*/ 14288 w 497205"/>
                <a:gd name="connsiteY475" fmla="*/ 275273 h 444817"/>
                <a:gd name="connsiteX476" fmla="*/ 3810 w 497205"/>
                <a:gd name="connsiteY476" fmla="*/ 261938 h 444817"/>
                <a:gd name="connsiteX477" fmla="*/ 0 w 497205"/>
                <a:gd name="connsiteY477" fmla="*/ 254318 h 444817"/>
                <a:gd name="connsiteX478" fmla="*/ 0 w 497205"/>
                <a:gd name="connsiteY478" fmla="*/ 245745 h 444817"/>
                <a:gd name="connsiteX479" fmla="*/ 2857 w 497205"/>
                <a:gd name="connsiteY479" fmla="*/ 236220 h 444817"/>
                <a:gd name="connsiteX480" fmla="*/ 2857 w 497205"/>
                <a:gd name="connsiteY480" fmla="*/ 226695 h 444817"/>
                <a:gd name="connsiteX481" fmla="*/ 3810 w 497205"/>
                <a:gd name="connsiteY481" fmla="*/ 220028 h 444817"/>
                <a:gd name="connsiteX482" fmla="*/ 12382 w 497205"/>
                <a:gd name="connsiteY482" fmla="*/ 201930 h 444817"/>
                <a:gd name="connsiteX483" fmla="*/ 17145 w 497205"/>
                <a:gd name="connsiteY483" fmla="*/ 197168 h 444817"/>
                <a:gd name="connsiteX484" fmla="*/ 20002 w 497205"/>
                <a:gd name="connsiteY484" fmla="*/ 197168 h 444817"/>
                <a:gd name="connsiteX485" fmla="*/ 26670 w 497205"/>
                <a:gd name="connsiteY485" fmla="*/ 188595 h 444817"/>
                <a:gd name="connsiteX486" fmla="*/ 28575 w 497205"/>
                <a:gd name="connsiteY486" fmla="*/ 181928 h 444817"/>
                <a:gd name="connsiteX487" fmla="*/ 29527 w 497205"/>
                <a:gd name="connsiteY487" fmla="*/ 179070 h 444817"/>
                <a:gd name="connsiteX488" fmla="*/ 35243 w 497205"/>
                <a:gd name="connsiteY488" fmla="*/ 175260 h 444817"/>
                <a:gd name="connsiteX489" fmla="*/ 37147 w 497205"/>
                <a:gd name="connsiteY489" fmla="*/ 172403 h 444817"/>
                <a:gd name="connsiteX490" fmla="*/ 40957 w 497205"/>
                <a:gd name="connsiteY490" fmla="*/ 166688 h 444817"/>
                <a:gd name="connsiteX491" fmla="*/ 43815 w 497205"/>
                <a:gd name="connsiteY491" fmla="*/ 166688 h 444817"/>
                <a:gd name="connsiteX492" fmla="*/ 46672 w 497205"/>
                <a:gd name="connsiteY492" fmla="*/ 168593 h 444817"/>
                <a:gd name="connsiteX493" fmla="*/ 50482 w 497205"/>
                <a:gd name="connsiteY493" fmla="*/ 168593 h 444817"/>
                <a:gd name="connsiteX494" fmla="*/ 60960 w 497205"/>
                <a:gd name="connsiteY494" fmla="*/ 164783 h 444817"/>
                <a:gd name="connsiteX495" fmla="*/ 69532 w 497205"/>
                <a:gd name="connsiteY495" fmla="*/ 162878 h 444817"/>
                <a:gd name="connsiteX496" fmla="*/ 74295 w 497205"/>
                <a:gd name="connsiteY496" fmla="*/ 161925 h 444817"/>
                <a:gd name="connsiteX497" fmla="*/ 79057 w 497205"/>
                <a:gd name="connsiteY497" fmla="*/ 160020 h 444817"/>
                <a:gd name="connsiteX498" fmla="*/ 85725 w 497205"/>
                <a:gd name="connsiteY498" fmla="*/ 160020 h 444817"/>
                <a:gd name="connsiteX499" fmla="*/ 94297 w 497205"/>
                <a:gd name="connsiteY499" fmla="*/ 160973 h 444817"/>
                <a:gd name="connsiteX500" fmla="*/ 93345 w 497205"/>
                <a:gd name="connsiteY500" fmla="*/ 164783 h 444817"/>
                <a:gd name="connsiteX501" fmla="*/ 91440 w 497205"/>
                <a:gd name="connsiteY501" fmla="*/ 170498 h 444817"/>
                <a:gd name="connsiteX502" fmla="*/ 92393 w 497205"/>
                <a:gd name="connsiteY502" fmla="*/ 172403 h 444817"/>
                <a:gd name="connsiteX503" fmla="*/ 96202 w 497205"/>
                <a:gd name="connsiteY503" fmla="*/ 175260 h 444817"/>
                <a:gd name="connsiteX504" fmla="*/ 100013 w 497205"/>
                <a:gd name="connsiteY504" fmla="*/ 177165 h 444817"/>
                <a:gd name="connsiteX505" fmla="*/ 105727 w 497205"/>
                <a:gd name="connsiteY505" fmla="*/ 178118 h 444817"/>
                <a:gd name="connsiteX506" fmla="*/ 107632 w 497205"/>
                <a:gd name="connsiteY506" fmla="*/ 178118 h 444817"/>
                <a:gd name="connsiteX507" fmla="*/ 108585 w 497205"/>
                <a:gd name="connsiteY507" fmla="*/ 182880 h 444817"/>
                <a:gd name="connsiteX508" fmla="*/ 113347 w 497205"/>
                <a:gd name="connsiteY508" fmla="*/ 184785 h 444817"/>
                <a:gd name="connsiteX509" fmla="*/ 120015 w 497205"/>
                <a:gd name="connsiteY509" fmla="*/ 186690 h 444817"/>
                <a:gd name="connsiteX510" fmla="*/ 122872 w 497205"/>
                <a:gd name="connsiteY510" fmla="*/ 186690 h 444817"/>
                <a:gd name="connsiteX511" fmla="*/ 122872 w 497205"/>
                <a:gd name="connsiteY511" fmla="*/ 183833 h 444817"/>
                <a:gd name="connsiteX512" fmla="*/ 121920 w 497205"/>
                <a:gd name="connsiteY512" fmla="*/ 183833 h 444817"/>
                <a:gd name="connsiteX513" fmla="*/ 121920 w 497205"/>
                <a:gd name="connsiteY513" fmla="*/ 180975 h 444817"/>
                <a:gd name="connsiteX514" fmla="*/ 125730 w 497205"/>
                <a:gd name="connsiteY514" fmla="*/ 178118 h 444817"/>
                <a:gd name="connsiteX515" fmla="*/ 131445 w 497205"/>
                <a:gd name="connsiteY515" fmla="*/ 177165 h 444817"/>
                <a:gd name="connsiteX516" fmla="*/ 134302 w 497205"/>
                <a:gd name="connsiteY516" fmla="*/ 180023 h 444817"/>
                <a:gd name="connsiteX517" fmla="*/ 138113 w 497205"/>
                <a:gd name="connsiteY517" fmla="*/ 182880 h 444817"/>
                <a:gd name="connsiteX518" fmla="*/ 143827 w 497205"/>
                <a:gd name="connsiteY518" fmla="*/ 185738 h 444817"/>
                <a:gd name="connsiteX519" fmla="*/ 148590 w 497205"/>
                <a:gd name="connsiteY519" fmla="*/ 185738 h 444817"/>
                <a:gd name="connsiteX520" fmla="*/ 152400 w 497205"/>
                <a:gd name="connsiteY520" fmla="*/ 183833 h 444817"/>
                <a:gd name="connsiteX521" fmla="*/ 157163 w 497205"/>
                <a:gd name="connsiteY521" fmla="*/ 182880 h 444817"/>
                <a:gd name="connsiteX522" fmla="*/ 160020 w 497205"/>
                <a:gd name="connsiteY522" fmla="*/ 182880 h 444817"/>
                <a:gd name="connsiteX523" fmla="*/ 162877 w 497205"/>
                <a:gd name="connsiteY523" fmla="*/ 183833 h 444817"/>
                <a:gd name="connsiteX524" fmla="*/ 164783 w 497205"/>
                <a:gd name="connsiteY524" fmla="*/ 184785 h 444817"/>
                <a:gd name="connsiteX525" fmla="*/ 166688 w 497205"/>
                <a:gd name="connsiteY525" fmla="*/ 180975 h 444817"/>
                <a:gd name="connsiteX526" fmla="*/ 167640 w 497205"/>
                <a:gd name="connsiteY526" fmla="*/ 177165 h 444817"/>
                <a:gd name="connsiteX527" fmla="*/ 169545 w 497205"/>
                <a:gd name="connsiteY527" fmla="*/ 172403 h 444817"/>
                <a:gd name="connsiteX528" fmla="*/ 169545 w 497205"/>
                <a:gd name="connsiteY528" fmla="*/ 168593 h 444817"/>
                <a:gd name="connsiteX529" fmla="*/ 169545 w 497205"/>
                <a:gd name="connsiteY529" fmla="*/ 164783 h 444817"/>
                <a:gd name="connsiteX530" fmla="*/ 170497 w 497205"/>
                <a:gd name="connsiteY530" fmla="*/ 163830 h 444817"/>
                <a:gd name="connsiteX531" fmla="*/ 170497 w 497205"/>
                <a:gd name="connsiteY531" fmla="*/ 161925 h 444817"/>
                <a:gd name="connsiteX532" fmla="*/ 163830 w 497205"/>
                <a:gd name="connsiteY532" fmla="*/ 162878 h 444817"/>
                <a:gd name="connsiteX533" fmla="*/ 159068 w 497205"/>
                <a:gd name="connsiteY533" fmla="*/ 162878 h 444817"/>
                <a:gd name="connsiteX534" fmla="*/ 153352 w 497205"/>
                <a:gd name="connsiteY534" fmla="*/ 162878 h 444817"/>
                <a:gd name="connsiteX535" fmla="*/ 146685 w 497205"/>
                <a:gd name="connsiteY535" fmla="*/ 163830 h 444817"/>
                <a:gd name="connsiteX536" fmla="*/ 144780 w 497205"/>
                <a:gd name="connsiteY536" fmla="*/ 160973 h 444817"/>
                <a:gd name="connsiteX537" fmla="*/ 142875 w 497205"/>
                <a:gd name="connsiteY537" fmla="*/ 155258 h 444817"/>
                <a:gd name="connsiteX538" fmla="*/ 140970 w 497205"/>
                <a:gd name="connsiteY538" fmla="*/ 149543 h 444817"/>
                <a:gd name="connsiteX539" fmla="*/ 144780 w 497205"/>
                <a:gd name="connsiteY539" fmla="*/ 149543 h 444817"/>
                <a:gd name="connsiteX540" fmla="*/ 146685 w 497205"/>
                <a:gd name="connsiteY540" fmla="*/ 146685 h 444817"/>
                <a:gd name="connsiteX541" fmla="*/ 147638 w 497205"/>
                <a:gd name="connsiteY541" fmla="*/ 145733 h 444817"/>
                <a:gd name="connsiteX542" fmla="*/ 150495 w 497205"/>
                <a:gd name="connsiteY542" fmla="*/ 145733 h 444817"/>
                <a:gd name="connsiteX543" fmla="*/ 154305 w 497205"/>
                <a:gd name="connsiteY543" fmla="*/ 145733 h 444817"/>
                <a:gd name="connsiteX544" fmla="*/ 156210 w 497205"/>
                <a:gd name="connsiteY544" fmla="*/ 143828 h 444817"/>
                <a:gd name="connsiteX545" fmla="*/ 159068 w 497205"/>
                <a:gd name="connsiteY545" fmla="*/ 141923 h 444817"/>
                <a:gd name="connsiteX546" fmla="*/ 160972 w 497205"/>
                <a:gd name="connsiteY546" fmla="*/ 140018 h 444817"/>
                <a:gd name="connsiteX547" fmla="*/ 165735 w 497205"/>
                <a:gd name="connsiteY547" fmla="*/ 140018 h 444817"/>
                <a:gd name="connsiteX548" fmla="*/ 168593 w 497205"/>
                <a:gd name="connsiteY548" fmla="*/ 141923 h 444817"/>
                <a:gd name="connsiteX549" fmla="*/ 172402 w 497205"/>
                <a:gd name="connsiteY549" fmla="*/ 142875 h 444817"/>
                <a:gd name="connsiteX550" fmla="*/ 175260 w 497205"/>
                <a:gd name="connsiteY550" fmla="*/ 143828 h 444817"/>
                <a:gd name="connsiteX551" fmla="*/ 179070 w 497205"/>
                <a:gd name="connsiteY551" fmla="*/ 143828 h 444817"/>
                <a:gd name="connsiteX552" fmla="*/ 184785 w 497205"/>
                <a:gd name="connsiteY552" fmla="*/ 143828 h 444817"/>
                <a:gd name="connsiteX553" fmla="*/ 184785 w 497205"/>
                <a:gd name="connsiteY553" fmla="*/ 140018 h 444817"/>
                <a:gd name="connsiteX554" fmla="*/ 185738 w 497205"/>
                <a:gd name="connsiteY554" fmla="*/ 138113 h 444817"/>
                <a:gd name="connsiteX555" fmla="*/ 183833 w 497205"/>
                <a:gd name="connsiteY555" fmla="*/ 137160 h 444817"/>
                <a:gd name="connsiteX556" fmla="*/ 180975 w 497205"/>
                <a:gd name="connsiteY556" fmla="*/ 137160 h 444817"/>
                <a:gd name="connsiteX557" fmla="*/ 179070 w 497205"/>
                <a:gd name="connsiteY557" fmla="*/ 134303 h 444817"/>
                <a:gd name="connsiteX558" fmla="*/ 177165 w 497205"/>
                <a:gd name="connsiteY558" fmla="*/ 132398 h 444817"/>
                <a:gd name="connsiteX559" fmla="*/ 173355 w 497205"/>
                <a:gd name="connsiteY559" fmla="*/ 130493 h 444817"/>
                <a:gd name="connsiteX560" fmla="*/ 171450 w 497205"/>
                <a:gd name="connsiteY560" fmla="*/ 128588 h 444817"/>
                <a:gd name="connsiteX561" fmla="*/ 171450 w 497205"/>
                <a:gd name="connsiteY561" fmla="*/ 125730 h 444817"/>
                <a:gd name="connsiteX562" fmla="*/ 174308 w 497205"/>
                <a:gd name="connsiteY562" fmla="*/ 123825 h 444817"/>
                <a:gd name="connsiteX563" fmla="*/ 176213 w 497205"/>
                <a:gd name="connsiteY563" fmla="*/ 121920 h 444817"/>
                <a:gd name="connsiteX564" fmla="*/ 176213 w 497205"/>
                <a:gd name="connsiteY564" fmla="*/ 120968 h 444817"/>
                <a:gd name="connsiteX565" fmla="*/ 174308 w 497205"/>
                <a:gd name="connsiteY565" fmla="*/ 120015 h 444817"/>
                <a:gd name="connsiteX566" fmla="*/ 172402 w 497205"/>
                <a:gd name="connsiteY566" fmla="*/ 120968 h 444817"/>
                <a:gd name="connsiteX567" fmla="*/ 164783 w 497205"/>
                <a:gd name="connsiteY567" fmla="*/ 124778 h 444817"/>
                <a:gd name="connsiteX568" fmla="*/ 166688 w 497205"/>
                <a:gd name="connsiteY568" fmla="*/ 126682 h 444817"/>
                <a:gd name="connsiteX569" fmla="*/ 166688 w 497205"/>
                <a:gd name="connsiteY569" fmla="*/ 129540 h 444817"/>
                <a:gd name="connsiteX570" fmla="*/ 163830 w 497205"/>
                <a:gd name="connsiteY570" fmla="*/ 131445 h 444817"/>
                <a:gd name="connsiteX571" fmla="*/ 160972 w 497205"/>
                <a:gd name="connsiteY571" fmla="*/ 131445 h 444817"/>
                <a:gd name="connsiteX572" fmla="*/ 159068 w 497205"/>
                <a:gd name="connsiteY572" fmla="*/ 128588 h 444817"/>
                <a:gd name="connsiteX573" fmla="*/ 157163 w 497205"/>
                <a:gd name="connsiteY573" fmla="*/ 123825 h 444817"/>
                <a:gd name="connsiteX574" fmla="*/ 156210 w 497205"/>
                <a:gd name="connsiteY574" fmla="*/ 121920 h 444817"/>
                <a:gd name="connsiteX575" fmla="*/ 154305 w 497205"/>
                <a:gd name="connsiteY575" fmla="*/ 122873 h 444817"/>
                <a:gd name="connsiteX576" fmla="*/ 149543 w 497205"/>
                <a:gd name="connsiteY576" fmla="*/ 124778 h 444817"/>
                <a:gd name="connsiteX577" fmla="*/ 147638 w 497205"/>
                <a:gd name="connsiteY577" fmla="*/ 131445 h 444817"/>
                <a:gd name="connsiteX578" fmla="*/ 144780 w 497205"/>
                <a:gd name="connsiteY578" fmla="*/ 136208 h 444817"/>
                <a:gd name="connsiteX579" fmla="*/ 144780 w 497205"/>
                <a:gd name="connsiteY579" fmla="*/ 140970 h 444817"/>
                <a:gd name="connsiteX580" fmla="*/ 146685 w 497205"/>
                <a:gd name="connsiteY580" fmla="*/ 143828 h 444817"/>
                <a:gd name="connsiteX581" fmla="*/ 141922 w 497205"/>
                <a:gd name="connsiteY581" fmla="*/ 147638 h 444817"/>
                <a:gd name="connsiteX582" fmla="*/ 140018 w 497205"/>
                <a:gd name="connsiteY582" fmla="*/ 147638 h 444817"/>
                <a:gd name="connsiteX583" fmla="*/ 137160 w 497205"/>
                <a:gd name="connsiteY583" fmla="*/ 145733 h 444817"/>
                <a:gd name="connsiteX584" fmla="*/ 132397 w 497205"/>
                <a:gd name="connsiteY584" fmla="*/ 146685 h 444817"/>
                <a:gd name="connsiteX585" fmla="*/ 131445 w 497205"/>
                <a:gd name="connsiteY585" fmla="*/ 149543 h 444817"/>
                <a:gd name="connsiteX586" fmla="*/ 131445 w 497205"/>
                <a:gd name="connsiteY586" fmla="*/ 154305 h 444817"/>
                <a:gd name="connsiteX587" fmla="*/ 131445 w 497205"/>
                <a:gd name="connsiteY587" fmla="*/ 156210 h 444817"/>
                <a:gd name="connsiteX588" fmla="*/ 131445 w 497205"/>
                <a:gd name="connsiteY588" fmla="*/ 162878 h 444817"/>
                <a:gd name="connsiteX589" fmla="*/ 126682 w 497205"/>
                <a:gd name="connsiteY589" fmla="*/ 163830 h 444817"/>
                <a:gd name="connsiteX590" fmla="*/ 123825 w 497205"/>
                <a:gd name="connsiteY590" fmla="*/ 160973 h 444817"/>
                <a:gd name="connsiteX591" fmla="*/ 123825 w 497205"/>
                <a:gd name="connsiteY591" fmla="*/ 156210 h 444817"/>
                <a:gd name="connsiteX592" fmla="*/ 126682 w 497205"/>
                <a:gd name="connsiteY592" fmla="*/ 155258 h 444817"/>
                <a:gd name="connsiteX593" fmla="*/ 122872 w 497205"/>
                <a:gd name="connsiteY593" fmla="*/ 154305 h 444817"/>
                <a:gd name="connsiteX594" fmla="*/ 120968 w 497205"/>
                <a:gd name="connsiteY594" fmla="*/ 150495 h 444817"/>
                <a:gd name="connsiteX595" fmla="*/ 119063 w 497205"/>
                <a:gd name="connsiteY595" fmla="*/ 145733 h 444817"/>
                <a:gd name="connsiteX596" fmla="*/ 116205 w 497205"/>
                <a:gd name="connsiteY596" fmla="*/ 140970 h 444817"/>
                <a:gd name="connsiteX597" fmla="*/ 112395 w 497205"/>
                <a:gd name="connsiteY597" fmla="*/ 139065 h 444817"/>
                <a:gd name="connsiteX598" fmla="*/ 106680 w 497205"/>
                <a:gd name="connsiteY598" fmla="*/ 133350 h 444817"/>
                <a:gd name="connsiteX599" fmla="*/ 102870 w 497205"/>
                <a:gd name="connsiteY599" fmla="*/ 132398 h 444817"/>
                <a:gd name="connsiteX600" fmla="*/ 100965 w 497205"/>
                <a:gd name="connsiteY600" fmla="*/ 130493 h 444817"/>
                <a:gd name="connsiteX601" fmla="*/ 100013 w 497205"/>
                <a:gd name="connsiteY601" fmla="*/ 128588 h 444817"/>
                <a:gd name="connsiteX602" fmla="*/ 98107 w 497205"/>
                <a:gd name="connsiteY602" fmla="*/ 128588 h 444817"/>
                <a:gd name="connsiteX603" fmla="*/ 97155 w 497205"/>
                <a:gd name="connsiteY603" fmla="*/ 131445 h 444817"/>
                <a:gd name="connsiteX604" fmla="*/ 99060 w 497205"/>
                <a:gd name="connsiteY604" fmla="*/ 133350 h 444817"/>
                <a:gd name="connsiteX605" fmla="*/ 100965 w 497205"/>
                <a:gd name="connsiteY605" fmla="*/ 136208 h 444817"/>
                <a:gd name="connsiteX606" fmla="*/ 101918 w 497205"/>
                <a:gd name="connsiteY606" fmla="*/ 138113 h 444817"/>
                <a:gd name="connsiteX607" fmla="*/ 105727 w 497205"/>
                <a:gd name="connsiteY607" fmla="*/ 140970 h 444817"/>
                <a:gd name="connsiteX608" fmla="*/ 108585 w 497205"/>
                <a:gd name="connsiteY608" fmla="*/ 141923 h 444817"/>
                <a:gd name="connsiteX609" fmla="*/ 108585 w 497205"/>
                <a:gd name="connsiteY609" fmla="*/ 143828 h 444817"/>
                <a:gd name="connsiteX610" fmla="*/ 113347 w 497205"/>
                <a:gd name="connsiteY610" fmla="*/ 146685 h 444817"/>
                <a:gd name="connsiteX611" fmla="*/ 115252 w 497205"/>
                <a:gd name="connsiteY611" fmla="*/ 149543 h 444817"/>
                <a:gd name="connsiteX612" fmla="*/ 116205 w 497205"/>
                <a:gd name="connsiteY612" fmla="*/ 152400 h 444817"/>
                <a:gd name="connsiteX613" fmla="*/ 115252 w 497205"/>
                <a:gd name="connsiteY613" fmla="*/ 152400 h 444817"/>
                <a:gd name="connsiteX614" fmla="*/ 113347 w 497205"/>
                <a:gd name="connsiteY614" fmla="*/ 150495 h 444817"/>
                <a:gd name="connsiteX615" fmla="*/ 112395 w 497205"/>
                <a:gd name="connsiteY615" fmla="*/ 150495 h 444817"/>
                <a:gd name="connsiteX616" fmla="*/ 112395 w 497205"/>
                <a:gd name="connsiteY616" fmla="*/ 156210 h 444817"/>
                <a:gd name="connsiteX617" fmla="*/ 111443 w 497205"/>
                <a:gd name="connsiteY617" fmla="*/ 158115 h 444817"/>
                <a:gd name="connsiteX618" fmla="*/ 109538 w 497205"/>
                <a:gd name="connsiteY618" fmla="*/ 158115 h 444817"/>
                <a:gd name="connsiteX619" fmla="*/ 109538 w 497205"/>
                <a:gd name="connsiteY619" fmla="*/ 153353 h 444817"/>
                <a:gd name="connsiteX620" fmla="*/ 106680 w 497205"/>
                <a:gd name="connsiteY620" fmla="*/ 150495 h 444817"/>
                <a:gd name="connsiteX621" fmla="*/ 103822 w 497205"/>
                <a:gd name="connsiteY621" fmla="*/ 146685 h 444817"/>
                <a:gd name="connsiteX622" fmla="*/ 100965 w 497205"/>
                <a:gd name="connsiteY622" fmla="*/ 144780 h 444817"/>
                <a:gd name="connsiteX623" fmla="*/ 97155 w 497205"/>
                <a:gd name="connsiteY623" fmla="*/ 144780 h 444817"/>
                <a:gd name="connsiteX624" fmla="*/ 94297 w 497205"/>
                <a:gd name="connsiteY624" fmla="*/ 142875 h 444817"/>
                <a:gd name="connsiteX625" fmla="*/ 91440 w 497205"/>
                <a:gd name="connsiteY625" fmla="*/ 137160 h 444817"/>
                <a:gd name="connsiteX626" fmla="*/ 89535 w 497205"/>
                <a:gd name="connsiteY626" fmla="*/ 134303 h 444817"/>
                <a:gd name="connsiteX627" fmla="*/ 87630 w 497205"/>
                <a:gd name="connsiteY627" fmla="*/ 132398 h 444817"/>
                <a:gd name="connsiteX628" fmla="*/ 84772 w 497205"/>
                <a:gd name="connsiteY628" fmla="*/ 133350 h 444817"/>
                <a:gd name="connsiteX629" fmla="*/ 80963 w 497205"/>
                <a:gd name="connsiteY629" fmla="*/ 138113 h 444817"/>
                <a:gd name="connsiteX630" fmla="*/ 77152 w 497205"/>
                <a:gd name="connsiteY630" fmla="*/ 139065 h 444817"/>
                <a:gd name="connsiteX631" fmla="*/ 75247 w 497205"/>
                <a:gd name="connsiteY631" fmla="*/ 137160 h 444817"/>
                <a:gd name="connsiteX632" fmla="*/ 71438 w 497205"/>
                <a:gd name="connsiteY632" fmla="*/ 139065 h 444817"/>
                <a:gd name="connsiteX633" fmla="*/ 70485 w 497205"/>
                <a:gd name="connsiteY633" fmla="*/ 141923 h 444817"/>
                <a:gd name="connsiteX634" fmla="*/ 60960 w 497205"/>
                <a:gd name="connsiteY634" fmla="*/ 149543 h 444817"/>
                <a:gd name="connsiteX635" fmla="*/ 57150 w 497205"/>
                <a:gd name="connsiteY635" fmla="*/ 158115 h 444817"/>
                <a:gd name="connsiteX636" fmla="*/ 53340 w 497205"/>
                <a:gd name="connsiteY636" fmla="*/ 164783 h 444817"/>
                <a:gd name="connsiteX637" fmla="*/ 50482 w 497205"/>
                <a:gd name="connsiteY637" fmla="*/ 164783 h 444817"/>
                <a:gd name="connsiteX638" fmla="*/ 47625 w 497205"/>
                <a:gd name="connsiteY638" fmla="*/ 162878 h 444817"/>
                <a:gd name="connsiteX639" fmla="*/ 44768 w 497205"/>
                <a:gd name="connsiteY639" fmla="*/ 163830 h 444817"/>
                <a:gd name="connsiteX640" fmla="*/ 40957 w 497205"/>
                <a:gd name="connsiteY640" fmla="*/ 164783 h 444817"/>
                <a:gd name="connsiteX641" fmla="*/ 37147 w 497205"/>
                <a:gd name="connsiteY641" fmla="*/ 162878 h 444817"/>
                <a:gd name="connsiteX642" fmla="*/ 34290 w 497205"/>
                <a:gd name="connsiteY642" fmla="*/ 161925 h 44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</a:cxnLst>
              <a:rect l="l" t="t" r="r" b="b"/>
              <a:pathLst>
                <a:path w="497205" h="444817">
                  <a:moveTo>
                    <a:pt x="32385" y="160020"/>
                  </a:moveTo>
                  <a:lnTo>
                    <a:pt x="32385" y="140970"/>
                  </a:lnTo>
                  <a:lnTo>
                    <a:pt x="32385" y="136208"/>
                  </a:lnTo>
                  <a:lnTo>
                    <a:pt x="37147" y="135255"/>
                  </a:lnTo>
                  <a:lnTo>
                    <a:pt x="42863" y="135255"/>
                  </a:lnTo>
                  <a:lnTo>
                    <a:pt x="49530" y="137160"/>
                  </a:lnTo>
                  <a:lnTo>
                    <a:pt x="52388" y="137160"/>
                  </a:lnTo>
                  <a:lnTo>
                    <a:pt x="56197" y="135255"/>
                  </a:lnTo>
                  <a:lnTo>
                    <a:pt x="55245" y="132398"/>
                  </a:lnTo>
                  <a:lnTo>
                    <a:pt x="57150" y="129540"/>
                  </a:lnTo>
                  <a:lnTo>
                    <a:pt x="56197" y="123825"/>
                  </a:lnTo>
                  <a:lnTo>
                    <a:pt x="52388" y="120968"/>
                  </a:lnTo>
                  <a:lnTo>
                    <a:pt x="48577" y="119063"/>
                  </a:lnTo>
                  <a:lnTo>
                    <a:pt x="47625" y="118110"/>
                  </a:lnTo>
                  <a:lnTo>
                    <a:pt x="47625" y="115253"/>
                  </a:lnTo>
                  <a:lnTo>
                    <a:pt x="53340" y="115253"/>
                  </a:lnTo>
                  <a:lnTo>
                    <a:pt x="54293" y="112395"/>
                  </a:lnTo>
                  <a:lnTo>
                    <a:pt x="53340" y="111443"/>
                  </a:lnTo>
                  <a:lnTo>
                    <a:pt x="56197" y="110490"/>
                  </a:lnTo>
                  <a:lnTo>
                    <a:pt x="57150" y="113348"/>
                  </a:lnTo>
                  <a:lnTo>
                    <a:pt x="60960" y="113348"/>
                  </a:lnTo>
                  <a:lnTo>
                    <a:pt x="67627" y="105728"/>
                  </a:lnTo>
                  <a:lnTo>
                    <a:pt x="70485" y="104775"/>
                  </a:lnTo>
                  <a:lnTo>
                    <a:pt x="72390" y="101918"/>
                  </a:lnTo>
                  <a:lnTo>
                    <a:pt x="74295" y="100965"/>
                  </a:lnTo>
                  <a:lnTo>
                    <a:pt x="75247" y="103823"/>
                  </a:lnTo>
                  <a:lnTo>
                    <a:pt x="76200" y="102870"/>
                  </a:lnTo>
                  <a:lnTo>
                    <a:pt x="76200" y="97155"/>
                  </a:lnTo>
                  <a:lnTo>
                    <a:pt x="80010" y="96203"/>
                  </a:lnTo>
                  <a:lnTo>
                    <a:pt x="84772" y="95250"/>
                  </a:lnTo>
                  <a:lnTo>
                    <a:pt x="85725" y="91440"/>
                  </a:lnTo>
                  <a:lnTo>
                    <a:pt x="85725" y="84773"/>
                  </a:lnTo>
                  <a:lnTo>
                    <a:pt x="84772" y="81915"/>
                  </a:lnTo>
                  <a:lnTo>
                    <a:pt x="87630" y="80010"/>
                  </a:lnTo>
                  <a:lnTo>
                    <a:pt x="90488" y="79057"/>
                  </a:lnTo>
                  <a:lnTo>
                    <a:pt x="91440" y="81915"/>
                  </a:lnTo>
                  <a:lnTo>
                    <a:pt x="91440" y="86678"/>
                  </a:lnTo>
                  <a:lnTo>
                    <a:pt x="89535" y="88582"/>
                  </a:lnTo>
                  <a:lnTo>
                    <a:pt x="89535" y="91440"/>
                  </a:lnTo>
                  <a:lnTo>
                    <a:pt x="92393" y="92393"/>
                  </a:lnTo>
                  <a:lnTo>
                    <a:pt x="97155" y="93345"/>
                  </a:lnTo>
                  <a:lnTo>
                    <a:pt x="100013" y="93345"/>
                  </a:lnTo>
                  <a:lnTo>
                    <a:pt x="104775" y="91440"/>
                  </a:lnTo>
                  <a:lnTo>
                    <a:pt x="107632" y="91440"/>
                  </a:lnTo>
                  <a:lnTo>
                    <a:pt x="112395" y="91440"/>
                  </a:lnTo>
                  <a:lnTo>
                    <a:pt x="115252" y="92393"/>
                  </a:lnTo>
                  <a:lnTo>
                    <a:pt x="117157" y="91440"/>
                  </a:lnTo>
                  <a:lnTo>
                    <a:pt x="118110" y="86678"/>
                  </a:lnTo>
                  <a:lnTo>
                    <a:pt x="120015" y="81915"/>
                  </a:lnTo>
                  <a:lnTo>
                    <a:pt x="121920" y="80010"/>
                  </a:lnTo>
                  <a:lnTo>
                    <a:pt x="123825" y="80010"/>
                  </a:lnTo>
                  <a:lnTo>
                    <a:pt x="124777" y="80963"/>
                  </a:lnTo>
                  <a:lnTo>
                    <a:pt x="127635" y="80010"/>
                  </a:lnTo>
                  <a:lnTo>
                    <a:pt x="127635" y="77153"/>
                  </a:lnTo>
                  <a:lnTo>
                    <a:pt x="126682" y="73343"/>
                  </a:lnTo>
                  <a:lnTo>
                    <a:pt x="133350" y="72390"/>
                  </a:lnTo>
                  <a:lnTo>
                    <a:pt x="136208" y="72390"/>
                  </a:lnTo>
                  <a:lnTo>
                    <a:pt x="140018" y="70485"/>
                  </a:lnTo>
                  <a:lnTo>
                    <a:pt x="138113" y="68580"/>
                  </a:lnTo>
                  <a:lnTo>
                    <a:pt x="137160" y="67628"/>
                  </a:lnTo>
                  <a:lnTo>
                    <a:pt x="134302" y="68580"/>
                  </a:lnTo>
                  <a:lnTo>
                    <a:pt x="131445" y="69533"/>
                  </a:lnTo>
                  <a:lnTo>
                    <a:pt x="127635" y="70485"/>
                  </a:lnTo>
                  <a:lnTo>
                    <a:pt x="123825" y="70485"/>
                  </a:lnTo>
                  <a:lnTo>
                    <a:pt x="119063" y="60960"/>
                  </a:lnTo>
                  <a:lnTo>
                    <a:pt x="119063" y="58103"/>
                  </a:lnTo>
                  <a:lnTo>
                    <a:pt x="122872" y="54293"/>
                  </a:lnTo>
                  <a:lnTo>
                    <a:pt x="125730" y="51435"/>
                  </a:lnTo>
                  <a:lnTo>
                    <a:pt x="125730" y="46673"/>
                  </a:lnTo>
                  <a:lnTo>
                    <a:pt x="124777" y="46673"/>
                  </a:lnTo>
                  <a:lnTo>
                    <a:pt x="121920" y="45720"/>
                  </a:lnTo>
                  <a:lnTo>
                    <a:pt x="119063" y="48578"/>
                  </a:lnTo>
                  <a:lnTo>
                    <a:pt x="115252" y="52388"/>
                  </a:lnTo>
                  <a:lnTo>
                    <a:pt x="115252" y="55245"/>
                  </a:lnTo>
                  <a:lnTo>
                    <a:pt x="111443" y="57150"/>
                  </a:lnTo>
                  <a:lnTo>
                    <a:pt x="108585" y="63818"/>
                  </a:lnTo>
                  <a:lnTo>
                    <a:pt x="110490" y="68580"/>
                  </a:lnTo>
                  <a:lnTo>
                    <a:pt x="110490" y="71438"/>
                  </a:lnTo>
                  <a:lnTo>
                    <a:pt x="107632" y="76200"/>
                  </a:lnTo>
                  <a:lnTo>
                    <a:pt x="105727" y="80963"/>
                  </a:lnTo>
                  <a:lnTo>
                    <a:pt x="105727" y="83820"/>
                  </a:lnTo>
                  <a:lnTo>
                    <a:pt x="103822" y="85725"/>
                  </a:lnTo>
                  <a:lnTo>
                    <a:pt x="101918" y="86678"/>
                  </a:lnTo>
                  <a:lnTo>
                    <a:pt x="100965" y="88582"/>
                  </a:lnTo>
                  <a:lnTo>
                    <a:pt x="97155" y="88582"/>
                  </a:lnTo>
                  <a:lnTo>
                    <a:pt x="97155" y="84773"/>
                  </a:lnTo>
                  <a:lnTo>
                    <a:pt x="95250" y="81915"/>
                  </a:lnTo>
                  <a:lnTo>
                    <a:pt x="93345" y="80010"/>
                  </a:lnTo>
                  <a:lnTo>
                    <a:pt x="93345" y="75248"/>
                  </a:lnTo>
                  <a:lnTo>
                    <a:pt x="92393" y="76200"/>
                  </a:lnTo>
                  <a:lnTo>
                    <a:pt x="92393" y="73343"/>
                  </a:lnTo>
                  <a:lnTo>
                    <a:pt x="88582" y="75248"/>
                  </a:lnTo>
                  <a:lnTo>
                    <a:pt x="87630" y="75248"/>
                  </a:lnTo>
                  <a:lnTo>
                    <a:pt x="85725" y="77153"/>
                  </a:lnTo>
                  <a:lnTo>
                    <a:pt x="81915" y="77153"/>
                  </a:lnTo>
                  <a:lnTo>
                    <a:pt x="80010" y="74295"/>
                  </a:lnTo>
                  <a:lnTo>
                    <a:pt x="80010" y="64770"/>
                  </a:lnTo>
                  <a:lnTo>
                    <a:pt x="84772" y="60960"/>
                  </a:lnTo>
                  <a:lnTo>
                    <a:pt x="88582" y="57150"/>
                  </a:lnTo>
                  <a:lnTo>
                    <a:pt x="97155" y="48578"/>
                  </a:lnTo>
                  <a:lnTo>
                    <a:pt x="103822" y="42863"/>
                  </a:lnTo>
                  <a:lnTo>
                    <a:pt x="112395" y="34290"/>
                  </a:lnTo>
                  <a:lnTo>
                    <a:pt x="125730" y="25718"/>
                  </a:lnTo>
                  <a:lnTo>
                    <a:pt x="132397" y="25718"/>
                  </a:lnTo>
                  <a:lnTo>
                    <a:pt x="138113" y="27623"/>
                  </a:lnTo>
                  <a:lnTo>
                    <a:pt x="140970" y="29528"/>
                  </a:lnTo>
                  <a:lnTo>
                    <a:pt x="150495" y="33338"/>
                  </a:lnTo>
                  <a:lnTo>
                    <a:pt x="159068" y="39053"/>
                  </a:lnTo>
                  <a:lnTo>
                    <a:pt x="160972" y="39053"/>
                  </a:lnTo>
                  <a:lnTo>
                    <a:pt x="162877" y="40958"/>
                  </a:lnTo>
                  <a:lnTo>
                    <a:pt x="163830" y="41910"/>
                  </a:lnTo>
                  <a:lnTo>
                    <a:pt x="163830" y="44768"/>
                  </a:lnTo>
                  <a:lnTo>
                    <a:pt x="162877" y="46673"/>
                  </a:lnTo>
                  <a:lnTo>
                    <a:pt x="159068" y="46673"/>
                  </a:lnTo>
                  <a:lnTo>
                    <a:pt x="154305" y="44768"/>
                  </a:lnTo>
                  <a:lnTo>
                    <a:pt x="150495" y="43815"/>
                  </a:lnTo>
                  <a:lnTo>
                    <a:pt x="146685" y="41910"/>
                  </a:lnTo>
                  <a:lnTo>
                    <a:pt x="146685" y="45720"/>
                  </a:lnTo>
                  <a:lnTo>
                    <a:pt x="148590" y="47625"/>
                  </a:lnTo>
                  <a:lnTo>
                    <a:pt x="152400" y="49530"/>
                  </a:lnTo>
                  <a:lnTo>
                    <a:pt x="157163" y="54293"/>
                  </a:lnTo>
                  <a:lnTo>
                    <a:pt x="160020" y="54293"/>
                  </a:lnTo>
                  <a:lnTo>
                    <a:pt x="166688" y="48578"/>
                  </a:lnTo>
                  <a:lnTo>
                    <a:pt x="168593" y="47625"/>
                  </a:lnTo>
                  <a:lnTo>
                    <a:pt x="171450" y="44768"/>
                  </a:lnTo>
                  <a:lnTo>
                    <a:pt x="172402" y="46673"/>
                  </a:lnTo>
                  <a:lnTo>
                    <a:pt x="175260" y="46673"/>
                  </a:lnTo>
                  <a:lnTo>
                    <a:pt x="175260" y="42863"/>
                  </a:lnTo>
                  <a:lnTo>
                    <a:pt x="173355" y="41910"/>
                  </a:lnTo>
                  <a:lnTo>
                    <a:pt x="173355" y="39053"/>
                  </a:lnTo>
                  <a:lnTo>
                    <a:pt x="171450" y="38100"/>
                  </a:lnTo>
                  <a:lnTo>
                    <a:pt x="171450" y="34290"/>
                  </a:lnTo>
                  <a:lnTo>
                    <a:pt x="173355" y="34290"/>
                  </a:lnTo>
                  <a:lnTo>
                    <a:pt x="177165" y="37148"/>
                  </a:lnTo>
                  <a:lnTo>
                    <a:pt x="177165" y="40958"/>
                  </a:lnTo>
                  <a:lnTo>
                    <a:pt x="179070" y="40958"/>
                  </a:lnTo>
                  <a:lnTo>
                    <a:pt x="184785" y="39053"/>
                  </a:lnTo>
                  <a:lnTo>
                    <a:pt x="192405" y="36195"/>
                  </a:lnTo>
                  <a:lnTo>
                    <a:pt x="198120" y="34290"/>
                  </a:lnTo>
                  <a:lnTo>
                    <a:pt x="206693" y="32385"/>
                  </a:lnTo>
                  <a:lnTo>
                    <a:pt x="216218" y="31433"/>
                  </a:lnTo>
                  <a:lnTo>
                    <a:pt x="220980" y="34290"/>
                  </a:lnTo>
                  <a:lnTo>
                    <a:pt x="224790" y="34290"/>
                  </a:lnTo>
                  <a:lnTo>
                    <a:pt x="224790" y="31433"/>
                  </a:lnTo>
                  <a:lnTo>
                    <a:pt x="221933" y="27623"/>
                  </a:lnTo>
                  <a:lnTo>
                    <a:pt x="219075" y="26670"/>
                  </a:lnTo>
                  <a:lnTo>
                    <a:pt x="219075" y="23813"/>
                  </a:lnTo>
                  <a:lnTo>
                    <a:pt x="224790" y="18098"/>
                  </a:lnTo>
                  <a:lnTo>
                    <a:pt x="225743" y="17145"/>
                  </a:lnTo>
                  <a:lnTo>
                    <a:pt x="229552" y="16193"/>
                  </a:lnTo>
                  <a:lnTo>
                    <a:pt x="230505" y="18098"/>
                  </a:lnTo>
                  <a:lnTo>
                    <a:pt x="230505" y="21908"/>
                  </a:lnTo>
                  <a:lnTo>
                    <a:pt x="239077" y="33338"/>
                  </a:lnTo>
                  <a:lnTo>
                    <a:pt x="239077" y="38100"/>
                  </a:lnTo>
                  <a:lnTo>
                    <a:pt x="236220" y="39053"/>
                  </a:lnTo>
                  <a:lnTo>
                    <a:pt x="234315" y="41910"/>
                  </a:lnTo>
                  <a:lnTo>
                    <a:pt x="239077" y="41910"/>
                  </a:lnTo>
                  <a:lnTo>
                    <a:pt x="241935" y="39053"/>
                  </a:lnTo>
                  <a:lnTo>
                    <a:pt x="242888" y="33338"/>
                  </a:lnTo>
                  <a:lnTo>
                    <a:pt x="246697" y="33338"/>
                  </a:lnTo>
                  <a:lnTo>
                    <a:pt x="248602" y="33338"/>
                  </a:lnTo>
                  <a:lnTo>
                    <a:pt x="248602" y="31433"/>
                  </a:lnTo>
                  <a:lnTo>
                    <a:pt x="241935" y="29528"/>
                  </a:lnTo>
                  <a:lnTo>
                    <a:pt x="237172" y="25718"/>
                  </a:lnTo>
                  <a:lnTo>
                    <a:pt x="235268" y="20955"/>
                  </a:lnTo>
                  <a:lnTo>
                    <a:pt x="245745" y="14288"/>
                  </a:lnTo>
                  <a:lnTo>
                    <a:pt x="250508" y="10478"/>
                  </a:lnTo>
                  <a:lnTo>
                    <a:pt x="256222" y="5715"/>
                  </a:lnTo>
                  <a:lnTo>
                    <a:pt x="271462" y="953"/>
                  </a:lnTo>
                  <a:lnTo>
                    <a:pt x="277178" y="0"/>
                  </a:lnTo>
                  <a:lnTo>
                    <a:pt x="300990" y="0"/>
                  </a:lnTo>
                  <a:lnTo>
                    <a:pt x="304800" y="953"/>
                  </a:lnTo>
                  <a:lnTo>
                    <a:pt x="303847" y="4763"/>
                  </a:lnTo>
                  <a:lnTo>
                    <a:pt x="299085" y="11430"/>
                  </a:lnTo>
                  <a:lnTo>
                    <a:pt x="299085" y="11430"/>
                  </a:lnTo>
                  <a:lnTo>
                    <a:pt x="300990" y="12383"/>
                  </a:lnTo>
                  <a:lnTo>
                    <a:pt x="309562" y="7620"/>
                  </a:lnTo>
                  <a:lnTo>
                    <a:pt x="320040" y="7620"/>
                  </a:lnTo>
                  <a:lnTo>
                    <a:pt x="354330" y="13335"/>
                  </a:lnTo>
                  <a:lnTo>
                    <a:pt x="358140" y="14288"/>
                  </a:lnTo>
                  <a:lnTo>
                    <a:pt x="366712" y="13335"/>
                  </a:lnTo>
                  <a:lnTo>
                    <a:pt x="367665" y="9525"/>
                  </a:lnTo>
                  <a:lnTo>
                    <a:pt x="369570" y="6668"/>
                  </a:lnTo>
                  <a:lnTo>
                    <a:pt x="375285" y="7620"/>
                  </a:lnTo>
                  <a:lnTo>
                    <a:pt x="389572" y="10478"/>
                  </a:lnTo>
                  <a:lnTo>
                    <a:pt x="402908" y="10478"/>
                  </a:lnTo>
                  <a:lnTo>
                    <a:pt x="412433" y="9525"/>
                  </a:lnTo>
                  <a:lnTo>
                    <a:pt x="422910" y="13335"/>
                  </a:lnTo>
                  <a:lnTo>
                    <a:pt x="431483" y="13335"/>
                  </a:lnTo>
                  <a:lnTo>
                    <a:pt x="441960" y="8573"/>
                  </a:lnTo>
                  <a:lnTo>
                    <a:pt x="450533" y="8573"/>
                  </a:lnTo>
                  <a:lnTo>
                    <a:pt x="471487" y="10478"/>
                  </a:lnTo>
                  <a:lnTo>
                    <a:pt x="484822" y="15240"/>
                  </a:lnTo>
                  <a:lnTo>
                    <a:pt x="493395" y="17145"/>
                  </a:lnTo>
                  <a:lnTo>
                    <a:pt x="497205" y="20003"/>
                  </a:lnTo>
                  <a:lnTo>
                    <a:pt x="497205" y="21908"/>
                  </a:lnTo>
                  <a:lnTo>
                    <a:pt x="493395" y="21908"/>
                  </a:lnTo>
                  <a:lnTo>
                    <a:pt x="489585" y="20955"/>
                  </a:lnTo>
                  <a:lnTo>
                    <a:pt x="485775" y="20955"/>
                  </a:lnTo>
                  <a:lnTo>
                    <a:pt x="483870" y="20955"/>
                  </a:lnTo>
                  <a:lnTo>
                    <a:pt x="481965" y="20003"/>
                  </a:lnTo>
                  <a:lnTo>
                    <a:pt x="480060" y="20955"/>
                  </a:lnTo>
                  <a:lnTo>
                    <a:pt x="480060" y="25718"/>
                  </a:lnTo>
                  <a:lnTo>
                    <a:pt x="485775" y="27623"/>
                  </a:lnTo>
                  <a:lnTo>
                    <a:pt x="490537" y="29528"/>
                  </a:lnTo>
                  <a:lnTo>
                    <a:pt x="493395" y="30480"/>
                  </a:lnTo>
                  <a:lnTo>
                    <a:pt x="492443" y="33338"/>
                  </a:lnTo>
                  <a:lnTo>
                    <a:pt x="486728" y="41910"/>
                  </a:lnTo>
                  <a:lnTo>
                    <a:pt x="486728" y="43815"/>
                  </a:lnTo>
                  <a:lnTo>
                    <a:pt x="479108" y="44768"/>
                  </a:lnTo>
                  <a:lnTo>
                    <a:pt x="474345" y="46673"/>
                  </a:lnTo>
                  <a:lnTo>
                    <a:pt x="477203" y="50483"/>
                  </a:lnTo>
                  <a:lnTo>
                    <a:pt x="483870" y="57150"/>
                  </a:lnTo>
                  <a:lnTo>
                    <a:pt x="489585" y="66675"/>
                  </a:lnTo>
                  <a:lnTo>
                    <a:pt x="492443" y="76200"/>
                  </a:lnTo>
                  <a:lnTo>
                    <a:pt x="492443" y="81915"/>
                  </a:lnTo>
                  <a:lnTo>
                    <a:pt x="490537" y="81915"/>
                  </a:lnTo>
                  <a:lnTo>
                    <a:pt x="486728" y="77153"/>
                  </a:lnTo>
                  <a:lnTo>
                    <a:pt x="481012" y="71438"/>
                  </a:lnTo>
                  <a:lnTo>
                    <a:pt x="472440" y="63818"/>
                  </a:lnTo>
                  <a:lnTo>
                    <a:pt x="466725" y="60008"/>
                  </a:lnTo>
                  <a:lnTo>
                    <a:pt x="466725" y="55245"/>
                  </a:lnTo>
                  <a:lnTo>
                    <a:pt x="469583" y="51435"/>
                  </a:lnTo>
                  <a:lnTo>
                    <a:pt x="468630" y="45720"/>
                  </a:lnTo>
                  <a:lnTo>
                    <a:pt x="465772" y="40958"/>
                  </a:lnTo>
                  <a:lnTo>
                    <a:pt x="463868" y="40005"/>
                  </a:lnTo>
                  <a:lnTo>
                    <a:pt x="461962" y="42863"/>
                  </a:lnTo>
                  <a:lnTo>
                    <a:pt x="461010" y="42863"/>
                  </a:lnTo>
                  <a:lnTo>
                    <a:pt x="459105" y="41910"/>
                  </a:lnTo>
                  <a:lnTo>
                    <a:pt x="455295" y="41910"/>
                  </a:lnTo>
                  <a:lnTo>
                    <a:pt x="455295" y="46673"/>
                  </a:lnTo>
                  <a:lnTo>
                    <a:pt x="457200" y="51435"/>
                  </a:lnTo>
                  <a:lnTo>
                    <a:pt x="453390" y="54293"/>
                  </a:lnTo>
                  <a:lnTo>
                    <a:pt x="446722" y="55245"/>
                  </a:lnTo>
                  <a:lnTo>
                    <a:pt x="441008" y="56198"/>
                  </a:lnTo>
                  <a:lnTo>
                    <a:pt x="434340" y="56198"/>
                  </a:lnTo>
                  <a:lnTo>
                    <a:pt x="428625" y="58103"/>
                  </a:lnTo>
                  <a:lnTo>
                    <a:pt x="427672" y="60008"/>
                  </a:lnTo>
                  <a:lnTo>
                    <a:pt x="427672" y="72390"/>
                  </a:lnTo>
                  <a:lnTo>
                    <a:pt x="432435" y="77153"/>
                  </a:lnTo>
                  <a:lnTo>
                    <a:pt x="434340" y="77153"/>
                  </a:lnTo>
                  <a:lnTo>
                    <a:pt x="435293" y="76200"/>
                  </a:lnTo>
                  <a:lnTo>
                    <a:pt x="439103" y="76200"/>
                  </a:lnTo>
                  <a:lnTo>
                    <a:pt x="442912" y="79057"/>
                  </a:lnTo>
                  <a:lnTo>
                    <a:pt x="449580" y="86678"/>
                  </a:lnTo>
                  <a:lnTo>
                    <a:pt x="453390" y="94298"/>
                  </a:lnTo>
                  <a:lnTo>
                    <a:pt x="456247" y="101918"/>
                  </a:lnTo>
                  <a:lnTo>
                    <a:pt x="458153" y="111443"/>
                  </a:lnTo>
                  <a:lnTo>
                    <a:pt x="459105" y="120968"/>
                  </a:lnTo>
                  <a:lnTo>
                    <a:pt x="449580" y="123825"/>
                  </a:lnTo>
                  <a:lnTo>
                    <a:pt x="448628" y="131445"/>
                  </a:lnTo>
                  <a:lnTo>
                    <a:pt x="447675" y="138113"/>
                  </a:lnTo>
                  <a:lnTo>
                    <a:pt x="451485" y="143828"/>
                  </a:lnTo>
                  <a:lnTo>
                    <a:pt x="456247" y="151448"/>
                  </a:lnTo>
                  <a:lnTo>
                    <a:pt x="457200" y="153353"/>
                  </a:lnTo>
                  <a:lnTo>
                    <a:pt x="457200" y="156210"/>
                  </a:lnTo>
                  <a:lnTo>
                    <a:pt x="454343" y="158115"/>
                  </a:lnTo>
                  <a:lnTo>
                    <a:pt x="451485" y="160020"/>
                  </a:lnTo>
                  <a:lnTo>
                    <a:pt x="450533" y="157163"/>
                  </a:lnTo>
                  <a:lnTo>
                    <a:pt x="447675" y="151448"/>
                  </a:lnTo>
                  <a:lnTo>
                    <a:pt x="444818" y="146685"/>
                  </a:lnTo>
                  <a:lnTo>
                    <a:pt x="441008" y="143828"/>
                  </a:lnTo>
                  <a:lnTo>
                    <a:pt x="435293" y="138113"/>
                  </a:lnTo>
                  <a:lnTo>
                    <a:pt x="434340" y="138113"/>
                  </a:lnTo>
                  <a:lnTo>
                    <a:pt x="430530" y="141923"/>
                  </a:lnTo>
                  <a:lnTo>
                    <a:pt x="427672" y="140970"/>
                  </a:lnTo>
                  <a:lnTo>
                    <a:pt x="427672" y="137160"/>
                  </a:lnTo>
                  <a:lnTo>
                    <a:pt x="428625" y="135255"/>
                  </a:lnTo>
                  <a:lnTo>
                    <a:pt x="424815" y="135255"/>
                  </a:lnTo>
                  <a:lnTo>
                    <a:pt x="419100" y="140970"/>
                  </a:lnTo>
                  <a:lnTo>
                    <a:pt x="419100" y="143828"/>
                  </a:lnTo>
                  <a:lnTo>
                    <a:pt x="422910" y="147638"/>
                  </a:lnTo>
                  <a:lnTo>
                    <a:pt x="430530" y="147638"/>
                  </a:lnTo>
                  <a:lnTo>
                    <a:pt x="434340" y="149543"/>
                  </a:lnTo>
                  <a:lnTo>
                    <a:pt x="433387" y="151448"/>
                  </a:lnTo>
                  <a:lnTo>
                    <a:pt x="431483" y="152400"/>
                  </a:lnTo>
                  <a:lnTo>
                    <a:pt x="431483" y="157163"/>
                  </a:lnTo>
                  <a:lnTo>
                    <a:pt x="439103" y="168593"/>
                  </a:lnTo>
                  <a:lnTo>
                    <a:pt x="442912" y="176213"/>
                  </a:lnTo>
                  <a:lnTo>
                    <a:pt x="440055" y="177165"/>
                  </a:lnTo>
                  <a:lnTo>
                    <a:pt x="442912" y="179070"/>
                  </a:lnTo>
                  <a:lnTo>
                    <a:pt x="444818" y="181928"/>
                  </a:lnTo>
                  <a:lnTo>
                    <a:pt x="444818" y="195263"/>
                  </a:lnTo>
                  <a:lnTo>
                    <a:pt x="441008" y="200025"/>
                  </a:lnTo>
                  <a:lnTo>
                    <a:pt x="431483" y="209550"/>
                  </a:lnTo>
                  <a:lnTo>
                    <a:pt x="422910" y="215265"/>
                  </a:lnTo>
                  <a:lnTo>
                    <a:pt x="420053" y="220028"/>
                  </a:lnTo>
                  <a:lnTo>
                    <a:pt x="418147" y="220028"/>
                  </a:lnTo>
                  <a:lnTo>
                    <a:pt x="416243" y="217170"/>
                  </a:lnTo>
                  <a:lnTo>
                    <a:pt x="414337" y="215265"/>
                  </a:lnTo>
                  <a:lnTo>
                    <a:pt x="410528" y="217170"/>
                  </a:lnTo>
                  <a:lnTo>
                    <a:pt x="406718" y="226695"/>
                  </a:lnTo>
                  <a:lnTo>
                    <a:pt x="407670" y="230505"/>
                  </a:lnTo>
                  <a:lnTo>
                    <a:pt x="415290" y="237173"/>
                  </a:lnTo>
                  <a:lnTo>
                    <a:pt x="421005" y="243840"/>
                  </a:lnTo>
                  <a:lnTo>
                    <a:pt x="421958" y="255270"/>
                  </a:lnTo>
                  <a:lnTo>
                    <a:pt x="419100" y="260033"/>
                  </a:lnTo>
                  <a:lnTo>
                    <a:pt x="416243" y="263843"/>
                  </a:lnTo>
                  <a:lnTo>
                    <a:pt x="412433" y="266700"/>
                  </a:lnTo>
                  <a:lnTo>
                    <a:pt x="411480" y="269558"/>
                  </a:lnTo>
                  <a:lnTo>
                    <a:pt x="408622" y="269558"/>
                  </a:lnTo>
                  <a:lnTo>
                    <a:pt x="408622" y="266700"/>
                  </a:lnTo>
                  <a:lnTo>
                    <a:pt x="406718" y="263843"/>
                  </a:lnTo>
                  <a:lnTo>
                    <a:pt x="404812" y="261938"/>
                  </a:lnTo>
                  <a:lnTo>
                    <a:pt x="401003" y="259080"/>
                  </a:lnTo>
                  <a:lnTo>
                    <a:pt x="401003" y="255270"/>
                  </a:lnTo>
                  <a:lnTo>
                    <a:pt x="398145" y="254318"/>
                  </a:lnTo>
                  <a:lnTo>
                    <a:pt x="395287" y="252413"/>
                  </a:lnTo>
                  <a:lnTo>
                    <a:pt x="394335" y="250508"/>
                  </a:lnTo>
                  <a:lnTo>
                    <a:pt x="390525" y="250508"/>
                  </a:lnTo>
                  <a:lnTo>
                    <a:pt x="392430" y="260033"/>
                  </a:lnTo>
                  <a:lnTo>
                    <a:pt x="392430" y="267653"/>
                  </a:lnTo>
                  <a:lnTo>
                    <a:pt x="395287" y="274320"/>
                  </a:lnTo>
                  <a:lnTo>
                    <a:pt x="399097" y="280035"/>
                  </a:lnTo>
                  <a:lnTo>
                    <a:pt x="402908" y="285750"/>
                  </a:lnTo>
                  <a:lnTo>
                    <a:pt x="405765" y="291465"/>
                  </a:lnTo>
                  <a:lnTo>
                    <a:pt x="407670" y="295275"/>
                  </a:lnTo>
                  <a:lnTo>
                    <a:pt x="406718" y="298133"/>
                  </a:lnTo>
                  <a:lnTo>
                    <a:pt x="403860" y="298133"/>
                  </a:lnTo>
                  <a:lnTo>
                    <a:pt x="401003" y="295275"/>
                  </a:lnTo>
                  <a:lnTo>
                    <a:pt x="399097" y="295275"/>
                  </a:lnTo>
                  <a:lnTo>
                    <a:pt x="393383" y="282893"/>
                  </a:lnTo>
                  <a:lnTo>
                    <a:pt x="390525" y="278130"/>
                  </a:lnTo>
                  <a:lnTo>
                    <a:pt x="385762" y="273368"/>
                  </a:lnTo>
                  <a:lnTo>
                    <a:pt x="385762" y="260033"/>
                  </a:lnTo>
                  <a:lnTo>
                    <a:pt x="384810" y="251460"/>
                  </a:lnTo>
                  <a:lnTo>
                    <a:pt x="381953" y="243840"/>
                  </a:lnTo>
                  <a:lnTo>
                    <a:pt x="379095" y="235268"/>
                  </a:lnTo>
                  <a:lnTo>
                    <a:pt x="377190" y="236220"/>
                  </a:lnTo>
                  <a:lnTo>
                    <a:pt x="374333" y="239078"/>
                  </a:lnTo>
                  <a:lnTo>
                    <a:pt x="371475" y="240030"/>
                  </a:lnTo>
                  <a:lnTo>
                    <a:pt x="368618" y="239078"/>
                  </a:lnTo>
                  <a:lnTo>
                    <a:pt x="369570" y="231458"/>
                  </a:lnTo>
                  <a:lnTo>
                    <a:pt x="363855" y="223838"/>
                  </a:lnTo>
                  <a:lnTo>
                    <a:pt x="360045" y="220980"/>
                  </a:lnTo>
                  <a:lnTo>
                    <a:pt x="360045" y="218123"/>
                  </a:lnTo>
                  <a:lnTo>
                    <a:pt x="359093" y="213360"/>
                  </a:lnTo>
                  <a:lnTo>
                    <a:pt x="355283" y="213360"/>
                  </a:lnTo>
                  <a:lnTo>
                    <a:pt x="351472" y="218123"/>
                  </a:lnTo>
                  <a:lnTo>
                    <a:pt x="348615" y="217170"/>
                  </a:lnTo>
                  <a:lnTo>
                    <a:pt x="347662" y="215265"/>
                  </a:lnTo>
                  <a:lnTo>
                    <a:pt x="344805" y="217170"/>
                  </a:lnTo>
                  <a:lnTo>
                    <a:pt x="340995" y="223838"/>
                  </a:lnTo>
                  <a:lnTo>
                    <a:pt x="336233" y="230505"/>
                  </a:lnTo>
                  <a:lnTo>
                    <a:pt x="332422" y="235268"/>
                  </a:lnTo>
                  <a:lnTo>
                    <a:pt x="326708" y="243840"/>
                  </a:lnTo>
                  <a:lnTo>
                    <a:pt x="323850" y="256223"/>
                  </a:lnTo>
                  <a:lnTo>
                    <a:pt x="322897" y="263843"/>
                  </a:lnTo>
                  <a:lnTo>
                    <a:pt x="320040" y="274320"/>
                  </a:lnTo>
                  <a:lnTo>
                    <a:pt x="318135" y="274320"/>
                  </a:lnTo>
                  <a:lnTo>
                    <a:pt x="315278" y="273368"/>
                  </a:lnTo>
                  <a:lnTo>
                    <a:pt x="312420" y="264795"/>
                  </a:lnTo>
                  <a:lnTo>
                    <a:pt x="307658" y="257175"/>
                  </a:lnTo>
                  <a:lnTo>
                    <a:pt x="300990" y="240983"/>
                  </a:lnTo>
                  <a:lnTo>
                    <a:pt x="298133" y="229553"/>
                  </a:lnTo>
                  <a:lnTo>
                    <a:pt x="297180" y="218123"/>
                  </a:lnTo>
                  <a:lnTo>
                    <a:pt x="294322" y="218123"/>
                  </a:lnTo>
                  <a:lnTo>
                    <a:pt x="293370" y="223838"/>
                  </a:lnTo>
                  <a:lnTo>
                    <a:pt x="291465" y="224790"/>
                  </a:lnTo>
                  <a:lnTo>
                    <a:pt x="288608" y="222885"/>
                  </a:lnTo>
                  <a:lnTo>
                    <a:pt x="282893" y="217170"/>
                  </a:lnTo>
                  <a:lnTo>
                    <a:pt x="280987" y="214313"/>
                  </a:lnTo>
                  <a:lnTo>
                    <a:pt x="280035" y="210503"/>
                  </a:lnTo>
                  <a:lnTo>
                    <a:pt x="275272" y="206693"/>
                  </a:lnTo>
                  <a:lnTo>
                    <a:pt x="253365" y="206693"/>
                  </a:lnTo>
                  <a:lnTo>
                    <a:pt x="249555" y="205740"/>
                  </a:lnTo>
                  <a:lnTo>
                    <a:pt x="244793" y="203835"/>
                  </a:lnTo>
                  <a:lnTo>
                    <a:pt x="244793" y="200025"/>
                  </a:lnTo>
                  <a:lnTo>
                    <a:pt x="242888" y="198120"/>
                  </a:lnTo>
                  <a:lnTo>
                    <a:pt x="238125" y="199073"/>
                  </a:lnTo>
                  <a:lnTo>
                    <a:pt x="236220" y="200978"/>
                  </a:lnTo>
                  <a:lnTo>
                    <a:pt x="230505" y="200978"/>
                  </a:lnTo>
                  <a:lnTo>
                    <a:pt x="227647" y="198120"/>
                  </a:lnTo>
                  <a:lnTo>
                    <a:pt x="221933" y="192405"/>
                  </a:lnTo>
                  <a:lnTo>
                    <a:pt x="218122" y="188595"/>
                  </a:lnTo>
                  <a:lnTo>
                    <a:pt x="214313" y="188595"/>
                  </a:lnTo>
                  <a:lnTo>
                    <a:pt x="212408" y="191453"/>
                  </a:lnTo>
                  <a:lnTo>
                    <a:pt x="212408" y="193358"/>
                  </a:lnTo>
                  <a:lnTo>
                    <a:pt x="217170" y="197168"/>
                  </a:lnTo>
                  <a:lnTo>
                    <a:pt x="219075" y="200978"/>
                  </a:lnTo>
                  <a:lnTo>
                    <a:pt x="220980" y="201930"/>
                  </a:lnTo>
                  <a:lnTo>
                    <a:pt x="221933" y="204788"/>
                  </a:lnTo>
                  <a:lnTo>
                    <a:pt x="223838" y="204788"/>
                  </a:lnTo>
                  <a:lnTo>
                    <a:pt x="226695" y="203835"/>
                  </a:lnTo>
                  <a:lnTo>
                    <a:pt x="227647" y="205740"/>
                  </a:lnTo>
                  <a:lnTo>
                    <a:pt x="227647" y="210503"/>
                  </a:lnTo>
                  <a:lnTo>
                    <a:pt x="230505" y="210503"/>
                  </a:lnTo>
                  <a:lnTo>
                    <a:pt x="235268" y="211455"/>
                  </a:lnTo>
                  <a:lnTo>
                    <a:pt x="237172" y="208598"/>
                  </a:lnTo>
                  <a:lnTo>
                    <a:pt x="239077" y="204788"/>
                  </a:lnTo>
                  <a:lnTo>
                    <a:pt x="242888" y="204788"/>
                  </a:lnTo>
                  <a:lnTo>
                    <a:pt x="242888" y="209550"/>
                  </a:lnTo>
                  <a:lnTo>
                    <a:pt x="243840" y="212408"/>
                  </a:lnTo>
                  <a:lnTo>
                    <a:pt x="246697" y="213360"/>
                  </a:lnTo>
                  <a:lnTo>
                    <a:pt x="250508" y="214313"/>
                  </a:lnTo>
                  <a:lnTo>
                    <a:pt x="252412" y="215265"/>
                  </a:lnTo>
                  <a:lnTo>
                    <a:pt x="253365" y="217170"/>
                  </a:lnTo>
                  <a:lnTo>
                    <a:pt x="249555" y="227648"/>
                  </a:lnTo>
                  <a:lnTo>
                    <a:pt x="244793" y="234315"/>
                  </a:lnTo>
                  <a:lnTo>
                    <a:pt x="240030" y="239078"/>
                  </a:lnTo>
                  <a:lnTo>
                    <a:pt x="236220" y="240983"/>
                  </a:lnTo>
                  <a:lnTo>
                    <a:pt x="230505" y="244793"/>
                  </a:lnTo>
                  <a:lnTo>
                    <a:pt x="225743" y="249555"/>
                  </a:lnTo>
                  <a:lnTo>
                    <a:pt x="220980" y="252413"/>
                  </a:lnTo>
                  <a:lnTo>
                    <a:pt x="208597" y="255270"/>
                  </a:lnTo>
                  <a:lnTo>
                    <a:pt x="204788" y="256223"/>
                  </a:lnTo>
                  <a:lnTo>
                    <a:pt x="200977" y="250508"/>
                  </a:lnTo>
                  <a:lnTo>
                    <a:pt x="199072" y="247650"/>
                  </a:lnTo>
                  <a:lnTo>
                    <a:pt x="197168" y="236220"/>
                  </a:lnTo>
                  <a:lnTo>
                    <a:pt x="188595" y="223838"/>
                  </a:lnTo>
                  <a:lnTo>
                    <a:pt x="174308" y="201930"/>
                  </a:lnTo>
                  <a:lnTo>
                    <a:pt x="171450" y="192405"/>
                  </a:lnTo>
                  <a:lnTo>
                    <a:pt x="169545" y="194310"/>
                  </a:lnTo>
                  <a:lnTo>
                    <a:pt x="168593" y="193358"/>
                  </a:lnTo>
                  <a:lnTo>
                    <a:pt x="167640" y="192405"/>
                  </a:lnTo>
                  <a:lnTo>
                    <a:pt x="164783" y="192405"/>
                  </a:lnTo>
                  <a:lnTo>
                    <a:pt x="164783" y="196215"/>
                  </a:lnTo>
                  <a:lnTo>
                    <a:pt x="167640" y="201930"/>
                  </a:lnTo>
                  <a:lnTo>
                    <a:pt x="174308" y="214313"/>
                  </a:lnTo>
                  <a:lnTo>
                    <a:pt x="180022" y="223838"/>
                  </a:lnTo>
                  <a:lnTo>
                    <a:pt x="180022" y="230505"/>
                  </a:lnTo>
                  <a:lnTo>
                    <a:pt x="187643" y="238125"/>
                  </a:lnTo>
                  <a:lnTo>
                    <a:pt x="189547" y="245745"/>
                  </a:lnTo>
                  <a:lnTo>
                    <a:pt x="191452" y="246698"/>
                  </a:lnTo>
                  <a:lnTo>
                    <a:pt x="196215" y="252413"/>
                  </a:lnTo>
                  <a:lnTo>
                    <a:pt x="201930" y="258128"/>
                  </a:lnTo>
                  <a:lnTo>
                    <a:pt x="200977" y="264795"/>
                  </a:lnTo>
                  <a:lnTo>
                    <a:pt x="204788" y="265748"/>
                  </a:lnTo>
                  <a:lnTo>
                    <a:pt x="211455" y="263843"/>
                  </a:lnTo>
                  <a:lnTo>
                    <a:pt x="222885" y="260033"/>
                  </a:lnTo>
                  <a:lnTo>
                    <a:pt x="228600" y="259080"/>
                  </a:lnTo>
                  <a:lnTo>
                    <a:pt x="228600" y="261938"/>
                  </a:lnTo>
                  <a:lnTo>
                    <a:pt x="218122" y="287655"/>
                  </a:lnTo>
                  <a:lnTo>
                    <a:pt x="209550" y="300038"/>
                  </a:lnTo>
                  <a:lnTo>
                    <a:pt x="198120" y="311468"/>
                  </a:lnTo>
                  <a:lnTo>
                    <a:pt x="189547" y="321945"/>
                  </a:lnTo>
                  <a:lnTo>
                    <a:pt x="189547" y="334328"/>
                  </a:lnTo>
                  <a:lnTo>
                    <a:pt x="193358" y="359093"/>
                  </a:lnTo>
                  <a:lnTo>
                    <a:pt x="193358" y="365760"/>
                  </a:lnTo>
                  <a:lnTo>
                    <a:pt x="185738" y="373380"/>
                  </a:lnTo>
                  <a:lnTo>
                    <a:pt x="178118" y="380048"/>
                  </a:lnTo>
                  <a:lnTo>
                    <a:pt x="171450" y="385763"/>
                  </a:lnTo>
                  <a:lnTo>
                    <a:pt x="173355" y="394335"/>
                  </a:lnTo>
                  <a:lnTo>
                    <a:pt x="173355" y="402908"/>
                  </a:lnTo>
                  <a:lnTo>
                    <a:pt x="164783" y="408622"/>
                  </a:lnTo>
                  <a:lnTo>
                    <a:pt x="164783" y="411480"/>
                  </a:lnTo>
                  <a:lnTo>
                    <a:pt x="159068" y="422910"/>
                  </a:lnTo>
                  <a:lnTo>
                    <a:pt x="150495" y="433388"/>
                  </a:lnTo>
                  <a:lnTo>
                    <a:pt x="143827" y="438150"/>
                  </a:lnTo>
                  <a:lnTo>
                    <a:pt x="137160" y="439103"/>
                  </a:lnTo>
                  <a:lnTo>
                    <a:pt x="127635" y="441008"/>
                  </a:lnTo>
                  <a:lnTo>
                    <a:pt x="123825" y="444818"/>
                  </a:lnTo>
                  <a:lnTo>
                    <a:pt x="120968" y="443865"/>
                  </a:lnTo>
                  <a:lnTo>
                    <a:pt x="120015" y="441960"/>
                  </a:lnTo>
                  <a:lnTo>
                    <a:pt x="115252" y="439103"/>
                  </a:lnTo>
                  <a:lnTo>
                    <a:pt x="114300" y="429578"/>
                  </a:lnTo>
                  <a:lnTo>
                    <a:pt x="105727" y="414338"/>
                  </a:lnTo>
                  <a:lnTo>
                    <a:pt x="103822" y="401003"/>
                  </a:lnTo>
                  <a:lnTo>
                    <a:pt x="102870" y="394335"/>
                  </a:lnTo>
                  <a:lnTo>
                    <a:pt x="96202" y="379095"/>
                  </a:lnTo>
                  <a:lnTo>
                    <a:pt x="96202" y="363855"/>
                  </a:lnTo>
                  <a:lnTo>
                    <a:pt x="102870" y="351473"/>
                  </a:lnTo>
                  <a:lnTo>
                    <a:pt x="100013" y="334328"/>
                  </a:lnTo>
                  <a:lnTo>
                    <a:pt x="94297" y="322898"/>
                  </a:lnTo>
                  <a:lnTo>
                    <a:pt x="85725" y="309563"/>
                  </a:lnTo>
                  <a:lnTo>
                    <a:pt x="86677" y="301943"/>
                  </a:lnTo>
                  <a:lnTo>
                    <a:pt x="89535" y="296228"/>
                  </a:lnTo>
                  <a:lnTo>
                    <a:pt x="89535" y="291465"/>
                  </a:lnTo>
                  <a:lnTo>
                    <a:pt x="84772" y="291465"/>
                  </a:lnTo>
                  <a:lnTo>
                    <a:pt x="79057" y="291465"/>
                  </a:lnTo>
                  <a:lnTo>
                    <a:pt x="73343" y="282893"/>
                  </a:lnTo>
                  <a:lnTo>
                    <a:pt x="66675" y="282893"/>
                  </a:lnTo>
                  <a:lnTo>
                    <a:pt x="53340" y="286703"/>
                  </a:lnTo>
                  <a:lnTo>
                    <a:pt x="36195" y="292418"/>
                  </a:lnTo>
                  <a:lnTo>
                    <a:pt x="29527" y="291465"/>
                  </a:lnTo>
                  <a:lnTo>
                    <a:pt x="14288" y="275273"/>
                  </a:lnTo>
                  <a:lnTo>
                    <a:pt x="3810" y="261938"/>
                  </a:lnTo>
                  <a:lnTo>
                    <a:pt x="0" y="254318"/>
                  </a:lnTo>
                  <a:lnTo>
                    <a:pt x="0" y="245745"/>
                  </a:lnTo>
                  <a:lnTo>
                    <a:pt x="2857" y="236220"/>
                  </a:lnTo>
                  <a:lnTo>
                    <a:pt x="2857" y="226695"/>
                  </a:lnTo>
                  <a:lnTo>
                    <a:pt x="3810" y="220028"/>
                  </a:lnTo>
                  <a:lnTo>
                    <a:pt x="12382" y="201930"/>
                  </a:lnTo>
                  <a:lnTo>
                    <a:pt x="17145" y="197168"/>
                  </a:lnTo>
                  <a:lnTo>
                    <a:pt x="20002" y="197168"/>
                  </a:lnTo>
                  <a:lnTo>
                    <a:pt x="26670" y="188595"/>
                  </a:lnTo>
                  <a:lnTo>
                    <a:pt x="28575" y="181928"/>
                  </a:lnTo>
                  <a:lnTo>
                    <a:pt x="29527" y="179070"/>
                  </a:lnTo>
                  <a:lnTo>
                    <a:pt x="35243" y="175260"/>
                  </a:lnTo>
                  <a:lnTo>
                    <a:pt x="37147" y="172403"/>
                  </a:lnTo>
                  <a:lnTo>
                    <a:pt x="40957" y="166688"/>
                  </a:lnTo>
                  <a:lnTo>
                    <a:pt x="43815" y="166688"/>
                  </a:lnTo>
                  <a:lnTo>
                    <a:pt x="46672" y="168593"/>
                  </a:lnTo>
                  <a:lnTo>
                    <a:pt x="50482" y="168593"/>
                  </a:lnTo>
                  <a:lnTo>
                    <a:pt x="60960" y="164783"/>
                  </a:lnTo>
                  <a:lnTo>
                    <a:pt x="69532" y="162878"/>
                  </a:lnTo>
                  <a:lnTo>
                    <a:pt x="74295" y="161925"/>
                  </a:lnTo>
                  <a:lnTo>
                    <a:pt x="79057" y="160020"/>
                  </a:lnTo>
                  <a:lnTo>
                    <a:pt x="85725" y="160020"/>
                  </a:lnTo>
                  <a:lnTo>
                    <a:pt x="94297" y="160973"/>
                  </a:lnTo>
                  <a:lnTo>
                    <a:pt x="93345" y="164783"/>
                  </a:lnTo>
                  <a:lnTo>
                    <a:pt x="91440" y="170498"/>
                  </a:lnTo>
                  <a:lnTo>
                    <a:pt x="92393" y="172403"/>
                  </a:lnTo>
                  <a:lnTo>
                    <a:pt x="96202" y="175260"/>
                  </a:lnTo>
                  <a:lnTo>
                    <a:pt x="100013" y="177165"/>
                  </a:lnTo>
                  <a:lnTo>
                    <a:pt x="105727" y="178118"/>
                  </a:lnTo>
                  <a:lnTo>
                    <a:pt x="107632" y="178118"/>
                  </a:lnTo>
                  <a:lnTo>
                    <a:pt x="108585" y="182880"/>
                  </a:lnTo>
                  <a:lnTo>
                    <a:pt x="113347" y="184785"/>
                  </a:lnTo>
                  <a:lnTo>
                    <a:pt x="120015" y="186690"/>
                  </a:lnTo>
                  <a:lnTo>
                    <a:pt x="122872" y="186690"/>
                  </a:lnTo>
                  <a:lnTo>
                    <a:pt x="122872" y="183833"/>
                  </a:lnTo>
                  <a:lnTo>
                    <a:pt x="121920" y="183833"/>
                  </a:lnTo>
                  <a:lnTo>
                    <a:pt x="121920" y="180975"/>
                  </a:lnTo>
                  <a:lnTo>
                    <a:pt x="125730" y="178118"/>
                  </a:lnTo>
                  <a:lnTo>
                    <a:pt x="131445" y="177165"/>
                  </a:lnTo>
                  <a:lnTo>
                    <a:pt x="134302" y="180023"/>
                  </a:lnTo>
                  <a:lnTo>
                    <a:pt x="138113" y="182880"/>
                  </a:lnTo>
                  <a:lnTo>
                    <a:pt x="143827" y="185738"/>
                  </a:lnTo>
                  <a:lnTo>
                    <a:pt x="148590" y="185738"/>
                  </a:lnTo>
                  <a:lnTo>
                    <a:pt x="152400" y="183833"/>
                  </a:lnTo>
                  <a:lnTo>
                    <a:pt x="157163" y="182880"/>
                  </a:lnTo>
                  <a:lnTo>
                    <a:pt x="160020" y="182880"/>
                  </a:lnTo>
                  <a:lnTo>
                    <a:pt x="162877" y="183833"/>
                  </a:lnTo>
                  <a:lnTo>
                    <a:pt x="164783" y="184785"/>
                  </a:lnTo>
                  <a:lnTo>
                    <a:pt x="166688" y="180975"/>
                  </a:lnTo>
                  <a:lnTo>
                    <a:pt x="167640" y="177165"/>
                  </a:lnTo>
                  <a:lnTo>
                    <a:pt x="169545" y="172403"/>
                  </a:lnTo>
                  <a:lnTo>
                    <a:pt x="169545" y="168593"/>
                  </a:lnTo>
                  <a:lnTo>
                    <a:pt x="169545" y="164783"/>
                  </a:lnTo>
                  <a:lnTo>
                    <a:pt x="170497" y="163830"/>
                  </a:lnTo>
                  <a:lnTo>
                    <a:pt x="170497" y="161925"/>
                  </a:lnTo>
                  <a:lnTo>
                    <a:pt x="163830" y="162878"/>
                  </a:lnTo>
                  <a:lnTo>
                    <a:pt x="159068" y="162878"/>
                  </a:lnTo>
                  <a:lnTo>
                    <a:pt x="153352" y="162878"/>
                  </a:lnTo>
                  <a:lnTo>
                    <a:pt x="146685" y="163830"/>
                  </a:lnTo>
                  <a:lnTo>
                    <a:pt x="144780" y="160973"/>
                  </a:lnTo>
                  <a:lnTo>
                    <a:pt x="142875" y="155258"/>
                  </a:lnTo>
                  <a:lnTo>
                    <a:pt x="140970" y="149543"/>
                  </a:lnTo>
                  <a:lnTo>
                    <a:pt x="144780" y="149543"/>
                  </a:lnTo>
                  <a:lnTo>
                    <a:pt x="146685" y="146685"/>
                  </a:lnTo>
                  <a:lnTo>
                    <a:pt x="147638" y="145733"/>
                  </a:lnTo>
                  <a:lnTo>
                    <a:pt x="150495" y="145733"/>
                  </a:lnTo>
                  <a:lnTo>
                    <a:pt x="154305" y="145733"/>
                  </a:lnTo>
                  <a:lnTo>
                    <a:pt x="156210" y="143828"/>
                  </a:lnTo>
                  <a:lnTo>
                    <a:pt x="159068" y="141923"/>
                  </a:lnTo>
                  <a:lnTo>
                    <a:pt x="160972" y="140018"/>
                  </a:lnTo>
                  <a:lnTo>
                    <a:pt x="165735" y="140018"/>
                  </a:lnTo>
                  <a:lnTo>
                    <a:pt x="168593" y="141923"/>
                  </a:lnTo>
                  <a:lnTo>
                    <a:pt x="172402" y="142875"/>
                  </a:lnTo>
                  <a:lnTo>
                    <a:pt x="175260" y="143828"/>
                  </a:lnTo>
                  <a:lnTo>
                    <a:pt x="179070" y="143828"/>
                  </a:lnTo>
                  <a:lnTo>
                    <a:pt x="184785" y="143828"/>
                  </a:lnTo>
                  <a:lnTo>
                    <a:pt x="184785" y="140018"/>
                  </a:lnTo>
                  <a:lnTo>
                    <a:pt x="185738" y="138113"/>
                  </a:lnTo>
                  <a:lnTo>
                    <a:pt x="183833" y="137160"/>
                  </a:lnTo>
                  <a:lnTo>
                    <a:pt x="180975" y="137160"/>
                  </a:lnTo>
                  <a:lnTo>
                    <a:pt x="179070" y="134303"/>
                  </a:lnTo>
                  <a:lnTo>
                    <a:pt x="177165" y="132398"/>
                  </a:lnTo>
                  <a:lnTo>
                    <a:pt x="173355" y="130493"/>
                  </a:lnTo>
                  <a:lnTo>
                    <a:pt x="171450" y="128588"/>
                  </a:lnTo>
                  <a:lnTo>
                    <a:pt x="171450" y="125730"/>
                  </a:lnTo>
                  <a:lnTo>
                    <a:pt x="174308" y="123825"/>
                  </a:lnTo>
                  <a:lnTo>
                    <a:pt x="176213" y="121920"/>
                  </a:lnTo>
                  <a:lnTo>
                    <a:pt x="176213" y="120968"/>
                  </a:lnTo>
                  <a:lnTo>
                    <a:pt x="174308" y="120015"/>
                  </a:lnTo>
                  <a:lnTo>
                    <a:pt x="172402" y="120968"/>
                  </a:lnTo>
                  <a:lnTo>
                    <a:pt x="164783" y="124778"/>
                  </a:lnTo>
                  <a:lnTo>
                    <a:pt x="166688" y="126682"/>
                  </a:lnTo>
                  <a:lnTo>
                    <a:pt x="166688" y="129540"/>
                  </a:lnTo>
                  <a:lnTo>
                    <a:pt x="163830" y="131445"/>
                  </a:lnTo>
                  <a:lnTo>
                    <a:pt x="160972" y="131445"/>
                  </a:lnTo>
                  <a:lnTo>
                    <a:pt x="159068" y="128588"/>
                  </a:lnTo>
                  <a:lnTo>
                    <a:pt x="157163" y="123825"/>
                  </a:lnTo>
                  <a:lnTo>
                    <a:pt x="156210" y="121920"/>
                  </a:lnTo>
                  <a:lnTo>
                    <a:pt x="154305" y="122873"/>
                  </a:lnTo>
                  <a:lnTo>
                    <a:pt x="149543" y="124778"/>
                  </a:lnTo>
                  <a:lnTo>
                    <a:pt x="147638" y="131445"/>
                  </a:lnTo>
                  <a:lnTo>
                    <a:pt x="144780" y="136208"/>
                  </a:lnTo>
                  <a:lnTo>
                    <a:pt x="144780" y="140970"/>
                  </a:lnTo>
                  <a:lnTo>
                    <a:pt x="146685" y="143828"/>
                  </a:lnTo>
                  <a:lnTo>
                    <a:pt x="141922" y="147638"/>
                  </a:lnTo>
                  <a:lnTo>
                    <a:pt x="140018" y="147638"/>
                  </a:lnTo>
                  <a:lnTo>
                    <a:pt x="137160" y="145733"/>
                  </a:lnTo>
                  <a:lnTo>
                    <a:pt x="132397" y="146685"/>
                  </a:lnTo>
                  <a:lnTo>
                    <a:pt x="131445" y="149543"/>
                  </a:lnTo>
                  <a:lnTo>
                    <a:pt x="131445" y="154305"/>
                  </a:lnTo>
                  <a:lnTo>
                    <a:pt x="131445" y="156210"/>
                  </a:lnTo>
                  <a:lnTo>
                    <a:pt x="131445" y="162878"/>
                  </a:lnTo>
                  <a:lnTo>
                    <a:pt x="126682" y="163830"/>
                  </a:lnTo>
                  <a:lnTo>
                    <a:pt x="123825" y="160973"/>
                  </a:lnTo>
                  <a:lnTo>
                    <a:pt x="123825" y="156210"/>
                  </a:lnTo>
                  <a:lnTo>
                    <a:pt x="126682" y="155258"/>
                  </a:lnTo>
                  <a:lnTo>
                    <a:pt x="122872" y="154305"/>
                  </a:lnTo>
                  <a:lnTo>
                    <a:pt x="120968" y="150495"/>
                  </a:lnTo>
                  <a:lnTo>
                    <a:pt x="119063" y="145733"/>
                  </a:lnTo>
                  <a:lnTo>
                    <a:pt x="116205" y="140970"/>
                  </a:lnTo>
                  <a:lnTo>
                    <a:pt x="112395" y="139065"/>
                  </a:lnTo>
                  <a:lnTo>
                    <a:pt x="106680" y="133350"/>
                  </a:lnTo>
                  <a:lnTo>
                    <a:pt x="102870" y="132398"/>
                  </a:lnTo>
                  <a:lnTo>
                    <a:pt x="100965" y="130493"/>
                  </a:lnTo>
                  <a:lnTo>
                    <a:pt x="100013" y="128588"/>
                  </a:lnTo>
                  <a:lnTo>
                    <a:pt x="98107" y="128588"/>
                  </a:lnTo>
                  <a:lnTo>
                    <a:pt x="97155" y="131445"/>
                  </a:lnTo>
                  <a:lnTo>
                    <a:pt x="99060" y="133350"/>
                  </a:lnTo>
                  <a:lnTo>
                    <a:pt x="100965" y="136208"/>
                  </a:lnTo>
                  <a:lnTo>
                    <a:pt x="101918" y="138113"/>
                  </a:lnTo>
                  <a:lnTo>
                    <a:pt x="105727" y="140970"/>
                  </a:lnTo>
                  <a:lnTo>
                    <a:pt x="108585" y="141923"/>
                  </a:lnTo>
                  <a:lnTo>
                    <a:pt x="108585" y="143828"/>
                  </a:lnTo>
                  <a:lnTo>
                    <a:pt x="113347" y="146685"/>
                  </a:lnTo>
                  <a:lnTo>
                    <a:pt x="115252" y="149543"/>
                  </a:lnTo>
                  <a:lnTo>
                    <a:pt x="116205" y="152400"/>
                  </a:lnTo>
                  <a:lnTo>
                    <a:pt x="115252" y="152400"/>
                  </a:lnTo>
                  <a:lnTo>
                    <a:pt x="113347" y="150495"/>
                  </a:lnTo>
                  <a:lnTo>
                    <a:pt x="112395" y="150495"/>
                  </a:lnTo>
                  <a:lnTo>
                    <a:pt x="112395" y="156210"/>
                  </a:lnTo>
                  <a:lnTo>
                    <a:pt x="111443" y="158115"/>
                  </a:lnTo>
                  <a:lnTo>
                    <a:pt x="109538" y="158115"/>
                  </a:lnTo>
                  <a:lnTo>
                    <a:pt x="109538" y="153353"/>
                  </a:lnTo>
                  <a:lnTo>
                    <a:pt x="106680" y="150495"/>
                  </a:lnTo>
                  <a:lnTo>
                    <a:pt x="103822" y="146685"/>
                  </a:lnTo>
                  <a:lnTo>
                    <a:pt x="100965" y="144780"/>
                  </a:lnTo>
                  <a:lnTo>
                    <a:pt x="97155" y="144780"/>
                  </a:lnTo>
                  <a:lnTo>
                    <a:pt x="94297" y="142875"/>
                  </a:lnTo>
                  <a:lnTo>
                    <a:pt x="91440" y="137160"/>
                  </a:lnTo>
                  <a:lnTo>
                    <a:pt x="89535" y="134303"/>
                  </a:lnTo>
                  <a:lnTo>
                    <a:pt x="87630" y="132398"/>
                  </a:lnTo>
                  <a:lnTo>
                    <a:pt x="84772" y="133350"/>
                  </a:lnTo>
                  <a:lnTo>
                    <a:pt x="80963" y="138113"/>
                  </a:lnTo>
                  <a:lnTo>
                    <a:pt x="77152" y="139065"/>
                  </a:lnTo>
                  <a:lnTo>
                    <a:pt x="75247" y="137160"/>
                  </a:lnTo>
                  <a:lnTo>
                    <a:pt x="71438" y="139065"/>
                  </a:lnTo>
                  <a:lnTo>
                    <a:pt x="70485" y="141923"/>
                  </a:lnTo>
                  <a:lnTo>
                    <a:pt x="60960" y="149543"/>
                  </a:lnTo>
                  <a:lnTo>
                    <a:pt x="57150" y="158115"/>
                  </a:lnTo>
                  <a:lnTo>
                    <a:pt x="53340" y="164783"/>
                  </a:lnTo>
                  <a:lnTo>
                    <a:pt x="50482" y="164783"/>
                  </a:lnTo>
                  <a:lnTo>
                    <a:pt x="47625" y="162878"/>
                  </a:lnTo>
                  <a:lnTo>
                    <a:pt x="44768" y="163830"/>
                  </a:lnTo>
                  <a:lnTo>
                    <a:pt x="40957" y="164783"/>
                  </a:lnTo>
                  <a:lnTo>
                    <a:pt x="37147" y="162878"/>
                  </a:lnTo>
                  <a:lnTo>
                    <a:pt x="34290" y="1619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18B45D2-68AF-4345-BD45-BEB827A6049A}"/>
                </a:ext>
              </a:extLst>
            </p:cNvPr>
            <p:cNvSpPr/>
            <p:nvPr/>
          </p:nvSpPr>
          <p:spPr>
            <a:xfrm>
              <a:off x="6063614" y="3315652"/>
              <a:ext cx="3810" cy="7620"/>
            </a:xfrm>
            <a:custGeom>
              <a:avLst/>
              <a:gdLst>
                <a:gd name="connsiteX0" fmla="*/ 2858 w 3810"/>
                <a:gd name="connsiteY0" fmla="*/ 0 h 7620"/>
                <a:gd name="connsiteX1" fmla="*/ 0 w 3810"/>
                <a:gd name="connsiteY1" fmla="*/ 2858 h 7620"/>
                <a:gd name="connsiteX2" fmla="*/ 953 w 3810"/>
                <a:gd name="connsiteY2" fmla="*/ 6668 h 7620"/>
                <a:gd name="connsiteX3" fmla="*/ 953 w 3810"/>
                <a:gd name="connsiteY3" fmla="*/ 7620 h 7620"/>
                <a:gd name="connsiteX4" fmla="*/ 2858 w 3810"/>
                <a:gd name="connsiteY4" fmla="*/ 7620 h 7620"/>
                <a:gd name="connsiteX5" fmla="*/ 3810 w 3810"/>
                <a:gd name="connsiteY5" fmla="*/ 6668 h 7620"/>
                <a:gd name="connsiteX6" fmla="*/ 3810 w 3810"/>
                <a:gd name="connsiteY6" fmla="*/ 2858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" h="7620">
                  <a:moveTo>
                    <a:pt x="2858" y="0"/>
                  </a:moveTo>
                  <a:lnTo>
                    <a:pt x="0" y="2858"/>
                  </a:lnTo>
                  <a:lnTo>
                    <a:pt x="953" y="6668"/>
                  </a:lnTo>
                  <a:lnTo>
                    <a:pt x="953" y="7620"/>
                  </a:lnTo>
                  <a:lnTo>
                    <a:pt x="2858" y="7620"/>
                  </a:lnTo>
                  <a:lnTo>
                    <a:pt x="3810" y="6668"/>
                  </a:lnTo>
                  <a:lnTo>
                    <a:pt x="3810" y="28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640F29C-830D-4A58-9DD1-7CB6657F4A2E}"/>
                </a:ext>
              </a:extLst>
            </p:cNvPr>
            <p:cNvSpPr/>
            <p:nvPr/>
          </p:nvSpPr>
          <p:spPr>
            <a:xfrm>
              <a:off x="6063614" y="3325177"/>
              <a:ext cx="3810" cy="7620"/>
            </a:xfrm>
            <a:custGeom>
              <a:avLst/>
              <a:gdLst>
                <a:gd name="connsiteX0" fmla="*/ 0 w 3810"/>
                <a:gd name="connsiteY0" fmla="*/ 1905 h 7620"/>
                <a:gd name="connsiteX1" fmla="*/ 953 w 3810"/>
                <a:gd name="connsiteY1" fmla="*/ 953 h 7620"/>
                <a:gd name="connsiteX2" fmla="*/ 3810 w 3810"/>
                <a:gd name="connsiteY2" fmla="*/ 0 h 7620"/>
                <a:gd name="connsiteX3" fmla="*/ 3810 w 3810"/>
                <a:gd name="connsiteY3" fmla="*/ 953 h 7620"/>
                <a:gd name="connsiteX4" fmla="*/ 2858 w 3810"/>
                <a:gd name="connsiteY4" fmla="*/ 3810 h 7620"/>
                <a:gd name="connsiteX5" fmla="*/ 3810 w 3810"/>
                <a:gd name="connsiteY5" fmla="*/ 4763 h 7620"/>
                <a:gd name="connsiteX6" fmla="*/ 2858 w 3810"/>
                <a:gd name="connsiteY6" fmla="*/ 7620 h 7620"/>
                <a:gd name="connsiteX7" fmla="*/ 953 w 3810"/>
                <a:gd name="connsiteY7" fmla="*/ 7620 h 7620"/>
                <a:gd name="connsiteX8" fmla="*/ 0 w 3810"/>
                <a:gd name="connsiteY8" fmla="*/ 6668 h 7620"/>
                <a:gd name="connsiteX9" fmla="*/ 0 w 3810"/>
                <a:gd name="connsiteY9" fmla="*/ 3810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" h="7620">
                  <a:moveTo>
                    <a:pt x="0" y="1905"/>
                  </a:moveTo>
                  <a:lnTo>
                    <a:pt x="953" y="953"/>
                  </a:lnTo>
                  <a:lnTo>
                    <a:pt x="3810" y="0"/>
                  </a:lnTo>
                  <a:lnTo>
                    <a:pt x="3810" y="953"/>
                  </a:lnTo>
                  <a:lnTo>
                    <a:pt x="2858" y="3810"/>
                  </a:lnTo>
                  <a:lnTo>
                    <a:pt x="3810" y="4763"/>
                  </a:lnTo>
                  <a:lnTo>
                    <a:pt x="2858" y="7620"/>
                  </a:lnTo>
                  <a:lnTo>
                    <a:pt x="953" y="7620"/>
                  </a:lnTo>
                  <a:lnTo>
                    <a:pt x="0" y="6668"/>
                  </a:lnTo>
                  <a:lnTo>
                    <a:pt x="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190F2A7-2651-4813-AE39-136A53D61B85}"/>
                </a:ext>
              </a:extLst>
            </p:cNvPr>
            <p:cNvSpPr/>
            <p:nvPr/>
          </p:nvSpPr>
          <p:spPr>
            <a:xfrm>
              <a:off x="6076950" y="3336607"/>
              <a:ext cx="10477" cy="5715"/>
            </a:xfrm>
            <a:custGeom>
              <a:avLst/>
              <a:gdLst>
                <a:gd name="connsiteX0" fmla="*/ 0 w 10477"/>
                <a:gd name="connsiteY0" fmla="*/ 0 h 5715"/>
                <a:gd name="connsiteX1" fmla="*/ 0 w 10477"/>
                <a:gd name="connsiteY1" fmla="*/ 1905 h 5715"/>
                <a:gd name="connsiteX2" fmla="*/ 3810 w 10477"/>
                <a:gd name="connsiteY2" fmla="*/ 3810 h 5715"/>
                <a:gd name="connsiteX3" fmla="*/ 6668 w 10477"/>
                <a:gd name="connsiteY3" fmla="*/ 5715 h 5715"/>
                <a:gd name="connsiteX4" fmla="*/ 9525 w 10477"/>
                <a:gd name="connsiteY4" fmla="*/ 5715 h 5715"/>
                <a:gd name="connsiteX5" fmla="*/ 10477 w 10477"/>
                <a:gd name="connsiteY5" fmla="*/ 1905 h 5715"/>
                <a:gd name="connsiteX6" fmla="*/ 8573 w 10477"/>
                <a:gd name="connsiteY6" fmla="*/ 0 h 5715"/>
                <a:gd name="connsiteX7" fmla="*/ 5715 w 10477"/>
                <a:gd name="connsiteY7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" h="5715">
                  <a:moveTo>
                    <a:pt x="0" y="0"/>
                  </a:moveTo>
                  <a:lnTo>
                    <a:pt x="0" y="1905"/>
                  </a:lnTo>
                  <a:lnTo>
                    <a:pt x="3810" y="3810"/>
                  </a:lnTo>
                  <a:lnTo>
                    <a:pt x="6668" y="5715"/>
                  </a:lnTo>
                  <a:lnTo>
                    <a:pt x="9525" y="5715"/>
                  </a:lnTo>
                  <a:lnTo>
                    <a:pt x="10477" y="1905"/>
                  </a:lnTo>
                  <a:lnTo>
                    <a:pt x="8573" y="0"/>
                  </a:lnTo>
                  <a:lnTo>
                    <a:pt x="571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1617B95-2C58-4F90-97FB-698476329C82}"/>
                </a:ext>
              </a:extLst>
            </p:cNvPr>
            <p:cNvSpPr/>
            <p:nvPr/>
          </p:nvSpPr>
          <p:spPr>
            <a:xfrm>
              <a:off x="6110287" y="3346132"/>
              <a:ext cx="10477" cy="3810"/>
            </a:xfrm>
            <a:custGeom>
              <a:avLst/>
              <a:gdLst>
                <a:gd name="connsiteX0" fmla="*/ 0 w 10477"/>
                <a:gd name="connsiteY0" fmla="*/ 1905 h 3810"/>
                <a:gd name="connsiteX1" fmla="*/ 0 w 10477"/>
                <a:gd name="connsiteY1" fmla="*/ 0 h 3810"/>
                <a:gd name="connsiteX2" fmla="*/ 3810 w 10477"/>
                <a:gd name="connsiteY2" fmla="*/ 1905 h 3810"/>
                <a:gd name="connsiteX3" fmla="*/ 9525 w 10477"/>
                <a:gd name="connsiteY3" fmla="*/ 953 h 3810"/>
                <a:gd name="connsiteX4" fmla="*/ 10477 w 10477"/>
                <a:gd name="connsiteY4" fmla="*/ 2857 h 3810"/>
                <a:gd name="connsiteX5" fmla="*/ 6668 w 10477"/>
                <a:gd name="connsiteY5" fmla="*/ 3810 h 3810"/>
                <a:gd name="connsiteX6" fmla="*/ 4763 w 10477"/>
                <a:gd name="connsiteY6" fmla="*/ 2857 h 3810"/>
                <a:gd name="connsiteX7" fmla="*/ 2857 w 10477"/>
                <a:gd name="connsiteY7" fmla="*/ 1905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" h="3810">
                  <a:moveTo>
                    <a:pt x="0" y="1905"/>
                  </a:moveTo>
                  <a:lnTo>
                    <a:pt x="0" y="0"/>
                  </a:lnTo>
                  <a:lnTo>
                    <a:pt x="3810" y="1905"/>
                  </a:lnTo>
                  <a:lnTo>
                    <a:pt x="9525" y="953"/>
                  </a:lnTo>
                  <a:lnTo>
                    <a:pt x="10477" y="2857"/>
                  </a:lnTo>
                  <a:lnTo>
                    <a:pt x="6668" y="3810"/>
                  </a:lnTo>
                  <a:lnTo>
                    <a:pt x="4763" y="2857"/>
                  </a:lnTo>
                  <a:lnTo>
                    <a:pt x="2857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0A267DA-3D53-4445-B5F2-FD75EA6A718B}"/>
                </a:ext>
              </a:extLst>
            </p:cNvPr>
            <p:cNvSpPr/>
            <p:nvPr/>
          </p:nvSpPr>
          <p:spPr>
            <a:xfrm>
              <a:off x="6138862" y="3345180"/>
              <a:ext cx="7619" cy="5714"/>
            </a:xfrm>
            <a:custGeom>
              <a:avLst/>
              <a:gdLst>
                <a:gd name="connsiteX0" fmla="*/ 0 w 7619"/>
                <a:gd name="connsiteY0" fmla="*/ 3810 h 5714"/>
                <a:gd name="connsiteX1" fmla="*/ 1905 w 7619"/>
                <a:gd name="connsiteY1" fmla="*/ 952 h 5714"/>
                <a:gd name="connsiteX2" fmla="*/ 7620 w 7619"/>
                <a:gd name="connsiteY2" fmla="*/ 0 h 5714"/>
                <a:gd name="connsiteX3" fmla="*/ 7620 w 7619"/>
                <a:gd name="connsiteY3" fmla="*/ 1905 h 5714"/>
                <a:gd name="connsiteX4" fmla="*/ 5715 w 7619"/>
                <a:gd name="connsiteY4" fmla="*/ 3810 h 5714"/>
                <a:gd name="connsiteX5" fmla="*/ 2857 w 7619"/>
                <a:gd name="connsiteY5" fmla="*/ 5715 h 5714"/>
                <a:gd name="connsiteX6" fmla="*/ 952 w 7619"/>
                <a:gd name="connsiteY6" fmla="*/ 5715 h 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9" h="5714">
                  <a:moveTo>
                    <a:pt x="0" y="3810"/>
                  </a:moveTo>
                  <a:lnTo>
                    <a:pt x="1905" y="952"/>
                  </a:lnTo>
                  <a:lnTo>
                    <a:pt x="7620" y="0"/>
                  </a:lnTo>
                  <a:lnTo>
                    <a:pt x="7620" y="1905"/>
                  </a:lnTo>
                  <a:lnTo>
                    <a:pt x="5715" y="3810"/>
                  </a:lnTo>
                  <a:lnTo>
                    <a:pt x="2857" y="5715"/>
                  </a:lnTo>
                  <a:lnTo>
                    <a:pt x="952" y="57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DA6B160-2E79-4E08-B3FB-562FFC9BF380}"/>
                </a:ext>
              </a:extLst>
            </p:cNvPr>
            <p:cNvSpPr/>
            <p:nvPr/>
          </p:nvSpPr>
          <p:spPr>
            <a:xfrm>
              <a:off x="6163627" y="3195637"/>
              <a:ext cx="15240" cy="10477"/>
            </a:xfrm>
            <a:custGeom>
              <a:avLst/>
              <a:gdLst>
                <a:gd name="connsiteX0" fmla="*/ 1905 w 15240"/>
                <a:gd name="connsiteY0" fmla="*/ 0 h 10477"/>
                <a:gd name="connsiteX1" fmla="*/ 0 w 15240"/>
                <a:gd name="connsiteY1" fmla="*/ 7620 h 10477"/>
                <a:gd name="connsiteX2" fmla="*/ 7620 w 15240"/>
                <a:gd name="connsiteY2" fmla="*/ 9525 h 10477"/>
                <a:gd name="connsiteX3" fmla="*/ 9525 w 15240"/>
                <a:gd name="connsiteY3" fmla="*/ 10478 h 10477"/>
                <a:gd name="connsiteX4" fmla="*/ 15240 w 15240"/>
                <a:gd name="connsiteY4" fmla="*/ 10478 h 10477"/>
                <a:gd name="connsiteX5" fmla="*/ 15240 w 15240"/>
                <a:gd name="connsiteY5" fmla="*/ 8572 h 10477"/>
                <a:gd name="connsiteX6" fmla="*/ 10478 w 15240"/>
                <a:gd name="connsiteY6" fmla="*/ 7620 h 10477"/>
                <a:gd name="connsiteX7" fmla="*/ 9525 w 15240"/>
                <a:gd name="connsiteY7" fmla="*/ 6668 h 10477"/>
                <a:gd name="connsiteX8" fmla="*/ 8573 w 15240"/>
                <a:gd name="connsiteY8" fmla="*/ 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" h="10477">
                  <a:moveTo>
                    <a:pt x="1905" y="0"/>
                  </a:moveTo>
                  <a:lnTo>
                    <a:pt x="0" y="7620"/>
                  </a:lnTo>
                  <a:lnTo>
                    <a:pt x="7620" y="9525"/>
                  </a:lnTo>
                  <a:lnTo>
                    <a:pt x="9525" y="10478"/>
                  </a:lnTo>
                  <a:lnTo>
                    <a:pt x="15240" y="10478"/>
                  </a:lnTo>
                  <a:lnTo>
                    <a:pt x="15240" y="8572"/>
                  </a:lnTo>
                  <a:lnTo>
                    <a:pt x="10478" y="7620"/>
                  </a:lnTo>
                  <a:lnTo>
                    <a:pt x="9525" y="6668"/>
                  </a:lnTo>
                  <a:lnTo>
                    <a:pt x="857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7AFA6F3-1CBE-457E-8596-FAE0B6D3D2F3}"/>
                </a:ext>
              </a:extLst>
            </p:cNvPr>
            <p:cNvSpPr/>
            <p:nvPr/>
          </p:nvSpPr>
          <p:spPr>
            <a:xfrm>
              <a:off x="6167437" y="3179444"/>
              <a:ext cx="21907" cy="14287"/>
            </a:xfrm>
            <a:custGeom>
              <a:avLst/>
              <a:gdLst>
                <a:gd name="connsiteX0" fmla="*/ 0 w 21907"/>
                <a:gd name="connsiteY0" fmla="*/ 14288 h 14287"/>
                <a:gd name="connsiteX1" fmla="*/ 5715 w 21907"/>
                <a:gd name="connsiteY1" fmla="*/ 14288 h 14287"/>
                <a:gd name="connsiteX2" fmla="*/ 8573 w 21907"/>
                <a:gd name="connsiteY2" fmla="*/ 11430 h 14287"/>
                <a:gd name="connsiteX3" fmla="*/ 9525 w 21907"/>
                <a:gd name="connsiteY3" fmla="*/ 11430 h 14287"/>
                <a:gd name="connsiteX4" fmla="*/ 12382 w 21907"/>
                <a:gd name="connsiteY4" fmla="*/ 9525 h 14287"/>
                <a:gd name="connsiteX5" fmla="*/ 16193 w 21907"/>
                <a:gd name="connsiteY5" fmla="*/ 9525 h 14287"/>
                <a:gd name="connsiteX6" fmla="*/ 21907 w 21907"/>
                <a:gd name="connsiteY6" fmla="*/ 4763 h 14287"/>
                <a:gd name="connsiteX7" fmla="*/ 21907 w 21907"/>
                <a:gd name="connsiteY7" fmla="*/ 0 h 14287"/>
                <a:gd name="connsiteX8" fmla="*/ 20955 w 21907"/>
                <a:gd name="connsiteY8" fmla="*/ 0 h 14287"/>
                <a:gd name="connsiteX9" fmla="*/ 14288 w 21907"/>
                <a:gd name="connsiteY9" fmla="*/ 5715 h 14287"/>
                <a:gd name="connsiteX10" fmla="*/ 11430 w 21907"/>
                <a:gd name="connsiteY10" fmla="*/ 5715 h 14287"/>
                <a:gd name="connsiteX11" fmla="*/ 6668 w 21907"/>
                <a:gd name="connsiteY11" fmla="*/ 4763 h 14287"/>
                <a:gd name="connsiteX12" fmla="*/ 4763 w 21907"/>
                <a:gd name="connsiteY12" fmla="*/ 7620 h 14287"/>
                <a:gd name="connsiteX13" fmla="*/ 2857 w 21907"/>
                <a:gd name="connsiteY13" fmla="*/ 10478 h 14287"/>
                <a:gd name="connsiteX14" fmla="*/ 952 w 21907"/>
                <a:gd name="connsiteY14" fmla="*/ 1047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907" h="14287">
                  <a:moveTo>
                    <a:pt x="0" y="14288"/>
                  </a:moveTo>
                  <a:lnTo>
                    <a:pt x="5715" y="14288"/>
                  </a:lnTo>
                  <a:lnTo>
                    <a:pt x="8573" y="11430"/>
                  </a:lnTo>
                  <a:lnTo>
                    <a:pt x="9525" y="11430"/>
                  </a:lnTo>
                  <a:lnTo>
                    <a:pt x="12382" y="9525"/>
                  </a:lnTo>
                  <a:lnTo>
                    <a:pt x="16193" y="9525"/>
                  </a:lnTo>
                  <a:lnTo>
                    <a:pt x="21907" y="4763"/>
                  </a:lnTo>
                  <a:lnTo>
                    <a:pt x="21907" y="0"/>
                  </a:lnTo>
                  <a:lnTo>
                    <a:pt x="20955" y="0"/>
                  </a:lnTo>
                  <a:lnTo>
                    <a:pt x="14288" y="5715"/>
                  </a:lnTo>
                  <a:lnTo>
                    <a:pt x="11430" y="5715"/>
                  </a:lnTo>
                  <a:lnTo>
                    <a:pt x="6668" y="4763"/>
                  </a:lnTo>
                  <a:lnTo>
                    <a:pt x="4763" y="7620"/>
                  </a:lnTo>
                  <a:lnTo>
                    <a:pt x="2857" y="10478"/>
                  </a:lnTo>
                  <a:lnTo>
                    <a:pt x="952" y="10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89318885-8819-4092-9B84-AFC71EAD9BC5}"/>
                </a:ext>
              </a:extLst>
            </p:cNvPr>
            <p:cNvSpPr/>
            <p:nvPr/>
          </p:nvSpPr>
          <p:spPr>
            <a:xfrm>
              <a:off x="6424612" y="3253740"/>
              <a:ext cx="27622" cy="33337"/>
            </a:xfrm>
            <a:custGeom>
              <a:avLst/>
              <a:gdLst>
                <a:gd name="connsiteX0" fmla="*/ 0 w 27622"/>
                <a:gd name="connsiteY0" fmla="*/ 1905 h 33337"/>
                <a:gd name="connsiteX1" fmla="*/ 0 w 27622"/>
                <a:gd name="connsiteY1" fmla="*/ 0 h 33337"/>
                <a:gd name="connsiteX2" fmla="*/ 2858 w 27622"/>
                <a:gd name="connsiteY2" fmla="*/ 0 h 33337"/>
                <a:gd name="connsiteX3" fmla="*/ 4763 w 27622"/>
                <a:gd name="connsiteY3" fmla="*/ 1905 h 33337"/>
                <a:gd name="connsiteX4" fmla="*/ 7620 w 27622"/>
                <a:gd name="connsiteY4" fmla="*/ 6667 h 33337"/>
                <a:gd name="connsiteX5" fmla="*/ 11430 w 27622"/>
                <a:gd name="connsiteY5" fmla="*/ 10478 h 33337"/>
                <a:gd name="connsiteX6" fmla="*/ 13335 w 27622"/>
                <a:gd name="connsiteY6" fmla="*/ 10478 h 33337"/>
                <a:gd name="connsiteX7" fmla="*/ 19050 w 27622"/>
                <a:gd name="connsiteY7" fmla="*/ 17145 h 33337"/>
                <a:gd name="connsiteX8" fmla="*/ 21908 w 27622"/>
                <a:gd name="connsiteY8" fmla="*/ 19050 h 33337"/>
                <a:gd name="connsiteX9" fmla="*/ 21908 w 27622"/>
                <a:gd name="connsiteY9" fmla="*/ 20003 h 33337"/>
                <a:gd name="connsiteX10" fmla="*/ 20955 w 27622"/>
                <a:gd name="connsiteY10" fmla="*/ 21908 h 33337"/>
                <a:gd name="connsiteX11" fmla="*/ 22860 w 27622"/>
                <a:gd name="connsiteY11" fmla="*/ 26670 h 33337"/>
                <a:gd name="connsiteX12" fmla="*/ 25717 w 27622"/>
                <a:gd name="connsiteY12" fmla="*/ 28575 h 33337"/>
                <a:gd name="connsiteX13" fmla="*/ 27623 w 27622"/>
                <a:gd name="connsiteY13" fmla="*/ 30480 h 33337"/>
                <a:gd name="connsiteX14" fmla="*/ 27623 w 27622"/>
                <a:gd name="connsiteY14" fmla="*/ 32385 h 33337"/>
                <a:gd name="connsiteX15" fmla="*/ 25717 w 27622"/>
                <a:gd name="connsiteY15" fmla="*/ 32385 h 33337"/>
                <a:gd name="connsiteX16" fmla="*/ 25717 w 27622"/>
                <a:gd name="connsiteY16" fmla="*/ 33337 h 33337"/>
                <a:gd name="connsiteX17" fmla="*/ 23813 w 27622"/>
                <a:gd name="connsiteY17" fmla="*/ 33337 h 33337"/>
                <a:gd name="connsiteX18" fmla="*/ 21908 w 27622"/>
                <a:gd name="connsiteY18" fmla="*/ 28575 h 33337"/>
                <a:gd name="connsiteX19" fmla="*/ 19050 w 27622"/>
                <a:gd name="connsiteY19" fmla="*/ 25717 h 33337"/>
                <a:gd name="connsiteX20" fmla="*/ 16192 w 27622"/>
                <a:gd name="connsiteY20" fmla="*/ 22860 h 33337"/>
                <a:gd name="connsiteX21" fmla="*/ 11430 w 27622"/>
                <a:gd name="connsiteY21" fmla="*/ 17145 h 33337"/>
                <a:gd name="connsiteX22" fmla="*/ 6667 w 27622"/>
                <a:gd name="connsiteY22" fmla="*/ 12383 h 33337"/>
                <a:gd name="connsiteX23" fmla="*/ 2858 w 27622"/>
                <a:gd name="connsiteY23" fmla="*/ 4762 h 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622" h="33337">
                  <a:moveTo>
                    <a:pt x="0" y="190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4763" y="1905"/>
                  </a:lnTo>
                  <a:lnTo>
                    <a:pt x="7620" y="6667"/>
                  </a:lnTo>
                  <a:lnTo>
                    <a:pt x="11430" y="10478"/>
                  </a:lnTo>
                  <a:lnTo>
                    <a:pt x="13335" y="10478"/>
                  </a:lnTo>
                  <a:lnTo>
                    <a:pt x="19050" y="17145"/>
                  </a:lnTo>
                  <a:lnTo>
                    <a:pt x="21908" y="19050"/>
                  </a:lnTo>
                  <a:lnTo>
                    <a:pt x="21908" y="20003"/>
                  </a:lnTo>
                  <a:lnTo>
                    <a:pt x="20955" y="21908"/>
                  </a:lnTo>
                  <a:lnTo>
                    <a:pt x="22860" y="26670"/>
                  </a:lnTo>
                  <a:lnTo>
                    <a:pt x="25717" y="28575"/>
                  </a:lnTo>
                  <a:lnTo>
                    <a:pt x="27623" y="30480"/>
                  </a:lnTo>
                  <a:lnTo>
                    <a:pt x="27623" y="32385"/>
                  </a:lnTo>
                  <a:lnTo>
                    <a:pt x="25717" y="32385"/>
                  </a:lnTo>
                  <a:lnTo>
                    <a:pt x="25717" y="33337"/>
                  </a:lnTo>
                  <a:lnTo>
                    <a:pt x="23813" y="33337"/>
                  </a:lnTo>
                  <a:lnTo>
                    <a:pt x="21908" y="28575"/>
                  </a:lnTo>
                  <a:lnTo>
                    <a:pt x="19050" y="25717"/>
                  </a:lnTo>
                  <a:lnTo>
                    <a:pt x="16192" y="22860"/>
                  </a:lnTo>
                  <a:lnTo>
                    <a:pt x="11430" y="17145"/>
                  </a:lnTo>
                  <a:lnTo>
                    <a:pt x="6667" y="12383"/>
                  </a:lnTo>
                  <a:lnTo>
                    <a:pt x="2858" y="4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23783B-E8F0-4592-AAB2-3CD81ABC5A50}"/>
                </a:ext>
              </a:extLst>
            </p:cNvPr>
            <p:cNvSpPr/>
            <p:nvPr/>
          </p:nvSpPr>
          <p:spPr>
            <a:xfrm>
              <a:off x="6451282" y="3290887"/>
              <a:ext cx="16192" cy="14287"/>
            </a:xfrm>
            <a:custGeom>
              <a:avLst/>
              <a:gdLst>
                <a:gd name="connsiteX0" fmla="*/ 0 w 16192"/>
                <a:gd name="connsiteY0" fmla="*/ 2857 h 14287"/>
                <a:gd name="connsiteX1" fmla="*/ 0 w 16192"/>
                <a:gd name="connsiteY1" fmla="*/ 952 h 14287"/>
                <a:gd name="connsiteX2" fmla="*/ 2857 w 16192"/>
                <a:gd name="connsiteY2" fmla="*/ 0 h 14287"/>
                <a:gd name="connsiteX3" fmla="*/ 5715 w 16192"/>
                <a:gd name="connsiteY3" fmla="*/ 952 h 14287"/>
                <a:gd name="connsiteX4" fmla="*/ 7620 w 16192"/>
                <a:gd name="connsiteY4" fmla="*/ 952 h 14287"/>
                <a:gd name="connsiteX5" fmla="*/ 11430 w 16192"/>
                <a:gd name="connsiteY5" fmla="*/ 952 h 14287"/>
                <a:gd name="connsiteX6" fmla="*/ 13335 w 16192"/>
                <a:gd name="connsiteY6" fmla="*/ 1905 h 14287"/>
                <a:gd name="connsiteX7" fmla="*/ 16192 w 16192"/>
                <a:gd name="connsiteY7" fmla="*/ 4763 h 14287"/>
                <a:gd name="connsiteX8" fmla="*/ 16192 w 16192"/>
                <a:gd name="connsiteY8" fmla="*/ 7620 h 14287"/>
                <a:gd name="connsiteX9" fmla="*/ 13335 w 16192"/>
                <a:gd name="connsiteY9" fmla="*/ 9525 h 14287"/>
                <a:gd name="connsiteX10" fmla="*/ 13335 w 16192"/>
                <a:gd name="connsiteY10" fmla="*/ 11430 h 14287"/>
                <a:gd name="connsiteX11" fmla="*/ 10477 w 16192"/>
                <a:gd name="connsiteY11" fmla="*/ 11430 h 14287"/>
                <a:gd name="connsiteX12" fmla="*/ 8572 w 16192"/>
                <a:gd name="connsiteY12" fmla="*/ 10477 h 14287"/>
                <a:gd name="connsiteX13" fmla="*/ 6667 w 16192"/>
                <a:gd name="connsiteY13" fmla="*/ 10477 h 14287"/>
                <a:gd name="connsiteX14" fmla="*/ 6667 w 16192"/>
                <a:gd name="connsiteY14" fmla="*/ 14288 h 14287"/>
                <a:gd name="connsiteX15" fmla="*/ 3810 w 16192"/>
                <a:gd name="connsiteY15" fmla="*/ 14288 h 14287"/>
                <a:gd name="connsiteX16" fmla="*/ 1905 w 16192"/>
                <a:gd name="connsiteY16" fmla="*/ 11430 h 14287"/>
                <a:gd name="connsiteX17" fmla="*/ 952 w 16192"/>
                <a:gd name="connsiteY17" fmla="*/ 9525 h 14287"/>
                <a:gd name="connsiteX18" fmla="*/ 1905 w 16192"/>
                <a:gd name="connsiteY18" fmla="*/ 7620 h 14287"/>
                <a:gd name="connsiteX19" fmla="*/ 2857 w 16192"/>
                <a:gd name="connsiteY19" fmla="*/ 5715 h 14287"/>
                <a:gd name="connsiteX20" fmla="*/ 1905 w 16192"/>
                <a:gd name="connsiteY20" fmla="*/ 4763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192" h="14287">
                  <a:moveTo>
                    <a:pt x="0" y="2857"/>
                  </a:moveTo>
                  <a:lnTo>
                    <a:pt x="0" y="952"/>
                  </a:lnTo>
                  <a:lnTo>
                    <a:pt x="2857" y="0"/>
                  </a:lnTo>
                  <a:lnTo>
                    <a:pt x="5715" y="952"/>
                  </a:lnTo>
                  <a:lnTo>
                    <a:pt x="7620" y="952"/>
                  </a:lnTo>
                  <a:lnTo>
                    <a:pt x="11430" y="952"/>
                  </a:lnTo>
                  <a:lnTo>
                    <a:pt x="13335" y="1905"/>
                  </a:lnTo>
                  <a:lnTo>
                    <a:pt x="16192" y="4763"/>
                  </a:lnTo>
                  <a:lnTo>
                    <a:pt x="16192" y="7620"/>
                  </a:lnTo>
                  <a:lnTo>
                    <a:pt x="13335" y="9525"/>
                  </a:lnTo>
                  <a:lnTo>
                    <a:pt x="13335" y="11430"/>
                  </a:lnTo>
                  <a:lnTo>
                    <a:pt x="10477" y="11430"/>
                  </a:lnTo>
                  <a:lnTo>
                    <a:pt x="8572" y="10477"/>
                  </a:lnTo>
                  <a:lnTo>
                    <a:pt x="6667" y="10477"/>
                  </a:lnTo>
                  <a:lnTo>
                    <a:pt x="6667" y="14288"/>
                  </a:lnTo>
                  <a:lnTo>
                    <a:pt x="3810" y="14288"/>
                  </a:lnTo>
                  <a:lnTo>
                    <a:pt x="1905" y="11430"/>
                  </a:lnTo>
                  <a:lnTo>
                    <a:pt x="952" y="9525"/>
                  </a:lnTo>
                  <a:lnTo>
                    <a:pt x="1905" y="7620"/>
                  </a:lnTo>
                  <a:lnTo>
                    <a:pt x="2857" y="5715"/>
                  </a:lnTo>
                  <a:lnTo>
                    <a:pt x="1905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1F00F15-D8DF-403E-8E69-54DCCB721A5D}"/>
                </a:ext>
              </a:extLst>
            </p:cNvPr>
            <p:cNvSpPr/>
            <p:nvPr/>
          </p:nvSpPr>
          <p:spPr>
            <a:xfrm>
              <a:off x="6445567" y="3307080"/>
              <a:ext cx="24765" cy="34289"/>
            </a:xfrm>
            <a:custGeom>
              <a:avLst/>
              <a:gdLst>
                <a:gd name="connsiteX0" fmla="*/ 11430 w 24765"/>
                <a:gd name="connsiteY0" fmla="*/ 0 h 34289"/>
                <a:gd name="connsiteX1" fmla="*/ 14288 w 24765"/>
                <a:gd name="connsiteY1" fmla="*/ 0 h 34289"/>
                <a:gd name="connsiteX2" fmla="*/ 18098 w 24765"/>
                <a:gd name="connsiteY2" fmla="*/ 2857 h 34289"/>
                <a:gd name="connsiteX3" fmla="*/ 20955 w 24765"/>
                <a:gd name="connsiteY3" fmla="*/ 8572 h 34289"/>
                <a:gd name="connsiteX4" fmla="*/ 23813 w 24765"/>
                <a:gd name="connsiteY4" fmla="*/ 16193 h 34289"/>
                <a:gd name="connsiteX5" fmla="*/ 24765 w 24765"/>
                <a:gd name="connsiteY5" fmla="*/ 20002 h 34289"/>
                <a:gd name="connsiteX6" fmla="*/ 23813 w 24765"/>
                <a:gd name="connsiteY6" fmla="*/ 26670 h 34289"/>
                <a:gd name="connsiteX7" fmla="*/ 20003 w 24765"/>
                <a:gd name="connsiteY7" fmla="*/ 27622 h 34289"/>
                <a:gd name="connsiteX8" fmla="*/ 17145 w 24765"/>
                <a:gd name="connsiteY8" fmla="*/ 24765 h 34289"/>
                <a:gd name="connsiteX9" fmla="*/ 11430 w 24765"/>
                <a:gd name="connsiteY9" fmla="*/ 24765 h 34289"/>
                <a:gd name="connsiteX10" fmla="*/ 6668 w 24765"/>
                <a:gd name="connsiteY10" fmla="*/ 27622 h 34289"/>
                <a:gd name="connsiteX11" fmla="*/ 6668 w 24765"/>
                <a:gd name="connsiteY11" fmla="*/ 32385 h 34289"/>
                <a:gd name="connsiteX12" fmla="*/ 3810 w 24765"/>
                <a:gd name="connsiteY12" fmla="*/ 34290 h 34289"/>
                <a:gd name="connsiteX13" fmla="*/ 0 w 24765"/>
                <a:gd name="connsiteY13" fmla="*/ 33338 h 34289"/>
                <a:gd name="connsiteX14" fmla="*/ 0 w 24765"/>
                <a:gd name="connsiteY14" fmla="*/ 31432 h 34289"/>
                <a:gd name="connsiteX15" fmla="*/ 2858 w 24765"/>
                <a:gd name="connsiteY15" fmla="*/ 27622 h 34289"/>
                <a:gd name="connsiteX16" fmla="*/ 10478 w 24765"/>
                <a:gd name="connsiteY16" fmla="*/ 21907 h 34289"/>
                <a:gd name="connsiteX17" fmla="*/ 10478 w 24765"/>
                <a:gd name="connsiteY17" fmla="*/ 17145 h 34289"/>
                <a:gd name="connsiteX18" fmla="*/ 12383 w 24765"/>
                <a:gd name="connsiteY18" fmla="*/ 17145 h 34289"/>
                <a:gd name="connsiteX19" fmla="*/ 15240 w 24765"/>
                <a:gd name="connsiteY19" fmla="*/ 18097 h 34289"/>
                <a:gd name="connsiteX20" fmla="*/ 17145 w 24765"/>
                <a:gd name="connsiteY20" fmla="*/ 13335 h 34289"/>
                <a:gd name="connsiteX21" fmla="*/ 14288 w 24765"/>
                <a:gd name="connsiteY21" fmla="*/ 10477 h 34289"/>
                <a:gd name="connsiteX22" fmla="*/ 12383 w 24765"/>
                <a:gd name="connsiteY22" fmla="*/ 4763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765" h="34289">
                  <a:moveTo>
                    <a:pt x="11430" y="0"/>
                  </a:moveTo>
                  <a:lnTo>
                    <a:pt x="14288" y="0"/>
                  </a:lnTo>
                  <a:lnTo>
                    <a:pt x="18098" y="2857"/>
                  </a:lnTo>
                  <a:lnTo>
                    <a:pt x="20955" y="8572"/>
                  </a:lnTo>
                  <a:lnTo>
                    <a:pt x="23813" y="16193"/>
                  </a:lnTo>
                  <a:lnTo>
                    <a:pt x="24765" y="20002"/>
                  </a:lnTo>
                  <a:lnTo>
                    <a:pt x="23813" y="26670"/>
                  </a:lnTo>
                  <a:lnTo>
                    <a:pt x="20003" y="27622"/>
                  </a:lnTo>
                  <a:lnTo>
                    <a:pt x="17145" y="24765"/>
                  </a:lnTo>
                  <a:lnTo>
                    <a:pt x="11430" y="24765"/>
                  </a:lnTo>
                  <a:lnTo>
                    <a:pt x="6668" y="27622"/>
                  </a:lnTo>
                  <a:lnTo>
                    <a:pt x="6668" y="32385"/>
                  </a:lnTo>
                  <a:lnTo>
                    <a:pt x="3810" y="34290"/>
                  </a:lnTo>
                  <a:lnTo>
                    <a:pt x="0" y="33338"/>
                  </a:lnTo>
                  <a:lnTo>
                    <a:pt x="0" y="31432"/>
                  </a:lnTo>
                  <a:lnTo>
                    <a:pt x="2858" y="27622"/>
                  </a:lnTo>
                  <a:lnTo>
                    <a:pt x="10478" y="21907"/>
                  </a:lnTo>
                  <a:lnTo>
                    <a:pt x="10478" y="17145"/>
                  </a:lnTo>
                  <a:lnTo>
                    <a:pt x="12383" y="17145"/>
                  </a:lnTo>
                  <a:lnTo>
                    <a:pt x="15240" y="18097"/>
                  </a:lnTo>
                  <a:lnTo>
                    <a:pt x="17145" y="13335"/>
                  </a:lnTo>
                  <a:lnTo>
                    <a:pt x="14288" y="10477"/>
                  </a:lnTo>
                  <a:lnTo>
                    <a:pt x="12383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CAC96B-AA17-44F3-ACB9-B6C60E65AABB}"/>
                </a:ext>
              </a:extLst>
            </p:cNvPr>
            <p:cNvSpPr/>
            <p:nvPr/>
          </p:nvSpPr>
          <p:spPr>
            <a:xfrm>
              <a:off x="6444614" y="3342322"/>
              <a:ext cx="9525" cy="10477"/>
            </a:xfrm>
            <a:custGeom>
              <a:avLst/>
              <a:gdLst>
                <a:gd name="connsiteX0" fmla="*/ 0 w 9525"/>
                <a:gd name="connsiteY0" fmla="*/ 3810 h 10477"/>
                <a:gd name="connsiteX1" fmla="*/ 2858 w 9525"/>
                <a:gd name="connsiteY1" fmla="*/ 3810 h 10477"/>
                <a:gd name="connsiteX2" fmla="*/ 2858 w 9525"/>
                <a:gd name="connsiteY2" fmla="*/ 5715 h 10477"/>
                <a:gd name="connsiteX3" fmla="*/ 3810 w 9525"/>
                <a:gd name="connsiteY3" fmla="*/ 8572 h 10477"/>
                <a:gd name="connsiteX4" fmla="*/ 5715 w 9525"/>
                <a:gd name="connsiteY4" fmla="*/ 10477 h 10477"/>
                <a:gd name="connsiteX5" fmla="*/ 7620 w 9525"/>
                <a:gd name="connsiteY5" fmla="*/ 10477 h 10477"/>
                <a:gd name="connsiteX6" fmla="*/ 9525 w 9525"/>
                <a:gd name="connsiteY6" fmla="*/ 7620 h 10477"/>
                <a:gd name="connsiteX7" fmla="*/ 7620 w 9525"/>
                <a:gd name="connsiteY7" fmla="*/ 4763 h 10477"/>
                <a:gd name="connsiteX8" fmla="*/ 4763 w 9525"/>
                <a:gd name="connsiteY8" fmla="*/ 0 h 10477"/>
                <a:gd name="connsiteX9" fmla="*/ 1905 w 9525"/>
                <a:gd name="connsiteY9" fmla="*/ 0 h 10477"/>
                <a:gd name="connsiteX10" fmla="*/ 0 w 9525"/>
                <a:gd name="connsiteY10" fmla="*/ 952 h 10477"/>
                <a:gd name="connsiteX11" fmla="*/ 0 w 9525"/>
                <a:gd name="connsiteY11" fmla="*/ 2857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25" h="10477">
                  <a:moveTo>
                    <a:pt x="0" y="3810"/>
                  </a:moveTo>
                  <a:lnTo>
                    <a:pt x="2858" y="3810"/>
                  </a:lnTo>
                  <a:lnTo>
                    <a:pt x="2858" y="5715"/>
                  </a:lnTo>
                  <a:lnTo>
                    <a:pt x="3810" y="8572"/>
                  </a:lnTo>
                  <a:lnTo>
                    <a:pt x="5715" y="10477"/>
                  </a:lnTo>
                  <a:lnTo>
                    <a:pt x="7620" y="10477"/>
                  </a:lnTo>
                  <a:lnTo>
                    <a:pt x="9525" y="7620"/>
                  </a:lnTo>
                  <a:lnTo>
                    <a:pt x="7620" y="4763"/>
                  </a:lnTo>
                  <a:lnTo>
                    <a:pt x="4763" y="0"/>
                  </a:lnTo>
                  <a:lnTo>
                    <a:pt x="1905" y="0"/>
                  </a:lnTo>
                  <a:lnTo>
                    <a:pt x="0" y="952"/>
                  </a:lnTo>
                  <a:lnTo>
                    <a:pt x="0" y="2857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478AA2F-A725-4078-8E28-713559677E43}"/>
                </a:ext>
              </a:extLst>
            </p:cNvPr>
            <p:cNvSpPr/>
            <p:nvPr/>
          </p:nvSpPr>
          <p:spPr>
            <a:xfrm>
              <a:off x="6454139" y="3333750"/>
              <a:ext cx="8572" cy="4762"/>
            </a:xfrm>
            <a:custGeom>
              <a:avLst/>
              <a:gdLst>
                <a:gd name="connsiteX0" fmla="*/ 0 w 8572"/>
                <a:gd name="connsiteY0" fmla="*/ 4763 h 4762"/>
                <a:gd name="connsiteX1" fmla="*/ 3810 w 8572"/>
                <a:gd name="connsiteY1" fmla="*/ 4763 h 4762"/>
                <a:gd name="connsiteX2" fmla="*/ 5715 w 8572"/>
                <a:gd name="connsiteY2" fmla="*/ 3810 h 4762"/>
                <a:gd name="connsiteX3" fmla="*/ 8573 w 8572"/>
                <a:gd name="connsiteY3" fmla="*/ 952 h 4762"/>
                <a:gd name="connsiteX4" fmla="*/ 6668 w 8572"/>
                <a:gd name="connsiteY4" fmla="*/ 0 h 4762"/>
                <a:gd name="connsiteX5" fmla="*/ 2858 w 8572"/>
                <a:gd name="connsiteY5" fmla="*/ 952 h 4762"/>
                <a:gd name="connsiteX6" fmla="*/ 952 w 8572"/>
                <a:gd name="connsiteY6" fmla="*/ 1905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2" h="4762">
                  <a:moveTo>
                    <a:pt x="0" y="4763"/>
                  </a:moveTo>
                  <a:lnTo>
                    <a:pt x="3810" y="4763"/>
                  </a:lnTo>
                  <a:lnTo>
                    <a:pt x="5715" y="3810"/>
                  </a:lnTo>
                  <a:lnTo>
                    <a:pt x="8573" y="952"/>
                  </a:lnTo>
                  <a:lnTo>
                    <a:pt x="6668" y="0"/>
                  </a:lnTo>
                  <a:lnTo>
                    <a:pt x="2858" y="952"/>
                  </a:lnTo>
                  <a:lnTo>
                    <a:pt x="952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9D60EAA-1878-46B2-AEBF-96E303534D71}"/>
                </a:ext>
              </a:extLst>
            </p:cNvPr>
            <p:cNvSpPr/>
            <p:nvPr/>
          </p:nvSpPr>
          <p:spPr>
            <a:xfrm>
              <a:off x="6334125" y="3258502"/>
              <a:ext cx="6667" cy="15240"/>
            </a:xfrm>
            <a:custGeom>
              <a:avLst/>
              <a:gdLst>
                <a:gd name="connsiteX0" fmla="*/ 3810 w 6667"/>
                <a:gd name="connsiteY0" fmla="*/ 953 h 15240"/>
                <a:gd name="connsiteX1" fmla="*/ 5715 w 6667"/>
                <a:gd name="connsiteY1" fmla="*/ 0 h 15240"/>
                <a:gd name="connsiteX2" fmla="*/ 6667 w 6667"/>
                <a:gd name="connsiteY2" fmla="*/ 953 h 15240"/>
                <a:gd name="connsiteX3" fmla="*/ 6667 w 6667"/>
                <a:gd name="connsiteY3" fmla="*/ 8573 h 15240"/>
                <a:gd name="connsiteX4" fmla="*/ 4763 w 6667"/>
                <a:gd name="connsiteY4" fmla="*/ 12383 h 15240"/>
                <a:gd name="connsiteX5" fmla="*/ 2858 w 6667"/>
                <a:gd name="connsiteY5" fmla="*/ 15240 h 15240"/>
                <a:gd name="connsiteX6" fmla="*/ 0 w 6667"/>
                <a:gd name="connsiteY6" fmla="*/ 15240 h 15240"/>
                <a:gd name="connsiteX7" fmla="*/ 0 w 6667"/>
                <a:gd name="connsiteY7" fmla="*/ 13335 h 15240"/>
                <a:gd name="connsiteX8" fmla="*/ 2858 w 6667"/>
                <a:gd name="connsiteY8" fmla="*/ 10478 h 15240"/>
                <a:gd name="connsiteX9" fmla="*/ 4763 w 6667"/>
                <a:gd name="connsiteY9" fmla="*/ 6668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" h="15240">
                  <a:moveTo>
                    <a:pt x="3810" y="953"/>
                  </a:moveTo>
                  <a:lnTo>
                    <a:pt x="5715" y="0"/>
                  </a:lnTo>
                  <a:lnTo>
                    <a:pt x="6667" y="953"/>
                  </a:lnTo>
                  <a:lnTo>
                    <a:pt x="6667" y="8573"/>
                  </a:lnTo>
                  <a:lnTo>
                    <a:pt x="4763" y="12383"/>
                  </a:lnTo>
                  <a:lnTo>
                    <a:pt x="2858" y="15240"/>
                  </a:lnTo>
                  <a:lnTo>
                    <a:pt x="0" y="15240"/>
                  </a:lnTo>
                  <a:lnTo>
                    <a:pt x="0" y="13335"/>
                  </a:lnTo>
                  <a:lnTo>
                    <a:pt x="2858" y="10478"/>
                  </a:lnTo>
                  <a:lnTo>
                    <a:pt x="4763" y="66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AAFCB98-8A8D-47F8-9BBD-901A40ADEB3E}"/>
                </a:ext>
              </a:extLst>
            </p:cNvPr>
            <p:cNvSpPr/>
            <p:nvPr/>
          </p:nvSpPr>
          <p:spPr>
            <a:xfrm>
              <a:off x="6178867" y="3300412"/>
              <a:ext cx="26669" cy="41910"/>
            </a:xfrm>
            <a:custGeom>
              <a:avLst/>
              <a:gdLst>
                <a:gd name="connsiteX0" fmla="*/ 17145 w 26669"/>
                <a:gd name="connsiteY0" fmla="*/ 5715 h 41910"/>
                <a:gd name="connsiteX1" fmla="*/ 15240 w 26669"/>
                <a:gd name="connsiteY1" fmla="*/ 5715 h 41910"/>
                <a:gd name="connsiteX2" fmla="*/ 15240 w 26669"/>
                <a:gd name="connsiteY2" fmla="*/ 7620 h 41910"/>
                <a:gd name="connsiteX3" fmla="*/ 13335 w 26669"/>
                <a:gd name="connsiteY3" fmla="*/ 8573 h 41910"/>
                <a:gd name="connsiteX4" fmla="*/ 11430 w 26669"/>
                <a:gd name="connsiteY4" fmla="*/ 10477 h 41910"/>
                <a:gd name="connsiteX5" fmla="*/ 11430 w 26669"/>
                <a:gd name="connsiteY5" fmla="*/ 11430 h 41910"/>
                <a:gd name="connsiteX6" fmla="*/ 14288 w 26669"/>
                <a:gd name="connsiteY6" fmla="*/ 13335 h 41910"/>
                <a:gd name="connsiteX7" fmla="*/ 18097 w 26669"/>
                <a:gd name="connsiteY7" fmla="*/ 19050 h 41910"/>
                <a:gd name="connsiteX8" fmla="*/ 18097 w 26669"/>
                <a:gd name="connsiteY8" fmla="*/ 24765 h 41910"/>
                <a:gd name="connsiteX9" fmla="*/ 20955 w 26669"/>
                <a:gd name="connsiteY9" fmla="*/ 27623 h 41910"/>
                <a:gd name="connsiteX10" fmla="*/ 23813 w 26669"/>
                <a:gd name="connsiteY10" fmla="*/ 31432 h 41910"/>
                <a:gd name="connsiteX11" fmla="*/ 24765 w 26669"/>
                <a:gd name="connsiteY11" fmla="*/ 36195 h 41910"/>
                <a:gd name="connsiteX12" fmla="*/ 26670 w 26669"/>
                <a:gd name="connsiteY12" fmla="*/ 38100 h 41910"/>
                <a:gd name="connsiteX13" fmla="*/ 26670 w 26669"/>
                <a:gd name="connsiteY13" fmla="*/ 40005 h 41910"/>
                <a:gd name="connsiteX14" fmla="*/ 23813 w 26669"/>
                <a:gd name="connsiteY14" fmla="*/ 41910 h 41910"/>
                <a:gd name="connsiteX15" fmla="*/ 20955 w 26669"/>
                <a:gd name="connsiteY15" fmla="*/ 41910 h 41910"/>
                <a:gd name="connsiteX16" fmla="*/ 14288 w 26669"/>
                <a:gd name="connsiteY16" fmla="*/ 38100 h 41910"/>
                <a:gd name="connsiteX17" fmla="*/ 10477 w 26669"/>
                <a:gd name="connsiteY17" fmla="*/ 37148 h 41910"/>
                <a:gd name="connsiteX18" fmla="*/ 10477 w 26669"/>
                <a:gd name="connsiteY18" fmla="*/ 31432 h 41910"/>
                <a:gd name="connsiteX19" fmla="*/ 12382 w 26669"/>
                <a:gd name="connsiteY19" fmla="*/ 25718 h 41910"/>
                <a:gd name="connsiteX20" fmla="*/ 7620 w 26669"/>
                <a:gd name="connsiteY20" fmla="*/ 20002 h 41910"/>
                <a:gd name="connsiteX21" fmla="*/ 0 w 26669"/>
                <a:gd name="connsiteY21" fmla="*/ 12382 h 41910"/>
                <a:gd name="connsiteX22" fmla="*/ 0 w 26669"/>
                <a:gd name="connsiteY22" fmla="*/ 6668 h 41910"/>
                <a:gd name="connsiteX23" fmla="*/ 5715 w 26669"/>
                <a:gd name="connsiteY23" fmla="*/ 2857 h 41910"/>
                <a:gd name="connsiteX24" fmla="*/ 12382 w 26669"/>
                <a:gd name="connsiteY24" fmla="*/ 952 h 41910"/>
                <a:gd name="connsiteX25" fmla="*/ 15240 w 26669"/>
                <a:gd name="connsiteY25" fmla="*/ 0 h 41910"/>
                <a:gd name="connsiteX26" fmla="*/ 18097 w 26669"/>
                <a:gd name="connsiteY26" fmla="*/ 0 h 41910"/>
                <a:gd name="connsiteX27" fmla="*/ 19050 w 26669"/>
                <a:gd name="connsiteY27" fmla="*/ 1905 h 41910"/>
                <a:gd name="connsiteX28" fmla="*/ 19050 w 26669"/>
                <a:gd name="connsiteY28" fmla="*/ 381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669" h="41910">
                  <a:moveTo>
                    <a:pt x="17145" y="5715"/>
                  </a:moveTo>
                  <a:lnTo>
                    <a:pt x="15240" y="5715"/>
                  </a:lnTo>
                  <a:lnTo>
                    <a:pt x="15240" y="7620"/>
                  </a:lnTo>
                  <a:lnTo>
                    <a:pt x="13335" y="8573"/>
                  </a:lnTo>
                  <a:lnTo>
                    <a:pt x="11430" y="10477"/>
                  </a:lnTo>
                  <a:lnTo>
                    <a:pt x="11430" y="11430"/>
                  </a:lnTo>
                  <a:lnTo>
                    <a:pt x="14288" y="13335"/>
                  </a:lnTo>
                  <a:lnTo>
                    <a:pt x="18097" y="19050"/>
                  </a:lnTo>
                  <a:lnTo>
                    <a:pt x="18097" y="24765"/>
                  </a:lnTo>
                  <a:lnTo>
                    <a:pt x="20955" y="27623"/>
                  </a:lnTo>
                  <a:lnTo>
                    <a:pt x="23813" y="31432"/>
                  </a:lnTo>
                  <a:lnTo>
                    <a:pt x="24765" y="36195"/>
                  </a:lnTo>
                  <a:lnTo>
                    <a:pt x="26670" y="38100"/>
                  </a:lnTo>
                  <a:lnTo>
                    <a:pt x="26670" y="40005"/>
                  </a:lnTo>
                  <a:lnTo>
                    <a:pt x="23813" y="41910"/>
                  </a:lnTo>
                  <a:lnTo>
                    <a:pt x="20955" y="41910"/>
                  </a:lnTo>
                  <a:lnTo>
                    <a:pt x="14288" y="38100"/>
                  </a:lnTo>
                  <a:lnTo>
                    <a:pt x="10477" y="37148"/>
                  </a:lnTo>
                  <a:lnTo>
                    <a:pt x="10477" y="31432"/>
                  </a:lnTo>
                  <a:lnTo>
                    <a:pt x="12382" y="25718"/>
                  </a:lnTo>
                  <a:lnTo>
                    <a:pt x="7620" y="20002"/>
                  </a:lnTo>
                  <a:lnTo>
                    <a:pt x="0" y="12382"/>
                  </a:lnTo>
                  <a:lnTo>
                    <a:pt x="0" y="6668"/>
                  </a:lnTo>
                  <a:lnTo>
                    <a:pt x="5715" y="2857"/>
                  </a:lnTo>
                  <a:lnTo>
                    <a:pt x="12382" y="952"/>
                  </a:lnTo>
                  <a:lnTo>
                    <a:pt x="15240" y="0"/>
                  </a:lnTo>
                  <a:lnTo>
                    <a:pt x="18097" y="0"/>
                  </a:lnTo>
                  <a:lnTo>
                    <a:pt x="19050" y="1905"/>
                  </a:lnTo>
                  <a:lnTo>
                    <a:pt x="1905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D053B21-7D94-48B7-9F20-80234DA60441}"/>
                </a:ext>
              </a:extLst>
            </p:cNvPr>
            <p:cNvSpPr/>
            <p:nvPr/>
          </p:nvSpPr>
          <p:spPr>
            <a:xfrm>
              <a:off x="6213157" y="3299460"/>
              <a:ext cx="9525" cy="12382"/>
            </a:xfrm>
            <a:custGeom>
              <a:avLst/>
              <a:gdLst>
                <a:gd name="connsiteX0" fmla="*/ 3810 w 9525"/>
                <a:gd name="connsiteY0" fmla="*/ 0 h 12382"/>
                <a:gd name="connsiteX1" fmla="*/ 8573 w 9525"/>
                <a:gd name="connsiteY1" fmla="*/ 0 h 12382"/>
                <a:gd name="connsiteX2" fmla="*/ 8573 w 9525"/>
                <a:gd name="connsiteY2" fmla="*/ 952 h 12382"/>
                <a:gd name="connsiteX3" fmla="*/ 9525 w 9525"/>
                <a:gd name="connsiteY3" fmla="*/ 7620 h 12382"/>
                <a:gd name="connsiteX4" fmla="*/ 7620 w 9525"/>
                <a:gd name="connsiteY4" fmla="*/ 11430 h 12382"/>
                <a:gd name="connsiteX5" fmla="*/ 4763 w 9525"/>
                <a:gd name="connsiteY5" fmla="*/ 12382 h 12382"/>
                <a:gd name="connsiteX6" fmla="*/ 1905 w 9525"/>
                <a:gd name="connsiteY6" fmla="*/ 12382 h 12382"/>
                <a:gd name="connsiteX7" fmla="*/ 0 w 9525"/>
                <a:gd name="connsiteY7" fmla="*/ 8572 h 12382"/>
                <a:gd name="connsiteX8" fmla="*/ 953 w 9525"/>
                <a:gd name="connsiteY8" fmla="*/ 3810 h 12382"/>
                <a:gd name="connsiteX9" fmla="*/ 2857 w 9525"/>
                <a:gd name="connsiteY9" fmla="*/ 1905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" h="12382">
                  <a:moveTo>
                    <a:pt x="3810" y="0"/>
                  </a:moveTo>
                  <a:lnTo>
                    <a:pt x="8573" y="0"/>
                  </a:lnTo>
                  <a:lnTo>
                    <a:pt x="8573" y="952"/>
                  </a:lnTo>
                  <a:lnTo>
                    <a:pt x="9525" y="7620"/>
                  </a:lnTo>
                  <a:lnTo>
                    <a:pt x="7620" y="11430"/>
                  </a:lnTo>
                  <a:lnTo>
                    <a:pt x="4763" y="12382"/>
                  </a:lnTo>
                  <a:lnTo>
                    <a:pt x="1905" y="12382"/>
                  </a:lnTo>
                  <a:lnTo>
                    <a:pt x="0" y="8572"/>
                  </a:lnTo>
                  <a:lnTo>
                    <a:pt x="953" y="3810"/>
                  </a:lnTo>
                  <a:lnTo>
                    <a:pt x="2857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417843E-DD30-4D93-8690-826F056BBA8C}"/>
                </a:ext>
              </a:extLst>
            </p:cNvPr>
            <p:cNvSpPr/>
            <p:nvPr/>
          </p:nvSpPr>
          <p:spPr>
            <a:xfrm>
              <a:off x="6254114" y="3296602"/>
              <a:ext cx="18097" cy="8572"/>
            </a:xfrm>
            <a:custGeom>
              <a:avLst/>
              <a:gdLst>
                <a:gd name="connsiteX0" fmla="*/ 1905 w 18097"/>
                <a:gd name="connsiteY0" fmla="*/ 3810 h 8572"/>
                <a:gd name="connsiteX1" fmla="*/ 0 w 18097"/>
                <a:gd name="connsiteY1" fmla="*/ 4763 h 8572"/>
                <a:gd name="connsiteX2" fmla="*/ 952 w 18097"/>
                <a:gd name="connsiteY2" fmla="*/ 6668 h 8572"/>
                <a:gd name="connsiteX3" fmla="*/ 1905 w 18097"/>
                <a:gd name="connsiteY3" fmla="*/ 6668 h 8572"/>
                <a:gd name="connsiteX4" fmla="*/ 3810 w 18097"/>
                <a:gd name="connsiteY4" fmla="*/ 8573 h 8572"/>
                <a:gd name="connsiteX5" fmla="*/ 4763 w 18097"/>
                <a:gd name="connsiteY5" fmla="*/ 8573 h 8572"/>
                <a:gd name="connsiteX6" fmla="*/ 5715 w 18097"/>
                <a:gd name="connsiteY6" fmla="*/ 6668 h 8572"/>
                <a:gd name="connsiteX7" fmla="*/ 5715 w 18097"/>
                <a:gd name="connsiteY7" fmla="*/ 4763 h 8572"/>
                <a:gd name="connsiteX8" fmla="*/ 10477 w 18097"/>
                <a:gd name="connsiteY8" fmla="*/ 4763 h 8572"/>
                <a:gd name="connsiteX9" fmla="*/ 14288 w 18097"/>
                <a:gd name="connsiteY9" fmla="*/ 3810 h 8572"/>
                <a:gd name="connsiteX10" fmla="*/ 18098 w 18097"/>
                <a:gd name="connsiteY10" fmla="*/ 2858 h 8572"/>
                <a:gd name="connsiteX11" fmla="*/ 18098 w 18097"/>
                <a:gd name="connsiteY11" fmla="*/ 953 h 8572"/>
                <a:gd name="connsiteX12" fmla="*/ 15240 w 18097"/>
                <a:gd name="connsiteY12" fmla="*/ 953 h 8572"/>
                <a:gd name="connsiteX13" fmla="*/ 14288 w 18097"/>
                <a:gd name="connsiteY13" fmla="*/ 1905 h 8572"/>
                <a:gd name="connsiteX14" fmla="*/ 12383 w 18097"/>
                <a:gd name="connsiteY14" fmla="*/ 1905 h 8572"/>
                <a:gd name="connsiteX15" fmla="*/ 9525 w 18097"/>
                <a:gd name="connsiteY15" fmla="*/ 953 h 8572"/>
                <a:gd name="connsiteX16" fmla="*/ 7620 w 18097"/>
                <a:gd name="connsiteY16" fmla="*/ 0 h 8572"/>
                <a:gd name="connsiteX17" fmla="*/ 5715 w 18097"/>
                <a:gd name="connsiteY17" fmla="*/ 0 h 8572"/>
                <a:gd name="connsiteX18" fmla="*/ 3810 w 18097"/>
                <a:gd name="connsiteY18" fmla="*/ 1905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097" h="8572">
                  <a:moveTo>
                    <a:pt x="1905" y="3810"/>
                  </a:moveTo>
                  <a:lnTo>
                    <a:pt x="0" y="4763"/>
                  </a:lnTo>
                  <a:lnTo>
                    <a:pt x="952" y="6668"/>
                  </a:lnTo>
                  <a:lnTo>
                    <a:pt x="1905" y="6668"/>
                  </a:lnTo>
                  <a:lnTo>
                    <a:pt x="3810" y="8573"/>
                  </a:lnTo>
                  <a:lnTo>
                    <a:pt x="4763" y="8573"/>
                  </a:lnTo>
                  <a:lnTo>
                    <a:pt x="5715" y="6668"/>
                  </a:lnTo>
                  <a:lnTo>
                    <a:pt x="5715" y="4763"/>
                  </a:lnTo>
                  <a:lnTo>
                    <a:pt x="10477" y="4763"/>
                  </a:lnTo>
                  <a:lnTo>
                    <a:pt x="14288" y="3810"/>
                  </a:lnTo>
                  <a:lnTo>
                    <a:pt x="18098" y="2858"/>
                  </a:lnTo>
                  <a:lnTo>
                    <a:pt x="18098" y="953"/>
                  </a:lnTo>
                  <a:lnTo>
                    <a:pt x="15240" y="953"/>
                  </a:lnTo>
                  <a:lnTo>
                    <a:pt x="14288" y="1905"/>
                  </a:lnTo>
                  <a:lnTo>
                    <a:pt x="12383" y="1905"/>
                  </a:lnTo>
                  <a:lnTo>
                    <a:pt x="9525" y="953"/>
                  </a:lnTo>
                  <a:lnTo>
                    <a:pt x="7620" y="0"/>
                  </a:lnTo>
                  <a:lnTo>
                    <a:pt x="5715" y="0"/>
                  </a:lnTo>
                  <a:lnTo>
                    <a:pt x="381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76F6584-4474-46A3-96C1-92D03F189BA5}"/>
                </a:ext>
              </a:extLst>
            </p:cNvPr>
            <p:cNvSpPr/>
            <p:nvPr/>
          </p:nvSpPr>
          <p:spPr>
            <a:xfrm>
              <a:off x="6142672" y="3484244"/>
              <a:ext cx="10477" cy="12382"/>
            </a:xfrm>
            <a:custGeom>
              <a:avLst/>
              <a:gdLst>
                <a:gd name="connsiteX0" fmla="*/ 952 w 10477"/>
                <a:gd name="connsiteY0" fmla="*/ 1905 h 12382"/>
                <a:gd name="connsiteX1" fmla="*/ 5715 w 10477"/>
                <a:gd name="connsiteY1" fmla="*/ 0 h 12382"/>
                <a:gd name="connsiteX2" fmla="*/ 7620 w 10477"/>
                <a:gd name="connsiteY2" fmla="*/ 0 h 12382"/>
                <a:gd name="connsiteX3" fmla="*/ 10477 w 10477"/>
                <a:gd name="connsiteY3" fmla="*/ 953 h 12382"/>
                <a:gd name="connsiteX4" fmla="*/ 10477 w 10477"/>
                <a:gd name="connsiteY4" fmla="*/ 2857 h 12382"/>
                <a:gd name="connsiteX5" fmla="*/ 8572 w 10477"/>
                <a:gd name="connsiteY5" fmla="*/ 4763 h 12382"/>
                <a:gd name="connsiteX6" fmla="*/ 6667 w 10477"/>
                <a:gd name="connsiteY6" fmla="*/ 7620 h 12382"/>
                <a:gd name="connsiteX7" fmla="*/ 6667 w 10477"/>
                <a:gd name="connsiteY7" fmla="*/ 12382 h 12382"/>
                <a:gd name="connsiteX8" fmla="*/ 3810 w 10477"/>
                <a:gd name="connsiteY8" fmla="*/ 12382 h 12382"/>
                <a:gd name="connsiteX9" fmla="*/ 0 w 10477"/>
                <a:gd name="connsiteY9" fmla="*/ 9525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" h="12382">
                  <a:moveTo>
                    <a:pt x="952" y="1905"/>
                  </a:moveTo>
                  <a:lnTo>
                    <a:pt x="5715" y="0"/>
                  </a:lnTo>
                  <a:lnTo>
                    <a:pt x="7620" y="0"/>
                  </a:lnTo>
                  <a:lnTo>
                    <a:pt x="10477" y="953"/>
                  </a:lnTo>
                  <a:lnTo>
                    <a:pt x="10477" y="2857"/>
                  </a:lnTo>
                  <a:lnTo>
                    <a:pt x="8572" y="4763"/>
                  </a:lnTo>
                  <a:lnTo>
                    <a:pt x="6667" y="7620"/>
                  </a:lnTo>
                  <a:lnTo>
                    <a:pt x="6667" y="12382"/>
                  </a:lnTo>
                  <a:lnTo>
                    <a:pt x="3810" y="12382"/>
                  </a:lnTo>
                  <a:lnTo>
                    <a:pt x="0" y="9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E24C94B-5BD8-4DB9-86B1-1F067BD1AFD1}"/>
                </a:ext>
              </a:extLst>
            </p:cNvPr>
            <p:cNvSpPr/>
            <p:nvPr/>
          </p:nvSpPr>
          <p:spPr>
            <a:xfrm>
              <a:off x="6135052" y="3503294"/>
              <a:ext cx="4762" cy="14287"/>
            </a:xfrm>
            <a:custGeom>
              <a:avLst/>
              <a:gdLst>
                <a:gd name="connsiteX0" fmla="*/ 0 w 4762"/>
                <a:gd name="connsiteY0" fmla="*/ 0 h 14287"/>
                <a:gd name="connsiteX1" fmla="*/ 0 w 4762"/>
                <a:gd name="connsiteY1" fmla="*/ 8573 h 14287"/>
                <a:gd name="connsiteX2" fmla="*/ 2858 w 4762"/>
                <a:gd name="connsiteY2" fmla="*/ 14288 h 14287"/>
                <a:gd name="connsiteX3" fmla="*/ 4763 w 4762"/>
                <a:gd name="connsiteY3" fmla="*/ 14288 h 14287"/>
                <a:gd name="connsiteX4" fmla="*/ 4763 w 4762"/>
                <a:gd name="connsiteY4" fmla="*/ 10478 h 14287"/>
                <a:gd name="connsiteX5" fmla="*/ 2858 w 4762"/>
                <a:gd name="connsiteY5" fmla="*/ 5715 h 14287"/>
                <a:gd name="connsiteX6" fmla="*/ 2858 w 4762"/>
                <a:gd name="connsiteY6" fmla="*/ 1905 h 14287"/>
                <a:gd name="connsiteX7" fmla="*/ 1905 w 4762"/>
                <a:gd name="connsiteY7" fmla="*/ 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62" h="14287">
                  <a:moveTo>
                    <a:pt x="0" y="0"/>
                  </a:moveTo>
                  <a:lnTo>
                    <a:pt x="0" y="8573"/>
                  </a:lnTo>
                  <a:lnTo>
                    <a:pt x="2858" y="14288"/>
                  </a:lnTo>
                  <a:lnTo>
                    <a:pt x="4763" y="14288"/>
                  </a:lnTo>
                  <a:lnTo>
                    <a:pt x="4763" y="10478"/>
                  </a:lnTo>
                  <a:lnTo>
                    <a:pt x="2858" y="5715"/>
                  </a:lnTo>
                  <a:lnTo>
                    <a:pt x="2858" y="1905"/>
                  </a:lnTo>
                  <a:lnTo>
                    <a:pt x="190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4B71F3A-AA63-4C97-BDEF-1B3F670B04B6}"/>
                </a:ext>
              </a:extLst>
            </p:cNvPr>
            <p:cNvSpPr/>
            <p:nvPr/>
          </p:nvSpPr>
          <p:spPr>
            <a:xfrm>
              <a:off x="6148387" y="3524250"/>
              <a:ext cx="3810" cy="18097"/>
            </a:xfrm>
            <a:custGeom>
              <a:avLst/>
              <a:gdLst>
                <a:gd name="connsiteX0" fmla="*/ 0 w 3810"/>
                <a:gd name="connsiteY0" fmla="*/ 0 h 18097"/>
                <a:gd name="connsiteX1" fmla="*/ 1905 w 3810"/>
                <a:gd name="connsiteY1" fmla="*/ 0 h 18097"/>
                <a:gd name="connsiteX2" fmla="*/ 1905 w 3810"/>
                <a:gd name="connsiteY2" fmla="*/ 3810 h 18097"/>
                <a:gd name="connsiteX3" fmla="*/ 2857 w 3810"/>
                <a:gd name="connsiteY3" fmla="*/ 11430 h 18097"/>
                <a:gd name="connsiteX4" fmla="*/ 3810 w 3810"/>
                <a:gd name="connsiteY4" fmla="*/ 18098 h 18097"/>
                <a:gd name="connsiteX5" fmla="*/ 1905 w 3810"/>
                <a:gd name="connsiteY5" fmla="*/ 17145 h 18097"/>
                <a:gd name="connsiteX6" fmla="*/ 952 w 3810"/>
                <a:gd name="connsiteY6" fmla="*/ 15240 h 18097"/>
                <a:gd name="connsiteX7" fmla="*/ 952 w 3810"/>
                <a:gd name="connsiteY7" fmla="*/ 10477 h 18097"/>
                <a:gd name="connsiteX8" fmla="*/ 952 w 3810"/>
                <a:gd name="connsiteY8" fmla="*/ 4763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" h="18097">
                  <a:moveTo>
                    <a:pt x="0" y="0"/>
                  </a:moveTo>
                  <a:lnTo>
                    <a:pt x="1905" y="0"/>
                  </a:lnTo>
                  <a:lnTo>
                    <a:pt x="1905" y="3810"/>
                  </a:lnTo>
                  <a:lnTo>
                    <a:pt x="2857" y="11430"/>
                  </a:lnTo>
                  <a:lnTo>
                    <a:pt x="3810" y="18098"/>
                  </a:lnTo>
                  <a:lnTo>
                    <a:pt x="1905" y="17145"/>
                  </a:lnTo>
                  <a:lnTo>
                    <a:pt x="952" y="15240"/>
                  </a:lnTo>
                  <a:lnTo>
                    <a:pt x="952" y="10477"/>
                  </a:lnTo>
                  <a:lnTo>
                    <a:pt x="952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DB57E26-0E1E-4A0A-99DE-E5979DD81418}"/>
                </a:ext>
              </a:extLst>
            </p:cNvPr>
            <p:cNvSpPr/>
            <p:nvPr/>
          </p:nvSpPr>
          <p:spPr>
            <a:xfrm>
              <a:off x="6177914" y="3532822"/>
              <a:ext cx="24765" cy="53339"/>
            </a:xfrm>
            <a:custGeom>
              <a:avLst/>
              <a:gdLst>
                <a:gd name="connsiteX0" fmla="*/ 3810 w 24765"/>
                <a:gd name="connsiteY0" fmla="*/ 31432 h 53339"/>
                <a:gd name="connsiteX1" fmla="*/ 4763 w 24765"/>
                <a:gd name="connsiteY1" fmla="*/ 26670 h 53339"/>
                <a:gd name="connsiteX2" fmla="*/ 2858 w 24765"/>
                <a:gd name="connsiteY2" fmla="*/ 25717 h 53339"/>
                <a:gd name="connsiteX3" fmla="*/ 4763 w 24765"/>
                <a:gd name="connsiteY3" fmla="*/ 19050 h 53339"/>
                <a:gd name="connsiteX4" fmla="*/ 10478 w 24765"/>
                <a:gd name="connsiteY4" fmla="*/ 14288 h 53339"/>
                <a:gd name="connsiteX5" fmla="*/ 13335 w 24765"/>
                <a:gd name="connsiteY5" fmla="*/ 12382 h 53339"/>
                <a:gd name="connsiteX6" fmla="*/ 16193 w 24765"/>
                <a:gd name="connsiteY6" fmla="*/ 7620 h 53339"/>
                <a:gd name="connsiteX7" fmla="*/ 22860 w 24765"/>
                <a:gd name="connsiteY7" fmla="*/ 952 h 53339"/>
                <a:gd name="connsiteX8" fmla="*/ 24765 w 24765"/>
                <a:gd name="connsiteY8" fmla="*/ 0 h 53339"/>
                <a:gd name="connsiteX9" fmla="*/ 24765 w 24765"/>
                <a:gd name="connsiteY9" fmla="*/ 5715 h 53339"/>
                <a:gd name="connsiteX10" fmla="*/ 24765 w 24765"/>
                <a:gd name="connsiteY10" fmla="*/ 17145 h 53339"/>
                <a:gd name="connsiteX11" fmla="*/ 18098 w 24765"/>
                <a:gd name="connsiteY11" fmla="*/ 35242 h 53339"/>
                <a:gd name="connsiteX12" fmla="*/ 13335 w 24765"/>
                <a:gd name="connsiteY12" fmla="*/ 50482 h 53339"/>
                <a:gd name="connsiteX13" fmla="*/ 6668 w 24765"/>
                <a:gd name="connsiteY13" fmla="*/ 53340 h 53339"/>
                <a:gd name="connsiteX14" fmla="*/ 2858 w 24765"/>
                <a:gd name="connsiteY14" fmla="*/ 53340 h 53339"/>
                <a:gd name="connsiteX15" fmla="*/ 0 w 24765"/>
                <a:gd name="connsiteY15" fmla="*/ 46673 h 53339"/>
                <a:gd name="connsiteX16" fmla="*/ 0 w 24765"/>
                <a:gd name="connsiteY16" fmla="*/ 40957 h 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765" h="53339">
                  <a:moveTo>
                    <a:pt x="3810" y="31432"/>
                  </a:moveTo>
                  <a:lnTo>
                    <a:pt x="4763" y="26670"/>
                  </a:lnTo>
                  <a:lnTo>
                    <a:pt x="2858" y="25717"/>
                  </a:lnTo>
                  <a:lnTo>
                    <a:pt x="4763" y="19050"/>
                  </a:lnTo>
                  <a:lnTo>
                    <a:pt x="10478" y="14288"/>
                  </a:lnTo>
                  <a:lnTo>
                    <a:pt x="13335" y="12382"/>
                  </a:lnTo>
                  <a:lnTo>
                    <a:pt x="16193" y="7620"/>
                  </a:lnTo>
                  <a:lnTo>
                    <a:pt x="22860" y="952"/>
                  </a:lnTo>
                  <a:lnTo>
                    <a:pt x="24765" y="0"/>
                  </a:lnTo>
                  <a:lnTo>
                    <a:pt x="24765" y="5715"/>
                  </a:lnTo>
                  <a:lnTo>
                    <a:pt x="24765" y="17145"/>
                  </a:lnTo>
                  <a:lnTo>
                    <a:pt x="18098" y="35242"/>
                  </a:lnTo>
                  <a:lnTo>
                    <a:pt x="13335" y="50482"/>
                  </a:lnTo>
                  <a:lnTo>
                    <a:pt x="6668" y="53340"/>
                  </a:lnTo>
                  <a:lnTo>
                    <a:pt x="2858" y="53340"/>
                  </a:lnTo>
                  <a:lnTo>
                    <a:pt x="0" y="46673"/>
                  </a:lnTo>
                  <a:lnTo>
                    <a:pt x="0" y="40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54BA3130-7206-432D-912C-D2E5A8C35B0D}"/>
                </a:ext>
              </a:extLst>
            </p:cNvPr>
            <p:cNvSpPr/>
            <p:nvPr/>
          </p:nvSpPr>
          <p:spPr>
            <a:xfrm>
              <a:off x="6217919" y="3567112"/>
              <a:ext cx="4762" cy="3810"/>
            </a:xfrm>
            <a:custGeom>
              <a:avLst/>
              <a:gdLst>
                <a:gd name="connsiteX0" fmla="*/ 0 w 4762"/>
                <a:gd name="connsiteY0" fmla="*/ 0 h 3810"/>
                <a:gd name="connsiteX1" fmla="*/ 0 w 4762"/>
                <a:gd name="connsiteY1" fmla="*/ 2858 h 3810"/>
                <a:gd name="connsiteX2" fmla="*/ 2857 w 4762"/>
                <a:gd name="connsiteY2" fmla="*/ 3810 h 3810"/>
                <a:gd name="connsiteX3" fmla="*/ 4763 w 4762"/>
                <a:gd name="connsiteY3" fmla="*/ 3810 h 3810"/>
                <a:gd name="connsiteX4" fmla="*/ 4763 w 4762"/>
                <a:gd name="connsiteY4" fmla="*/ 1905 h 3810"/>
                <a:gd name="connsiteX5" fmla="*/ 2857 w 4762"/>
                <a:gd name="connsiteY5" fmla="*/ 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" h="3810">
                  <a:moveTo>
                    <a:pt x="0" y="0"/>
                  </a:moveTo>
                  <a:lnTo>
                    <a:pt x="0" y="2858"/>
                  </a:lnTo>
                  <a:lnTo>
                    <a:pt x="2857" y="3810"/>
                  </a:lnTo>
                  <a:lnTo>
                    <a:pt x="4763" y="3810"/>
                  </a:lnTo>
                  <a:lnTo>
                    <a:pt x="4763" y="1905"/>
                  </a:lnTo>
                  <a:lnTo>
                    <a:pt x="285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AA4520D-8F0D-450B-8773-4CECE3E76DF6}"/>
                </a:ext>
              </a:extLst>
            </p:cNvPr>
            <p:cNvSpPr/>
            <p:nvPr/>
          </p:nvSpPr>
          <p:spPr>
            <a:xfrm>
              <a:off x="6225539" y="3563302"/>
              <a:ext cx="2857" cy="3810"/>
            </a:xfrm>
            <a:custGeom>
              <a:avLst/>
              <a:gdLst>
                <a:gd name="connsiteX0" fmla="*/ 953 w 2857"/>
                <a:gd name="connsiteY0" fmla="*/ 0 h 3810"/>
                <a:gd name="connsiteX1" fmla="*/ 2858 w 2857"/>
                <a:gd name="connsiteY1" fmla="*/ 0 h 3810"/>
                <a:gd name="connsiteX2" fmla="*/ 2858 w 2857"/>
                <a:gd name="connsiteY2" fmla="*/ 2858 h 3810"/>
                <a:gd name="connsiteX3" fmla="*/ 1905 w 2857"/>
                <a:gd name="connsiteY3" fmla="*/ 3810 h 3810"/>
                <a:gd name="connsiteX4" fmla="*/ 0 w 2857"/>
                <a:gd name="connsiteY4" fmla="*/ 381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" h="3810">
                  <a:moveTo>
                    <a:pt x="953" y="0"/>
                  </a:moveTo>
                  <a:lnTo>
                    <a:pt x="2858" y="0"/>
                  </a:lnTo>
                  <a:lnTo>
                    <a:pt x="2858" y="2858"/>
                  </a:lnTo>
                  <a:lnTo>
                    <a:pt x="1905" y="3810"/>
                  </a:lnTo>
                  <a:lnTo>
                    <a:pt x="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A9D639D-AFFF-4B69-8432-B7189EEF7775}"/>
                </a:ext>
              </a:extLst>
            </p:cNvPr>
            <p:cNvSpPr/>
            <p:nvPr/>
          </p:nvSpPr>
          <p:spPr>
            <a:xfrm>
              <a:off x="6427470" y="3377564"/>
              <a:ext cx="7619" cy="14287"/>
            </a:xfrm>
            <a:custGeom>
              <a:avLst/>
              <a:gdLst>
                <a:gd name="connsiteX0" fmla="*/ 1905 w 7619"/>
                <a:gd name="connsiteY0" fmla="*/ 953 h 14287"/>
                <a:gd name="connsiteX1" fmla="*/ 4763 w 7619"/>
                <a:gd name="connsiteY1" fmla="*/ 0 h 14287"/>
                <a:gd name="connsiteX2" fmla="*/ 5715 w 7619"/>
                <a:gd name="connsiteY2" fmla="*/ 4763 h 14287"/>
                <a:gd name="connsiteX3" fmla="*/ 5715 w 7619"/>
                <a:gd name="connsiteY3" fmla="*/ 7620 h 14287"/>
                <a:gd name="connsiteX4" fmla="*/ 7620 w 7619"/>
                <a:gd name="connsiteY4" fmla="*/ 14288 h 14287"/>
                <a:gd name="connsiteX5" fmla="*/ 4763 w 7619"/>
                <a:gd name="connsiteY5" fmla="*/ 14288 h 14287"/>
                <a:gd name="connsiteX6" fmla="*/ 1905 w 7619"/>
                <a:gd name="connsiteY6" fmla="*/ 11430 h 14287"/>
                <a:gd name="connsiteX7" fmla="*/ 0 w 7619"/>
                <a:gd name="connsiteY7" fmla="*/ 666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9" h="14287">
                  <a:moveTo>
                    <a:pt x="1905" y="953"/>
                  </a:moveTo>
                  <a:lnTo>
                    <a:pt x="4763" y="0"/>
                  </a:lnTo>
                  <a:lnTo>
                    <a:pt x="5715" y="4763"/>
                  </a:lnTo>
                  <a:lnTo>
                    <a:pt x="5715" y="7620"/>
                  </a:lnTo>
                  <a:lnTo>
                    <a:pt x="7620" y="14288"/>
                  </a:lnTo>
                  <a:lnTo>
                    <a:pt x="4763" y="14288"/>
                  </a:lnTo>
                  <a:lnTo>
                    <a:pt x="1905" y="11430"/>
                  </a:lnTo>
                  <a:lnTo>
                    <a:pt x="0" y="66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AEE4160-EE12-4122-9D4B-5379AF9A4AF4}"/>
                </a:ext>
              </a:extLst>
            </p:cNvPr>
            <p:cNvSpPr/>
            <p:nvPr/>
          </p:nvSpPr>
          <p:spPr>
            <a:xfrm>
              <a:off x="6433185" y="3405187"/>
              <a:ext cx="19050" cy="24764"/>
            </a:xfrm>
            <a:custGeom>
              <a:avLst/>
              <a:gdLst>
                <a:gd name="connsiteX0" fmla="*/ 0 w 19050"/>
                <a:gd name="connsiteY0" fmla="*/ 952 h 24764"/>
                <a:gd name="connsiteX1" fmla="*/ 4763 w 19050"/>
                <a:gd name="connsiteY1" fmla="*/ 0 h 24764"/>
                <a:gd name="connsiteX2" fmla="*/ 8573 w 19050"/>
                <a:gd name="connsiteY2" fmla="*/ 4763 h 24764"/>
                <a:gd name="connsiteX3" fmla="*/ 6667 w 19050"/>
                <a:gd name="connsiteY3" fmla="*/ 10477 h 24764"/>
                <a:gd name="connsiteX4" fmla="*/ 8573 w 19050"/>
                <a:gd name="connsiteY4" fmla="*/ 17145 h 24764"/>
                <a:gd name="connsiteX5" fmla="*/ 13335 w 19050"/>
                <a:gd name="connsiteY5" fmla="*/ 19050 h 24764"/>
                <a:gd name="connsiteX6" fmla="*/ 18098 w 19050"/>
                <a:gd name="connsiteY6" fmla="*/ 22860 h 24764"/>
                <a:gd name="connsiteX7" fmla="*/ 19050 w 19050"/>
                <a:gd name="connsiteY7" fmla="*/ 24765 h 24764"/>
                <a:gd name="connsiteX8" fmla="*/ 16192 w 19050"/>
                <a:gd name="connsiteY8" fmla="*/ 24765 h 24764"/>
                <a:gd name="connsiteX9" fmla="*/ 11430 w 19050"/>
                <a:gd name="connsiteY9" fmla="*/ 20955 h 24764"/>
                <a:gd name="connsiteX10" fmla="*/ 5715 w 19050"/>
                <a:gd name="connsiteY10" fmla="*/ 20955 h 24764"/>
                <a:gd name="connsiteX11" fmla="*/ 952 w 19050"/>
                <a:gd name="connsiteY11" fmla="*/ 14288 h 24764"/>
                <a:gd name="connsiteX12" fmla="*/ 0 w 19050"/>
                <a:gd name="connsiteY12" fmla="*/ 10477 h 24764"/>
                <a:gd name="connsiteX13" fmla="*/ 1905 w 19050"/>
                <a:gd name="connsiteY13" fmla="*/ 8573 h 24764"/>
                <a:gd name="connsiteX14" fmla="*/ 952 w 19050"/>
                <a:gd name="connsiteY14" fmla="*/ 3810 h 2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50" h="24764">
                  <a:moveTo>
                    <a:pt x="0" y="952"/>
                  </a:moveTo>
                  <a:lnTo>
                    <a:pt x="4763" y="0"/>
                  </a:lnTo>
                  <a:lnTo>
                    <a:pt x="8573" y="4763"/>
                  </a:lnTo>
                  <a:lnTo>
                    <a:pt x="6667" y="10477"/>
                  </a:lnTo>
                  <a:lnTo>
                    <a:pt x="8573" y="17145"/>
                  </a:lnTo>
                  <a:lnTo>
                    <a:pt x="13335" y="19050"/>
                  </a:lnTo>
                  <a:lnTo>
                    <a:pt x="18098" y="22860"/>
                  </a:lnTo>
                  <a:lnTo>
                    <a:pt x="19050" y="24765"/>
                  </a:lnTo>
                  <a:lnTo>
                    <a:pt x="16192" y="24765"/>
                  </a:lnTo>
                  <a:lnTo>
                    <a:pt x="11430" y="20955"/>
                  </a:lnTo>
                  <a:lnTo>
                    <a:pt x="5715" y="20955"/>
                  </a:lnTo>
                  <a:lnTo>
                    <a:pt x="952" y="14288"/>
                  </a:lnTo>
                  <a:lnTo>
                    <a:pt x="0" y="10477"/>
                  </a:lnTo>
                  <a:lnTo>
                    <a:pt x="1905" y="8573"/>
                  </a:lnTo>
                  <a:lnTo>
                    <a:pt x="952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CB9D3C4-77C8-47E6-A560-19587DAE0930}"/>
                </a:ext>
              </a:extLst>
            </p:cNvPr>
            <p:cNvSpPr/>
            <p:nvPr/>
          </p:nvSpPr>
          <p:spPr>
            <a:xfrm>
              <a:off x="6302692" y="3446144"/>
              <a:ext cx="10477" cy="16192"/>
            </a:xfrm>
            <a:custGeom>
              <a:avLst/>
              <a:gdLst>
                <a:gd name="connsiteX0" fmla="*/ 2858 w 10477"/>
                <a:gd name="connsiteY0" fmla="*/ 0 h 16192"/>
                <a:gd name="connsiteX1" fmla="*/ 6668 w 10477"/>
                <a:gd name="connsiteY1" fmla="*/ 5715 h 16192"/>
                <a:gd name="connsiteX2" fmla="*/ 10478 w 10477"/>
                <a:gd name="connsiteY2" fmla="*/ 9525 h 16192"/>
                <a:gd name="connsiteX3" fmla="*/ 8573 w 10477"/>
                <a:gd name="connsiteY3" fmla="*/ 14288 h 16192"/>
                <a:gd name="connsiteX4" fmla="*/ 2858 w 10477"/>
                <a:gd name="connsiteY4" fmla="*/ 16193 h 16192"/>
                <a:gd name="connsiteX5" fmla="*/ 0 w 10477"/>
                <a:gd name="connsiteY5" fmla="*/ 11430 h 16192"/>
                <a:gd name="connsiteX6" fmla="*/ 953 w 10477"/>
                <a:gd name="connsiteY6" fmla="*/ 5715 h 16192"/>
                <a:gd name="connsiteX7" fmla="*/ 1905 w 10477"/>
                <a:gd name="connsiteY7" fmla="*/ 953 h 16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" h="16192">
                  <a:moveTo>
                    <a:pt x="2858" y="0"/>
                  </a:moveTo>
                  <a:lnTo>
                    <a:pt x="6668" y="5715"/>
                  </a:lnTo>
                  <a:lnTo>
                    <a:pt x="10478" y="9525"/>
                  </a:lnTo>
                  <a:lnTo>
                    <a:pt x="8573" y="14288"/>
                  </a:lnTo>
                  <a:lnTo>
                    <a:pt x="2858" y="16193"/>
                  </a:lnTo>
                  <a:lnTo>
                    <a:pt x="0" y="11430"/>
                  </a:lnTo>
                  <a:lnTo>
                    <a:pt x="953" y="5715"/>
                  </a:lnTo>
                  <a:lnTo>
                    <a:pt x="1905" y="9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0593420-8F11-4C58-9780-EC962B6D6AF5}"/>
                </a:ext>
              </a:extLst>
            </p:cNvPr>
            <p:cNvSpPr/>
            <p:nvPr/>
          </p:nvSpPr>
          <p:spPr>
            <a:xfrm>
              <a:off x="6356032" y="3463289"/>
              <a:ext cx="37147" cy="43815"/>
            </a:xfrm>
            <a:custGeom>
              <a:avLst/>
              <a:gdLst>
                <a:gd name="connsiteX0" fmla="*/ 3810 w 37147"/>
                <a:gd name="connsiteY0" fmla="*/ 0 h 43815"/>
                <a:gd name="connsiteX1" fmla="*/ 15240 w 37147"/>
                <a:gd name="connsiteY1" fmla="*/ 9525 h 43815"/>
                <a:gd name="connsiteX2" fmla="*/ 25717 w 37147"/>
                <a:gd name="connsiteY2" fmla="*/ 20955 h 43815"/>
                <a:gd name="connsiteX3" fmla="*/ 33338 w 37147"/>
                <a:gd name="connsiteY3" fmla="*/ 28575 h 43815"/>
                <a:gd name="connsiteX4" fmla="*/ 37147 w 37147"/>
                <a:gd name="connsiteY4" fmla="*/ 33338 h 43815"/>
                <a:gd name="connsiteX5" fmla="*/ 36195 w 37147"/>
                <a:gd name="connsiteY5" fmla="*/ 39053 h 43815"/>
                <a:gd name="connsiteX6" fmla="*/ 36195 w 37147"/>
                <a:gd name="connsiteY6" fmla="*/ 42863 h 43815"/>
                <a:gd name="connsiteX7" fmla="*/ 32385 w 37147"/>
                <a:gd name="connsiteY7" fmla="*/ 43815 h 43815"/>
                <a:gd name="connsiteX8" fmla="*/ 23813 w 37147"/>
                <a:gd name="connsiteY8" fmla="*/ 36195 h 43815"/>
                <a:gd name="connsiteX9" fmla="*/ 15240 w 37147"/>
                <a:gd name="connsiteY9" fmla="*/ 21908 h 43815"/>
                <a:gd name="connsiteX10" fmla="*/ 8572 w 37147"/>
                <a:gd name="connsiteY10" fmla="*/ 12383 h 43815"/>
                <a:gd name="connsiteX11" fmla="*/ 2857 w 37147"/>
                <a:gd name="connsiteY11" fmla="*/ 4763 h 43815"/>
                <a:gd name="connsiteX12" fmla="*/ 952 w 37147"/>
                <a:gd name="connsiteY12" fmla="*/ 4763 h 43815"/>
                <a:gd name="connsiteX13" fmla="*/ 0 w 37147"/>
                <a:gd name="connsiteY13" fmla="*/ 953 h 4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147" h="43815">
                  <a:moveTo>
                    <a:pt x="3810" y="0"/>
                  </a:moveTo>
                  <a:lnTo>
                    <a:pt x="15240" y="9525"/>
                  </a:lnTo>
                  <a:lnTo>
                    <a:pt x="25717" y="20955"/>
                  </a:lnTo>
                  <a:lnTo>
                    <a:pt x="33338" y="28575"/>
                  </a:lnTo>
                  <a:lnTo>
                    <a:pt x="37147" y="33338"/>
                  </a:lnTo>
                  <a:lnTo>
                    <a:pt x="36195" y="39053"/>
                  </a:lnTo>
                  <a:lnTo>
                    <a:pt x="36195" y="42863"/>
                  </a:lnTo>
                  <a:lnTo>
                    <a:pt x="32385" y="43815"/>
                  </a:lnTo>
                  <a:lnTo>
                    <a:pt x="23813" y="36195"/>
                  </a:lnTo>
                  <a:lnTo>
                    <a:pt x="15240" y="21908"/>
                  </a:lnTo>
                  <a:lnTo>
                    <a:pt x="8572" y="12383"/>
                  </a:lnTo>
                  <a:lnTo>
                    <a:pt x="2857" y="4763"/>
                  </a:lnTo>
                  <a:lnTo>
                    <a:pt x="952" y="4763"/>
                  </a:lnTo>
                  <a:lnTo>
                    <a:pt x="0" y="9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783E4808-D9C3-4C57-A217-F2B0A9FEF6D1}"/>
                </a:ext>
              </a:extLst>
            </p:cNvPr>
            <p:cNvSpPr/>
            <p:nvPr/>
          </p:nvSpPr>
          <p:spPr>
            <a:xfrm>
              <a:off x="6388417" y="3508057"/>
              <a:ext cx="32385" cy="14287"/>
            </a:xfrm>
            <a:custGeom>
              <a:avLst/>
              <a:gdLst>
                <a:gd name="connsiteX0" fmla="*/ 0 w 32385"/>
                <a:gd name="connsiteY0" fmla="*/ 4763 h 14287"/>
                <a:gd name="connsiteX1" fmla="*/ 1905 w 32385"/>
                <a:gd name="connsiteY1" fmla="*/ 1905 h 14287"/>
                <a:gd name="connsiteX2" fmla="*/ 7620 w 32385"/>
                <a:gd name="connsiteY2" fmla="*/ 0 h 14287"/>
                <a:gd name="connsiteX3" fmla="*/ 11430 w 32385"/>
                <a:gd name="connsiteY3" fmla="*/ 1905 h 14287"/>
                <a:gd name="connsiteX4" fmla="*/ 20003 w 32385"/>
                <a:gd name="connsiteY4" fmla="*/ 2857 h 14287"/>
                <a:gd name="connsiteX5" fmla="*/ 25718 w 32385"/>
                <a:gd name="connsiteY5" fmla="*/ 4763 h 14287"/>
                <a:gd name="connsiteX6" fmla="*/ 31433 w 32385"/>
                <a:gd name="connsiteY6" fmla="*/ 9525 h 14287"/>
                <a:gd name="connsiteX7" fmla="*/ 32385 w 32385"/>
                <a:gd name="connsiteY7" fmla="*/ 14288 h 14287"/>
                <a:gd name="connsiteX8" fmla="*/ 28575 w 32385"/>
                <a:gd name="connsiteY8" fmla="*/ 13335 h 14287"/>
                <a:gd name="connsiteX9" fmla="*/ 25718 w 32385"/>
                <a:gd name="connsiteY9" fmla="*/ 11430 h 14287"/>
                <a:gd name="connsiteX10" fmla="*/ 20003 w 32385"/>
                <a:gd name="connsiteY10" fmla="*/ 11430 h 14287"/>
                <a:gd name="connsiteX11" fmla="*/ 15240 w 32385"/>
                <a:gd name="connsiteY11" fmla="*/ 9525 h 14287"/>
                <a:gd name="connsiteX12" fmla="*/ 6668 w 32385"/>
                <a:gd name="connsiteY12" fmla="*/ 7620 h 14287"/>
                <a:gd name="connsiteX13" fmla="*/ 3810 w 32385"/>
                <a:gd name="connsiteY13" fmla="*/ 4763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385" h="14287">
                  <a:moveTo>
                    <a:pt x="0" y="4763"/>
                  </a:moveTo>
                  <a:lnTo>
                    <a:pt x="1905" y="1905"/>
                  </a:lnTo>
                  <a:lnTo>
                    <a:pt x="7620" y="0"/>
                  </a:lnTo>
                  <a:lnTo>
                    <a:pt x="11430" y="1905"/>
                  </a:lnTo>
                  <a:lnTo>
                    <a:pt x="20003" y="2857"/>
                  </a:lnTo>
                  <a:lnTo>
                    <a:pt x="25718" y="4763"/>
                  </a:lnTo>
                  <a:lnTo>
                    <a:pt x="31433" y="9525"/>
                  </a:lnTo>
                  <a:lnTo>
                    <a:pt x="32385" y="14288"/>
                  </a:lnTo>
                  <a:lnTo>
                    <a:pt x="28575" y="13335"/>
                  </a:lnTo>
                  <a:lnTo>
                    <a:pt x="25718" y="11430"/>
                  </a:lnTo>
                  <a:lnTo>
                    <a:pt x="20003" y="11430"/>
                  </a:lnTo>
                  <a:lnTo>
                    <a:pt x="15240" y="9525"/>
                  </a:lnTo>
                  <a:lnTo>
                    <a:pt x="6668" y="7620"/>
                  </a:lnTo>
                  <a:lnTo>
                    <a:pt x="3810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76AE2B8-D958-4FE3-B0E0-3C7D91051DF6}"/>
                </a:ext>
              </a:extLst>
            </p:cNvPr>
            <p:cNvSpPr/>
            <p:nvPr/>
          </p:nvSpPr>
          <p:spPr>
            <a:xfrm>
              <a:off x="6432232" y="3437572"/>
              <a:ext cx="5714" cy="9525"/>
            </a:xfrm>
            <a:custGeom>
              <a:avLst/>
              <a:gdLst>
                <a:gd name="connsiteX0" fmla="*/ 5715 w 5714"/>
                <a:gd name="connsiteY0" fmla="*/ 952 h 9525"/>
                <a:gd name="connsiteX1" fmla="*/ 4763 w 5714"/>
                <a:gd name="connsiteY1" fmla="*/ 4763 h 9525"/>
                <a:gd name="connsiteX2" fmla="*/ 1905 w 5714"/>
                <a:gd name="connsiteY2" fmla="*/ 9525 h 9525"/>
                <a:gd name="connsiteX3" fmla="*/ 0 w 5714"/>
                <a:gd name="connsiteY3" fmla="*/ 9525 h 9525"/>
                <a:gd name="connsiteX4" fmla="*/ 0 w 5714"/>
                <a:gd name="connsiteY4" fmla="*/ 5715 h 9525"/>
                <a:gd name="connsiteX5" fmla="*/ 1905 w 5714"/>
                <a:gd name="connsiteY5" fmla="*/ 2857 h 9525"/>
                <a:gd name="connsiteX6" fmla="*/ 2857 w 5714"/>
                <a:gd name="connsiteY6" fmla="*/ 952 h 9525"/>
                <a:gd name="connsiteX7" fmla="*/ 4763 w 5714"/>
                <a:gd name="connsiteY7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4" h="9525">
                  <a:moveTo>
                    <a:pt x="5715" y="952"/>
                  </a:moveTo>
                  <a:lnTo>
                    <a:pt x="4763" y="4763"/>
                  </a:lnTo>
                  <a:lnTo>
                    <a:pt x="1905" y="9525"/>
                  </a:lnTo>
                  <a:lnTo>
                    <a:pt x="0" y="9525"/>
                  </a:lnTo>
                  <a:lnTo>
                    <a:pt x="0" y="5715"/>
                  </a:lnTo>
                  <a:lnTo>
                    <a:pt x="1905" y="2857"/>
                  </a:lnTo>
                  <a:lnTo>
                    <a:pt x="2857" y="952"/>
                  </a:lnTo>
                  <a:lnTo>
                    <a:pt x="4763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252F0DB-5BC0-4AFE-AB47-40043B234034}"/>
                </a:ext>
              </a:extLst>
            </p:cNvPr>
            <p:cNvSpPr/>
            <p:nvPr/>
          </p:nvSpPr>
          <p:spPr>
            <a:xfrm>
              <a:off x="6444614" y="3434714"/>
              <a:ext cx="4762" cy="5715"/>
            </a:xfrm>
            <a:custGeom>
              <a:avLst/>
              <a:gdLst>
                <a:gd name="connsiteX0" fmla="*/ 952 w 4762"/>
                <a:gd name="connsiteY0" fmla="*/ 0 h 5715"/>
                <a:gd name="connsiteX1" fmla="*/ 4763 w 4762"/>
                <a:gd name="connsiteY1" fmla="*/ 0 h 5715"/>
                <a:gd name="connsiteX2" fmla="*/ 4763 w 4762"/>
                <a:gd name="connsiteY2" fmla="*/ 1905 h 5715"/>
                <a:gd name="connsiteX3" fmla="*/ 2858 w 4762"/>
                <a:gd name="connsiteY3" fmla="*/ 4763 h 5715"/>
                <a:gd name="connsiteX4" fmla="*/ 0 w 4762"/>
                <a:gd name="connsiteY4" fmla="*/ 5715 h 5715"/>
                <a:gd name="connsiteX5" fmla="*/ 0 w 4762"/>
                <a:gd name="connsiteY5" fmla="*/ 2858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" h="5715">
                  <a:moveTo>
                    <a:pt x="952" y="0"/>
                  </a:moveTo>
                  <a:lnTo>
                    <a:pt x="4763" y="0"/>
                  </a:lnTo>
                  <a:lnTo>
                    <a:pt x="4763" y="1905"/>
                  </a:lnTo>
                  <a:lnTo>
                    <a:pt x="2858" y="4763"/>
                  </a:lnTo>
                  <a:lnTo>
                    <a:pt x="0" y="5715"/>
                  </a:lnTo>
                  <a:lnTo>
                    <a:pt x="0" y="28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2467640-50E3-48B4-AD4C-4146A1D01559}"/>
                </a:ext>
              </a:extLst>
            </p:cNvPr>
            <p:cNvSpPr/>
            <p:nvPr/>
          </p:nvSpPr>
          <p:spPr>
            <a:xfrm>
              <a:off x="6441757" y="3442335"/>
              <a:ext cx="13334" cy="12382"/>
            </a:xfrm>
            <a:custGeom>
              <a:avLst/>
              <a:gdLst>
                <a:gd name="connsiteX0" fmla="*/ 0 w 13334"/>
                <a:gd name="connsiteY0" fmla="*/ 7620 h 12382"/>
                <a:gd name="connsiteX1" fmla="*/ 1905 w 13334"/>
                <a:gd name="connsiteY1" fmla="*/ 4763 h 12382"/>
                <a:gd name="connsiteX2" fmla="*/ 3810 w 13334"/>
                <a:gd name="connsiteY2" fmla="*/ 3810 h 12382"/>
                <a:gd name="connsiteX3" fmla="*/ 4763 w 13334"/>
                <a:gd name="connsiteY3" fmla="*/ 3810 h 12382"/>
                <a:gd name="connsiteX4" fmla="*/ 6667 w 13334"/>
                <a:gd name="connsiteY4" fmla="*/ 2857 h 12382"/>
                <a:gd name="connsiteX5" fmla="*/ 7620 w 13334"/>
                <a:gd name="connsiteY5" fmla="*/ 0 h 12382"/>
                <a:gd name="connsiteX6" fmla="*/ 10477 w 13334"/>
                <a:gd name="connsiteY6" fmla="*/ 0 h 12382"/>
                <a:gd name="connsiteX7" fmla="*/ 11430 w 13334"/>
                <a:gd name="connsiteY7" fmla="*/ 2857 h 12382"/>
                <a:gd name="connsiteX8" fmla="*/ 13335 w 13334"/>
                <a:gd name="connsiteY8" fmla="*/ 5715 h 12382"/>
                <a:gd name="connsiteX9" fmla="*/ 8572 w 13334"/>
                <a:gd name="connsiteY9" fmla="*/ 12382 h 12382"/>
                <a:gd name="connsiteX10" fmla="*/ 4763 w 13334"/>
                <a:gd name="connsiteY10" fmla="*/ 12382 h 12382"/>
                <a:gd name="connsiteX11" fmla="*/ 4763 w 13334"/>
                <a:gd name="connsiteY11" fmla="*/ 8572 h 12382"/>
                <a:gd name="connsiteX12" fmla="*/ 3810 w 13334"/>
                <a:gd name="connsiteY12" fmla="*/ 7620 h 12382"/>
                <a:gd name="connsiteX13" fmla="*/ 952 w 13334"/>
                <a:gd name="connsiteY13" fmla="*/ 7620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4" h="12382">
                  <a:moveTo>
                    <a:pt x="0" y="7620"/>
                  </a:moveTo>
                  <a:lnTo>
                    <a:pt x="1905" y="4763"/>
                  </a:lnTo>
                  <a:lnTo>
                    <a:pt x="3810" y="3810"/>
                  </a:lnTo>
                  <a:lnTo>
                    <a:pt x="4763" y="3810"/>
                  </a:lnTo>
                  <a:lnTo>
                    <a:pt x="6667" y="2857"/>
                  </a:lnTo>
                  <a:lnTo>
                    <a:pt x="7620" y="0"/>
                  </a:lnTo>
                  <a:lnTo>
                    <a:pt x="10477" y="0"/>
                  </a:lnTo>
                  <a:lnTo>
                    <a:pt x="11430" y="2857"/>
                  </a:lnTo>
                  <a:lnTo>
                    <a:pt x="13335" y="5715"/>
                  </a:lnTo>
                  <a:lnTo>
                    <a:pt x="8572" y="12382"/>
                  </a:lnTo>
                  <a:lnTo>
                    <a:pt x="4763" y="12382"/>
                  </a:lnTo>
                  <a:lnTo>
                    <a:pt x="4763" y="8572"/>
                  </a:lnTo>
                  <a:lnTo>
                    <a:pt x="3810" y="7620"/>
                  </a:lnTo>
                  <a:lnTo>
                    <a:pt x="952" y="76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3D3B2D4-D160-48EC-90C7-09F69E4F0745}"/>
                </a:ext>
              </a:extLst>
            </p:cNvPr>
            <p:cNvSpPr/>
            <p:nvPr/>
          </p:nvSpPr>
          <p:spPr>
            <a:xfrm>
              <a:off x="6404610" y="3456622"/>
              <a:ext cx="32385" cy="44767"/>
            </a:xfrm>
            <a:custGeom>
              <a:avLst/>
              <a:gdLst>
                <a:gd name="connsiteX0" fmla="*/ 26670 w 32385"/>
                <a:gd name="connsiteY0" fmla="*/ 952 h 44767"/>
                <a:gd name="connsiteX1" fmla="*/ 28575 w 32385"/>
                <a:gd name="connsiteY1" fmla="*/ 2857 h 44767"/>
                <a:gd name="connsiteX2" fmla="*/ 30480 w 32385"/>
                <a:gd name="connsiteY2" fmla="*/ 4763 h 44767"/>
                <a:gd name="connsiteX3" fmla="*/ 32385 w 32385"/>
                <a:gd name="connsiteY3" fmla="*/ 7620 h 44767"/>
                <a:gd name="connsiteX4" fmla="*/ 28575 w 32385"/>
                <a:gd name="connsiteY4" fmla="*/ 10477 h 44767"/>
                <a:gd name="connsiteX5" fmla="*/ 27623 w 32385"/>
                <a:gd name="connsiteY5" fmla="*/ 16192 h 44767"/>
                <a:gd name="connsiteX6" fmla="*/ 30480 w 32385"/>
                <a:gd name="connsiteY6" fmla="*/ 19050 h 44767"/>
                <a:gd name="connsiteX7" fmla="*/ 31432 w 32385"/>
                <a:gd name="connsiteY7" fmla="*/ 23813 h 44767"/>
                <a:gd name="connsiteX8" fmla="*/ 27623 w 32385"/>
                <a:gd name="connsiteY8" fmla="*/ 27622 h 44767"/>
                <a:gd name="connsiteX9" fmla="*/ 24765 w 32385"/>
                <a:gd name="connsiteY9" fmla="*/ 36195 h 44767"/>
                <a:gd name="connsiteX10" fmla="*/ 20955 w 32385"/>
                <a:gd name="connsiteY10" fmla="*/ 43815 h 44767"/>
                <a:gd name="connsiteX11" fmla="*/ 19050 w 32385"/>
                <a:gd name="connsiteY11" fmla="*/ 44767 h 44767"/>
                <a:gd name="connsiteX12" fmla="*/ 15240 w 32385"/>
                <a:gd name="connsiteY12" fmla="*/ 44767 h 44767"/>
                <a:gd name="connsiteX13" fmla="*/ 3810 w 32385"/>
                <a:gd name="connsiteY13" fmla="*/ 40005 h 44767"/>
                <a:gd name="connsiteX14" fmla="*/ 952 w 32385"/>
                <a:gd name="connsiteY14" fmla="*/ 32385 h 44767"/>
                <a:gd name="connsiteX15" fmla="*/ 0 w 32385"/>
                <a:gd name="connsiteY15" fmla="*/ 25717 h 44767"/>
                <a:gd name="connsiteX16" fmla="*/ 0 w 32385"/>
                <a:gd name="connsiteY16" fmla="*/ 21907 h 44767"/>
                <a:gd name="connsiteX17" fmla="*/ 1905 w 32385"/>
                <a:gd name="connsiteY17" fmla="*/ 21907 h 44767"/>
                <a:gd name="connsiteX18" fmla="*/ 11430 w 32385"/>
                <a:gd name="connsiteY18" fmla="*/ 15240 h 44767"/>
                <a:gd name="connsiteX19" fmla="*/ 17145 w 32385"/>
                <a:gd name="connsiteY19" fmla="*/ 8572 h 44767"/>
                <a:gd name="connsiteX20" fmla="*/ 20002 w 32385"/>
                <a:gd name="connsiteY20" fmla="*/ 3810 h 44767"/>
                <a:gd name="connsiteX21" fmla="*/ 20955 w 32385"/>
                <a:gd name="connsiteY21" fmla="*/ 0 h 4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385" h="44767">
                  <a:moveTo>
                    <a:pt x="26670" y="952"/>
                  </a:moveTo>
                  <a:lnTo>
                    <a:pt x="28575" y="2857"/>
                  </a:lnTo>
                  <a:lnTo>
                    <a:pt x="30480" y="4763"/>
                  </a:lnTo>
                  <a:lnTo>
                    <a:pt x="32385" y="7620"/>
                  </a:lnTo>
                  <a:lnTo>
                    <a:pt x="28575" y="10477"/>
                  </a:lnTo>
                  <a:lnTo>
                    <a:pt x="27623" y="16192"/>
                  </a:lnTo>
                  <a:lnTo>
                    <a:pt x="30480" y="19050"/>
                  </a:lnTo>
                  <a:lnTo>
                    <a:pt x="31432" y="23813"/>
                  </a:lnTo>
                  <a:lnTo>
                    <a:pt x="27623" y="27622"/>
                  </a:lnTo>
                  <a:lnTo>
                    <a:pt x="24765" y="36195"/>
                  </a:lnTo>
                  <a:lnTo>
                    <a:pt x="20955" y="43815"/>
                  </a:lnTo>
                  <a:lnTo>
                    <a:pt x="19050" y="44767"/>
                  </a:lnTo>
                  <a:lnTo>
                    <a:pt x="15240" y="44767"/>
                  </a:lnTo>
                  <a:lnTo>
                    <a:pt x="3810" y="40005"/>
                  </a:lnTo>
                  <a:lnTo>
                    <a:pt x="952" y="32385"/>
                  </a:lnTo>
                  <a:lnTo>
                    <a:pt x="0" y="25717"/>
                  </a:lnTo>
                  <a:lnTo>
                    <a:pt x="0" y="21907"/>
                  </a:lnTo>
                  <a:lnTo>
                    <a:pt x="1905" y="21907"/>
                  </a:lnTo>
                  <a:lnTo>
                    <a:pt x="11430" y="15240"/>
                  </a:lnTo>
                  <a:lnTo>
                    <a:pt x="17145" y="8572"/>
                  </a:lnTo>
                  <a:lnTo>
                    <a:pt x="20002" y="3810"/>
                  </a:lnTo>
                  <a:lnTo>
                    <a:pt x="2095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E2E1836-EAA2-44FE-8DF0-58054B4E1C60}"/>
                </a:ext>
              </a:extLst>
            </p:cNvPr>
            <p:cNvSpPr/>
            <p:nvPr/>
          </p:nvSpPr>
          <p:spPr>
            <a:xfrm>
              <a:off x="6465570" y="3474719"/>
              <a:ext cx="4762" cy="11430"/>
            </a:xfrm>
            <a:custGeom>
              <a:avLst/>
              <a:gdLst>
                <a:gd name="connsiteX0" fmla="*/ 3810 w 4762"/>
                <a:gd name="connsiteY0" fmla="*/ 0 h 11430"/>
                <a:gd name="connsiteX1" fmla="*/ 4763 w 4762"/>
                <a:gd name="connsiteY1" fmla="*/ 2857 h 11430"/>
                <a:gd name="connsiteX2" fmla="*/ 4763 w 4762"/>
                <a:gd name="connsiteY2" fmla="*/ 8573 h 11430"/>
                <a:gd name="connsiteX3" fmla="*/ 3810 w 4762"/>
                <a:gd name="connsiteY3" fmla="*/ 11430 h 11430"/>
                <a:gd name="connsiteX4" fmla="*/ 1905 w 4762"/>
                <a:gd name="connsiteY4" fmla="*/ 11430 h 11430"/>
                <a:gd name="connsiteX5" fmla="*/ 0 w 4762"/>
                <a:gd name="connsiteY5" fmla="*/ 8573 h 11430"/>
                <a:gd name="connsiteX6" fmla="*/ 0 w 4762"/>
                <a:gd name="connsiteY6" fmla="*/ 5715 h 11430"/>
                <a:gd name="connsiteX7" fmla="*/ 952 w 4762"/>
                <a:gd name="connsiteY7" fmla="*/ 1905 h 11430"/>
                <a:gd name="connsiteX8" fmla="*/ 2857 w 4762"/>
                <a:gd name="connsiteY8" fmla="*/ 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" h="11430">
                  <a:moveTo>
                    <a:pt x="3810" y="0"/>
                  </a:moveTo>
                  <a:lnTo>
                    <a:pt x="4763" y="2857"/>
                  </a:lnTo>
                  <a:lnTo>
                    <a:pt x="4763" y="8573"/>
                  </a:lnTo>
                  <a:lnTo>
                    <a:pt x="3810" y="11430"/>
                  </a:lnTo>
                  <a:lnTo>
                    <a:pt x="1905" y="11430"/>
                  </a:lnTo>
                  <a:lnTo>
                    <a:pt x="0" y="8573"/>
                  </a:lnTo>
                  <a:lnTo>
                    <a:pt x="0" y="5715"/>
                  </a:lnTo>
                  <a:lnTo>
                    <a:pt x="952" y="1905"/>
                  </a:lnTo>
                  <a:lnTo>
                    <a:pt x="285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668E3C8-6DC3-4FD1-BFA5-84E04CB67372}"/>
                </a:ext>
              </a:extLst>
            </p:cNvPr>
            <p:cNvSpPr/>
            <p:nvPr/>
          </p:nvSpPr>
          <p:spPr>
            <a:xfrm>
              <a:off x="6436995" y="3479482"/>
              <a:ext cx="20954" cy="28575"/>
            </a:xfrm>
            <a:custGeom>
              <a:avLst/>
              <a:gdLst>
                <a:gd name="connsiteX0" fmla="*/ 19050 w 20954"/>
                <a:gd name="connsiteY0" fmla="*/ 0 h 28575"/>
                <a:gd name="connsiteX1" fmla="*/ 20955 w 20954"/>
                <a:gd name="connsiteY1" fmla="*/ 0 h 28575"/>
                <a:gd name="connsiteX2" fmla="*/ 20955 w 20954"/>
                <a:gd name="connsiteY2" fmla="*/ 953 h 28575"/>
                <a:gd name="connsiteX3" fmla="*/ 19050 w 20954"/>
                <a:gd name="connsiteY3" fmla="*/ 2857 h 28575"/>
                <a:gd name="connsiteX4" fmla="*/ 15240 w 20954"/>
                <a:gd name="connsiteY4" fmla="*/ 3810 h 28575"/>
                <a:gd name="connsiteX5" fmla="*/ 6667 w 20954"/>
                <a:gd name="connsiteY5" fmla="*/ 3810 h 28575"/>
                <a:gd name="connsiteX6" fmla="*/ 5715 w 20954"/>
                <a:gd name="connsiteY6" fmla="*/ 11430 h 28575"/>
                <a:gd name="connsiteX7" fmla="*/ 9525 w 20954"/>
                <a:gd name="connsiteY7" fmla="*/ 8573 h 28575"/>
                <a:gd name="connsiteX8" fmla="*/ 13335 w 20954"/>
                <a:gd name="connsiteY8" fmla="*/ 6668 h 28575"/>
                <a:gd name="connsiteX9" fmla="*/ 16192 w 20954"/>
                <a:gd name="connsiteY9" fmla="*/ 7620 h 28575"/>
                <a:gd name="connsiteX10" fmla="*/ 16192 w 20954"/>
                <a:gd name="connsiteY10" fmla="*/ 9525 h 28575"/>
                <a:gd name="connsiteX11" fmla="*/ 14288 w 20954"/>
                <a:gd name="connsiteY11" fmla="*/ 9525 h 28575"/>
                <a:gd name="connsiteX12" fmla="*/ 9525 w 20954"/>
                <a:gd name="connsiteY12" fmla="*/ 12382 h 28575"/>
                <a:gd name="connsiteX13" fmla="*/ 9525 w 20954"/>
                <a:gd name="connsiteY13" fmla="*/ 15240 h 28575"/>
                <a:gd name="connsiteX14" fmla="*/ 12382 w 20954"/>
                <a:gd name="connsiteY14" fmla="*/ 20003 h 28575"/>
                <a:gd name="connsiteX15" fmla="*/ 13335 w 20954"/>
                <a:gd name="connsiteY15" fmla="*/ 22860 h 28575"/>
                <a:gd name="connsiteX16" fmla="*/ 11430 w 20954"/>
                <a:gd name="connsiteY16" fmla="*/ 25718 h 28575"/>
                <a:gd name="connsiteX17" fmla="*/ 7620 w 20954"/>
                <a:gd name="connsiteY17" fmla="*/ 26670 h 28575"/>
                <a:gd name="connsiteX18" fmla="*/ 7620 w 20954"/>
                <a:gd name="connsiteY18" fmla="*/ 23813 h 28575"/>
                <a:gd name="connsiteX19" fmla="*/ 6667 w 20954"/>
                <a:gd name="connsiteY19" fmla="*/ 17145 h 28575"/>
                <a:gd name="connsiteX20" fmla="*/ 4763 w 20954"/>
                <a:gd name="connsiteY20" fmla="*/ 17145 h 28575"/>
                <a:gd name="connsiteX21" fmla="*/ 3810 w 20954"/>
                <a:gd name="connsiteY21" fmla="*/ 20955 h 28575"/>
                <a:gd name="connsiteX22" fmla="*/ 4763 w 20954"/>
                <a:gd name="connsiteY22" fmla="*/ 27623 h 28575"/>
                <a:gd name="connsiteX23" fmla="*/ 4763 w 20954"/>
                <a:gd name="connsiteY23" fmla="*/ 28575 h 28575"/>
                <a:gd name="connsiteX24" fmla="*/ 952 w 20954"/>
                <a:gd name="connsiteY24" fmla="*/ 28575 h 28575"/>
                <a:gd name="connsiteX25" fmla="*/ 952 w 20954"/>
                <a:gd name="connsiteY25" fmla="*/ 22860 h 28575"/>
                <a:gd name="connsiteX26" fmla="*/ 0 w 20954"/>
                <a:gd name="connsiteY26" fmla="*/ 19050 h 28575"/>
                <a:gd name="connsiteX27" fmla="*/ 0 w 20954"/>
                <a:gd name="connsiteY27" fmla="*/ 12382 h 28575"/>
                <a:gd name="connsiteX28" fmla="*/ 2857 w 20954"/>
                <a:gd name="connsiteY28" fmla="*/ 2857 h 28575"/>
                <a:gd name="connsiteX29" fmla="*/ 4763 w 20954"/>
                <a:gd name="connsiteY29" fmla="*/ 0 h 28575"/>
                <a:gd name="connsiteX30" fmla="*/ 9525 w 20954"/>
                <a:gd name="connsiteY30" fmla="*/ 0 h 28575"/>
                <a:gd name="connsiteX31" fmla="*/ 10477 w 20954"/>
                <a:gd name="connsiteY31" fmla="*/ 1905 h 28575"/>
                <a:gd name="connsiteX32" fmla="*/ 15240 w 20954"/>
                <a:gd name="connsiteY32" fmla="*/ 190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954" h="28575">
                  <a:moveTo>
                    <a:pt x="19050" y="0"/>
                  </a:moveTo>
                  <a:lnTo>
                    <a:pt x="20955" y="0"/>
                  </a:lnTo>
                  <a:lnTo>
                    <a:pt x="20955" y="953"/>
                  </a:lnTo>
                  <a:lnTo>
                    <a:pt x="19050" y="2857"/>
                  </a:lnTo>
                  <a:lnTo>
                    <a:pt x="15240" y="3810"/>
                  </a:lnTo>
                  <a:lnTo>
                    <a:pt x="6667" y="3810"/>
                  </a:lnTo>
                  <a:lnTo>
                    <a:pt x="5715" y="11430"/>
                  </a:lnTo>
                  <a:lnTo>
                    <a:pt x="9525" y="8573"/>
                  </a:lnTo>
                  <a:lnTo>
                    <a:pt x="13335" y="6668"/>
                  </a:lnTo>
                  <a:lnTo>
                    <a:pt x="16192" y="7620"/>
                  </a:lnTo>
                  <a:lnTo>
                    <a:pt x="16192" y="9525"/>
                  </a:lnTo>
                  <a:lnTo>
                    <a:pt x="14288" y="9525"/>
                  </a:lnTo>
                  <a:lnTo>
                    <a:pt x="9525" y="12382"/>
                  </a:lnTo>
                  <a:lnTo>
                    <a:pt x="9525" y="15240"/>
                  </a:lnTo>
                  <a:lnTo>
                    <a:pt x="12382" y="20003"/>
                  </a:lnTo>
                  <a:lnTo>
                    <a:pt x="13335" y="22860"/>
                  </a:lnTo>
                  <a:lnTo>
                    <a:pt x="11430" y="25718"/>
                  </a:lnTo>
                  <a:lnTo>
                    <a:pt x="7620" y="26670"/>
                  </a:lnTo>
                  <a:lnTo>
                    <a:pt x="7620" y="23813"/>
                  </a:lnTo>
                  <a:lnTo>
                    <a:pt x="6667" y="17145"/>
                  </a:lnTo>
                  <a:lnTo>
                    <a:pt x="4763" y="17145"/>
                  </a:lnTo>
                  <a:lnTo>
                    <a:pt x="3810" y="20955"/>
                  </a:lnTo>
                  <a:lnTo>
                    <a:pt x="4763" y="27623"/>
                  </a:lnTo>
                  <a:lnTo>
                    <a:pt x="4763" y="28575"/>
                  </a:lnTo>
                  <a:lnTo>
                    <a:pt x="952" y="28575"/>
                  </a:lnTo>
                  <a:lnTo>
                    <a:pt x="952" y="22860"/>
                  </a:lnTo>
                  <a:lnTo>
                    <a:pt x="0" y="19050"/>
                  </a:lnTo>
                  <a:lnTo>
                    <a:pt x="0" y="12382"/>
                  </a:lnTo>
                  <a:lnTo>
                    <a:pt x="2857" y="2857"/>
                  </a:lnTo>
                  <a:lnTo>
                    <a:pt x="4763" y="0"/>
                  </a:lnTo>
                  <a:lnTo>
                    <a:pt x="9525" y="0"/>
                  </a:lnTo>
                  <a:lnTo>
                    <a:pt x="10477" y="1905"/>
                  </a:lnTo>
                  <a:lnTo>
                    <a:pt x="1524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FF743A0-FE48-462C-AC92-8AC7E93219E0}"/>
                </a:ext>
              </a:extLst>
            </p:cNvPr>
            <p:cNvSpPr/>
            <p:nvPr/>
          </p:nvSpPr>
          <p:spPr>
            <a:xfrm>
              <a:off x="6424612" y="3518535"/>
              <a:ext cx="9525" cy="3809"/>
            </a:xfrm>
            <a:custGeom>
              <a:avLst/>
              <a:gdLst>
                <a:gd name="connsiteX0" fmla="*/ 0 w 9525"/>
                <a:gd name="connsiteY0" fmla="*/ 3810 h 3809"/>
                <a:gd name="connsiteX1" fmla="*/ 1905 w 9525"/>
                <a:gd name="connsiteY1" fmla="*/ 1905 h 3809"/>
                <a:gd name="connsiteX2" fmla="*/ 3810 w 9525"/>
                <a:gd name="connsiteY2" fmla="*/ 0 h 3809"/>
                <a:gd name="connsiteX3" fmla="*/ 9525 w 9525"/>
                <a:gd name="connsiteY3" fmla="*/ 0 h 3809"/>
                <a:gd name="connsiteX4" fmla="*/ 9525 w 9525"/>
                <a:gd name="connsiteY4" fmla="*/ 1905 h 3809"/>
                <a:gd name="connsiteX5" fmla="*/ 7620 w 9525"/>
                <a:gd name="connsiteY5" fmla="*/ 3810 h 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3809">
                  <a:moveTo>
                    <a:pt x="0" y="3810"/>
                  </a:moveTo>
                  <a:lnTo>
                    <a:pt x="1905" y="1905"/>
                  </a:lnTo>
                  <a:lnTo>
                    <a:pt x="3810" y="0"/>
                  </a:lnTo>
                  <a:lnTo>
                    <a:pt x="9525" y="0"/>
                  </a:lnTo>
                  <a:lnTo>
                    <a:pt x="9525" y="1905"/>
                  </a:lnTo>
                  <a:lnTo>
                    <a:pt x="762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26739316-C6BA-4CCC-BD9D-33F49724D808}"/>
                </a:ext>
              </a:extLst>
            </p:cNvPr>
            <p:cNvSpPr/>
            <p:nvPr/>
          </p:nvSpPr>
          <p:spPr>
            <a:xfrm>
              <a:off x="6437947" y="3517582"/>
              <a:ext cx="11429" cy="5715"/>
            </a:xfrm>
            <a:custGeom>
              <a:avLst/>
              <a:gdLst>
                <a:gd name="connsiteX0" fmla="*/ 0 w 11429"/>
                <a:gd name="connsiteY0" fmla="*/ 2857 h 5715"/>
                <a:gd name="connsiteX1" fmla="*/ 0 w 11429"/>
                <a:gd name="connsiteY1" fmla="*/ 4763 h 5715"/>
                <a:gd name="connsiteX2" fmla="*/ 1905 w 11429"/>
                <a:gd name="connsiteY2" fmla="*/ 5715 h 5715"/>
                <a:gd name="connsiteX3" fmla="*/ 6667 w 11429"/>
                <a:gd name="connsiteY3" fmla="*/ 5715 h 5715"/>
                <a:gd name="connsiteX4" fmla="*/ 11430 w 11429"/>
                <a:gd name="connsiteY4" fmla="*/ 2857 h 5715"/>
                <a:gd name="connsiteX5" fmla="*/ 11430 w 11429"/>
                <a:gd name="connsiteY5" fmla="*/ 0 h 5715"/>
                <a:gd name="connsiteX6" fmla="*/ 9525 w 11429"/>
                <a:gd name="connsiteY6" fmla="*/ 0 h 5715"/>
                <a:gd name="connsiteX7" fmla="*/ 6667 w 11429"/>
                <a:gd name="connsiteY7" fmla="*/ 1905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29" h="5715">
                  <a:moveTo>
                    <a:pt x="0" y="2857"/>
                  </a:moveTo>
                  <a:lnTo>
                    <a:pt x="0" y="4763"/>
                  </a:lnTo>
                  <a:lnTo>
                    <a:pt x="1905" y="5715"/>
                  </a:lnTo>
                  <a:lnTo>
                    <a:pt x="6667" y="5715"/>
                  </a:lnTo>
                  <a:lnTo>
                    <a:pt x="11430" y="2857"/>
                  </a:lnTo>
                  <a:lnTo>
                    <a:pt x="11430" y="0"/>
                  </a:lnTo>
                  <a:lnTo>
                    <a:pt x="9525" y="0"/>
                  </a:lnTo>
                  <a:lnTo>
                    <a:pt x="6667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CBA7D7C-3A72-4657-9883-EF8DAE4BAB2A}"/>
                </a:ext>
              </a:extLst>
            </p:cNvPr>
            <p:cNvSpPr/>
            <p:nvPr/>
          </p:nvSpPr>
          <p:spPr>
            <a:xfrm>
              <a:off x="6450329" y="3520439"/>
              <a:ext cx="12382" cy="7620"/>
            </a:xfrm>
            <a:custGeom>
              <a:avLst/>
              <a:gdLst>
                <a:gd name="connsiteX0" fmla="*/ 0 w 12382"/>
                <a:gd name="connsiteY0" fmla="*/ 4763 h 7620"/>
                <a:gd name="connsiteX1" fmla="*/ 0 w 12382"/>
                <a:gd name="connsiteY1" fmla="*/ 7620 h 7620"/>
                <a:gd name="connsiteX2" fmla="*/ 2858 w 12382"/>
                <a:gd name="connsiteY2" fmla="*/ 7620 h 7620"/>
                <a:gd name="connsiteX3" fmla="*/ 5715 w 12382"/>
                <a:gd name="connsiteY3" fmla="*/ 5715 h 7620"/>
                <a:gd name="connsiteX4" fmla="*/ 11430 w 12382"/>
                <a:gd name="connsiteY4" fmla="*/ 2858 h 7620"/>
                <a:gd name="connsiteX5" fmla="*/ 12383 w 12382"/>
                <a:gd name="connsiteY5" fmla="*/ 1905 h 7620"/>
                <a:gd name="connsiteX6" fmla="*/ 12383 w 12382"/>
                <a:gd name="connsiteY6" fmla="*/ 0 h 7620"/>
                <a:gd name="connsiteX7" fmla="*/ 10478 w 12382"/>
                <a:gd name="connsiteY7" fmla="*/ 0 h 7620"/>
                <a:gd name="connsiteX8" fmla="*/ 5715 w 12382"/>
                <a:gd name="connsiteY8" fmla="*/ 1905 h 7620"/>
                <a:gd name="connsiteX9" fmla="*/ 2858 w 12382"/>
                <a:gd name="connsiteY9" fmla="*/ 1905 h 7620"/>
                <a:gd name="connsiteX10" fmla="*/ 2858 w 12382"/>
                <a:gd name="connsiteY10" fmla="*/ 3810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82" h="7620">
                  <a:moveTo>
                    <a:pt x="0" y="4763"/>
                  </a:moveTo>
                  <a:lnTo>
                    <a:pt x="0" y="7620"/>
                  </a:lnTo>
                  <a:lnTo>
                    <a:pt x="2858" y="7620"/>
                  </a:lnTo>
                  <a:lnTo>
                    <a:pt x="5715" y="5715"/>
                  </a:lnTo>
                  <a:lnTo>
                    <a:pt x="11430" y="2858"/>
                  </a:lnTo>
                  <a:lnTo>
                    <a:pt x="12383" y="1905"/>
                  </a:lnTo>
                  <a:lnTo>
                    <a:pt x="12383" y="0"/>
                  </a:lnTo>
                  <a:lnTo>
                    <a:pt x="10478" y="0"/>
                  </a:lnTo>
                  <a:lnTo>
                    <a:pt x="5715" y="1905"/>
                  </a:lnTo>
                  <a:lnTo>
                    <a:pt x="2858" y="1905"/>
                  </a:lnTo>
                  <a:lnTo>
                    <a:pt x="2858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6992EF4E-2736-4725-9CAE-8F3728D1C3BF}"/>
                </a:ext>
              </a:extLst>
            </p:cNvPr>
            <p:cNvSpPr/>
            <p:nvPr/>
          </p:nvSpPr>
          <p:spPr>
            <a:xfrm>
              <a:off x="6468427" y="3496627"/>
              <a:ext cx="7620" cy="3810"/>
            </a:xfrm>
            <a:custGeom>
              <a:avLst/>
              <a:gdLst>
                <a:gd name="connsiteX0" fmla="*/ 0 w 7620"/>
                <a:gd name="connsiteY0" fmla="*/ 0 h 3810"/>
                <a:gd name="connsiteX1" fmla="*/ 3810 w 7620"/>
                <a:gd name="connsiteY1" fmla="*/ 0 h 3810"/>
                <a:gd name="connsiteX2" fmla="*/ 7620 w 7620"/>
                <a:gd name="connsiteY2" fmla="*/ 1905 h 3810"/>
                <a:gd name="connsiteX3" fmla="*/ 7620 w 7620"/>
                <a:gd name="connsiteY3" fmla="*/ 3810 h 3810"/>
                <a:gd name="connsiteX4" fmla="*/ 2858 w 7620"/>
                <a:gd name="connsiteY4" fmla="*/ 3810 h 3810"/>
                <a:gd name="connsiteX5" fmla="*/ 0 w 7620"/>
                <a:gd name="connsiteY5" fmla="*/ 2858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" h="3810">
                  <a:moveTo>
                    <a:pt x="0" y="0"/>
                  </a:moveTo>
                  <a:lnTo>
                    <a:pt x="3810" y="0"/>
                  </a:lnTo>
                  <a:lnTo>
                    <a:pt x="7620" y="1905"/>
                  </a:lnTo>
                  <a:lnTo>
                    <a:pt x="7620" y="3810"/>
                  </a:lnTo>
                  <a:lnTo>
                    <a:pt x="2858" y="3810"/>
                  </a:lnTo>
                  <a:lnTo>
                    <a:pt x="0" y="28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C7F4BB5-CEB7-4EB6-9F6A-DDBF10B72F43}"/>
                </a:ext>
              </a:extLst>
            </p:cNvPr>
            <p:cNvSpPr/>
            <p:nvPr/>
          </p:nvSpPr>
          <p:spPr>
            <a:xfrm>
              <a:off x="6477952" y="3488055"/>
              <a:ext cx="60960" cy="42862"/>
            </a:xfrm>
            <a:custGeom>
              <a:avLst/>
              <a:gdLst>
                <a:gd name="connsiteX0" fmla="*/ 0 w 60960"/>
                <a:gd name="connsiteY0" fmla="*/ 1905 h 42862"/>
                <a:gd name="connsiteX1" fmla="*/ 3810 w 60960"/>
                <a:gd name="connsiteY1" fmla="*/ 10477 h 42862"/>
                <a:gd name="connsiteX2" fmla="*/ 8573 w 60960"/>
                <a:gd name="connsiteY2" fmla="*/ 11430 h 42862"/>
                <a:gd name="connsiteX3" fmla="*/ 15240 w 60960"/>
                <a:gd name="connsiteY3" fmla="*/ 16193 h 42862"/>
                <a:gd name="connsiteX4" fmla="*/ 20955 w 60960"/>
                <a:gd name="connsiteY4" fmla="*/ 20002 h 42862"/>
                <a:gd name="connsiteX5" fmla="*/ 21908 w 60960"/>
                <a:gd name="connsiteY5" fmla="*/ 22860 h 42862"/>
                <a:gd name="connsiteX6" fmla="*/ 21908 w 60960"/>
                <a:gd name="connsiteY6" fmla="*/ 29527 h 42862"/>
                <a:gd name="connsiteX7" fmla="*/ 27623 w 60960"/>
                <a:gd name="connsiteY7" fmla="*/ 34290 h 42862"/>
                <a:gd name="connsiteX8" fmla="*/ 33338 w 60960"/>
                <a:gd name="connsiteY8" fmla="*/ 35243 h 42862"/>
                <a:gd name="connsiteX9" fmla="*/ 37148 w 60960"/>
                <a:gd name="connsiteY9" fmla="*/ 37147 h 42862"/>
                <a:gd name="connsiteX10" fmla="*/ 41910 w 60960"/>
                <a:gd name="connsiteY10" fmla="*/ 31432 h 42862"/>
                <a:gd name="connsiteX11" fmla="*/ 43815 w 60960"/>
                <a:gd name="connsiteY11" fmla="*/ 30480 h 42862"/>
                <a:gd name="connsiteX12" fmla="*/ 48577 w 60960"/>
                <a:gd name="connsiteY12" fmla="*/ 36195 h 42862"/>
                <a:gd name="connsiteX13" fmla="*/ 50483 w 60960"/>
                <a:gd name="connsiteY13" fmla="*/ 40957 h 42862"/>
                <a:gd name="connsiteX14" fmla="*/ 55245 w 60960"/>
                <a:gd name="connsiteY14" fmla="*/ 42863 h 42862"/>
                <a:gd name="connsiteX15" fmla="*/ 60008 w 60960"/>
                <a:gd name="connsiteY15" fmla="*/ 42863 h 42862"/>
                <a:gd name="connsiteX16" fmla="*/ 60960 w 60960"/>
                <a:gd name="connsiteY16" fmla="*/ 40005 h 42862"/>
                <a:gd name="connsiteX17" fmla="*/ 56198 w 60960"/>
                <a:gd name="connsiteY17" fmla="*/ 33338 h 42862"/>
                <a:gd name="connsiteX18" fmla="*/ 53340 w 60960"/>
                <a:gd name="connsiteY18" fmla="*/ 29527 h 42862"/>
                <a:gd name="connsiteX19" fmla="*/ 52388 w 60960"/>
                <a:gd name="connsiteY19" fmla="*/ 26670 h 42862"/>
                <a:gd name="connsiteX20" fmla="*/ 53340 w 60960"/>
                <a:gd name="connsiteY20" fmla="*/ 23813 h 42862"/>
                <a:gd name="connsiteX21" fmla="*/ 45720 w 60960"/>
                <a:gd name="connsiteY21" fmla="*/ 17145 h 42862"/>
                <a:gd name="connsiteX22" fmla="*/ 38100 w 60960"/>
                <a:gd name="connsiteY22" fmla="*/ 12382 h 42862"/>
                <a:gd name="connsiteX23" fmla="*/ 33338 w 60960"/>
                <a:gd name="connsiteY23" fmla="*/ 10477 h 42862"/>
                <a:gd name="connsiteX24" fmla="*/ 27623 w 60960"/>
                <a:gd name="connsiteY24" fmla="*/ 7620 h 42862"/>
                <a:gd name="connsiteX25" fmla="*/ 20002 w 60960"/>
                <a:gd name="connsiteY25" fmla="*/ 5715 h 42862"/>
                <a:gd name="connsiteX26" fmla="*/ 15240 w 60960"/>
                <a:gd name="connsiteY26" fmla="*/ 9525 h 42862"/>
                <a:gd name="connsiteX27" fmla="*/ 11430 w 60960"/>
                <a:gd name="connsiteY27" fmla="*/ 9525 h 42862"/>
                <a:gd name="connsiteX28" fmla="*/ 11430 w 60960"/>
                <a:gd name="connsiteY28" fmla="*/ 6668 h 42862"/>
                <a:gd name="connsiteX29" fmla="*/ 11430 w 60960"/>
                <a:gd name="connsiteY29" fmla="*/ 3810 h 42862"/>
                <a:gd name="connsiteX30" fmla="*/ 10477 w 60960"/>
                <a:gd name="connsiteY30" fmla="*/ 1905 h 42862"/>
                <a:gd name="connsiteX31" fmla="*/ 6668 w 60960"/>
                <a:gd name="connsiteY31" fmla="*/ 952 h 42862"/>
                <a:gd name="connsiteX32" fmla="*/ 4763 w 60960"/>
                <a:gd name="connsiteY32" fmla="*/ 0 h 42862"/>
                <a:gd name="connsiteX33" fmla="*/ 2858 w 60960"/>
                <a:gd name="connsiteY33" fmla="*/ 0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960" h="42862">
                  <a:moveTo>
                    <a:pt x="0" y="1905"/>
                  </a:moveTo>
                  <a:lnTo>
                    <a:pt x="3810" y="10477"/>
                  </a:lnTo>
                  <a:lnTo>
                    <a:pt x="8573" y="11430"/>
                  </a:lnTo>
                  <a:lnTo>
                    <a:pt x="15240" y="16193"/>
                  </a:lnTo>
                  <a:lnTo>
                    <a:pt x="20955" y="20002"/>
                  </a:lnTo>
                  <a:lnTo>
                    <a:pt x="21908" y="22860"/>
                  </a:lnTo>
                  <a:lnTo>
                    <a:pt x="21908" y="29527"/>
                  </a:lnTo>
                  <a:lnTo>
                    <a:pt x="27623" y="34290"/>
                  </a:lnTo>
                  <a:lnTo>
                    <a:pt x="33338" y="35243"/>
                  </a:lnTo>
                  <a:lnTo>
                    <a:pt x="37148" y="37147"/>
                  </a:lnTo>
                  <a:lnTo>
                    <a:pt x="41910" y="31432"/>
                  </a:lnTo>
                  <a:lnTo>
                    <a:pt x="43815" y="30480"/>
                  </a:lnTo>
                  <a:lnTo>
                    <a:pt x="48577" y="36195"/>
                  </a:lnTo>
                  <a:lnTo>
                    <a:pt x="50483" y="40957"/>
                  </a:lnTo>
                  <a:lnTo>
                    <a:pt x="55245" y="42863"/>
                  </a:lnTo>
                  <a:lnTo>
                    <a:pt x="60008" y="42863"/>
                  </a:lnTo>
                  <a:lnTo>
                    <a:pt x="60960" y="40005"/>
                  </a:lnTo>
                  <a:lnTo>
                    <a:pt x="56198" y="33338"/>
                  </a:lnTo>
                  <a:lnTo>
                    <a:pt x="53340" y="29527"/>
                  </a:lnTo>
                  <a:lnTo>
                    <a:pt x="52388" y="26670"/>
                  </a:lnTo>
                  <a:lnTo>
                    <a:pt x="53340" y="23813"/>
                  </a:lnTo>
                  <a:lnTo>
                    <a:pt x="45720" y="17145"/>
                  </a:lnTo>
                  <a:lnTo>
                    <a:pt x="38100" y="12382"/>
                  </a:lnTo>
                  <a:lnTo>
                    <a:pt x="33338" y="10477"/>
                  </a:lnTo>
                  <a:lnTo>
                    <a:pt x="27623" y="7620"/>
                  </a:lnTo>
                  <a:lnTo>
                    <a:pt x="20002" y="5715"/>
                  </a:lnTo>
                  <a:lnTo>
                    <a:pt x="15240" y="9525"/>
                  </a:lnTo>
                  <a:lnTo>
                    <a:pt x="11430" y="9525"/>
                  </a:lnTo>
                  <a:lnTo>
                    <a:pt x="11430" y="6668"/>
                  </a:lnTo>
                  <a:lnTo>
                    <a:pt x="11430" y="3810"/>
                  </a:lnTo>
                  <a:lnTo>
                    <a:pt x="10477" y="1905"/>
                  </a:lnTo>
                  <a:lnTo>
                    <a:pt x="6668" y="952"/>
                  </a:lnTo>
                  <a:lnTo>
                    <a:pt x="4763" y="0"/>
                  </a:lnTo>
                  <a:lnTo>
                    <a:pt x="285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D79F9C7-8A4C-424B-8FB8-BDAA1C643B1D}"/>
                </a:ext>
              </a:extLst>
            </p:cNvPr>
            <p:cNvSpPr/>
            <p:nvPr/>
          </p:nvSpPr>
          <p:spPr>
            <a:xfrm>
              <a:off x="6534150" y="3502342"/>
              <a:ext cx="12382" cy="10477"/>
            </a:xfrm>
            <a:custGeom>
              <a:avLst/>
              <a:gdLst>
                <a:gd name="connsiteX0" fmla="*/ 0 w 12382"/>
                <a:gd name="connsiteY0" fmla="*/ 10477 h 10477"/>
                <a:gd name="connsiteX1" fmla="*/ 9525 w 12382"/>
                <a:gd name="connsiteY1" fmla="*/ 10477 h 10477"/>
                <a:gd name="connsiteX2" fmla="*/ 12383 w 12382"/>
                <a:gd name="connsiteY2" fmla="*/ 6668 h 10477"/>
                <a:gd name="connsiteX3" fmla="*/ 12383 w 12382"/>
                <a:gd name="connsiteY3" fmla="*/ 0 h 10477"/>
                <a:gd name="connsiteX4" fmla="*/ 10477 w 12382"/>
                <a:gd name="connsiteY4" fmla="*/ 952 h 10477"/>
                <a:gd name="connsiteX5" fmla="*/ 9525 w 12382"/>
                <a:gd name="connsiteY5" fmla="*/ 2857 h 10477"/>
                <a:gd name="connsiteX6" fmla="*/ 8573 w 12382"/>
                <a:gd name="connsiteY6" fmla="*/ 5715 h 10477"/>
                <a:gd name="connsiteX7" fmla="*/ 8573 w 12382"/>
                <a:gd name="connsiteY7" fmla="*/ 6668 h 10477"/>
                <a:gd name="connsiteX8" fmla="*/ 7620 w 12382"/>
                <a:gd name="connsiteY8" fmla="*/ 6668 h 10477"/>
                <a:gd name="connsiteX9" fmla="*/ 5715 w 12382"/>
                <a:gd name="connsiteY9" fmla="*/ 5715 h 10477"/>
                <a:gd name="connsiteX10" fmla="*/ 3810 w 12382"/>
                <a:gd name="connsiteY10" fmla="*/ 5715 h 10477"/>
                <a:gd name="connsiteX11" fmla="*/ 3810 w 12382"/>
                <a:gd name="connsiteY11" fmla="*/ 6668 h 10477"/>
                <a:gd name="connsiteX12" fmla="*/ 1905 w 12382"/>
                <a:gd name="connsiteY12" fmla="*/ 7620 h 10477"/>
                <a:gd name="connsiteX13" fmla="*/ 0 w 12382"/>
                <a:gd name="connsiteY13" fmla="*/ 8572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" h="10477">
                  <a:moveTo>
                    <a:pt x="0" y="10477"/>
                  </a:moveTo>
                  <a:lnTo>
                    <a:pt x="9525" y="10477"/>
                  </a:lnTo>
                  <a:lnTo>
                    <a:pt x="12383" y="6668"/>
                  </a:lnTo>
                  <a:lnTo>
                    <a:pt x="12383" y="0"/>
                  </a:lnTo>
                  <a:lnTo>
                    <a:pt x="10477" y="952"/>
                  </a:lnTo>
                  <a:lnTo>
                    <a:pt x="9525" y="2857"/>
                  </a:lnTo>
                  <a:lnTo>
                    <a:pt x="8573" y="5715"/>
                  </a:lnTo>
                  <a:lnTo>
                    <a:pt x="8573" y="6668"/>
                  </a:lnTo>
                  <a:lnTo>
                    <a:pt x="7620" y="6668"/>
                  </a:lnTo>
                  <a:lnTo>
                    <a:pt x="5715" y="5715"/>
                  </a:lnTo>
                  <a:lnTo>
                    <a:pt x="3810" y="5715"/>
                  </a:lnTo>
                  <a:lnTo>
                    <a:pt x="3810" y="6668"/>
                  </a:lnTo>
                  <a:lnTo>
                    <a:pt x="1905" y="7620"/>
                  </a:lnTo>
                  <a:lnTo>
                    <a:pt x="0" y="8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8162E9B-8B2F-44FD-A50D-9801CDF01C7F}"/>
                </a:ext>
              </a:extLst>
            </p:cNvPr>
            <p:cNvSpPr/>
            <p:nvPr/>
          </p:nvSpPr>
          <p:spPr>
            <a:xfrm>
              <a:off x="6396989" y="3530917"/>
              <a:ext cx="130492" cy="124777"/>
            </a:xfrm>
            <a:custGeom>
              <a:avLst/>
              <a:gdLst>
                <a:gd name="connsiteX0" fmla="*/ 115252 w 130492"/>
                <a:gd name="connsiteY0" fmla="*/ 0 h 124777"/>
                <a:gd name="connsiteX1" fmla="*/ 117158 w 130492"/>
                <a:gd name="connsiteY1" fmla="*/ 0 h 124777"/>
                <a:gd name="connsiteX2" fmla="*/ 118110 w 130492"/>
                <a:gd name="connsiteY2" fmla="*/ 17145 h 124777"/>
                <a:gd name="connsiteX3" fmla="*/ 119063 w 130492"/>
                <a:gd name="connsiteY3" fmla="*/ 32385 h 124777"/>
                <a:gd name="connsiteX4" fmla="*/ 126683 w 130492"/>
                <a:gd name="connsiteY4" fmla="*/ 49530 h 124777"/>
                <a:gd name="connsiteX5" fmla="*/ 130493 w 130492"/>
                <a:gd name="connsiteY5" fmla="*/ 70485 h 124777"/>
                <a:gd name="connsiteX6" fmla="*/ 124777 w 130492"/>
                <a:gd name="connsiteY6" fmla="*/ 82868 h 124777"/>
                <a:gd name="connsiteX7" fmla="*/ 113348 w 130492"/>
                <a:gd name="connsiteY7" fmla="*/ 101918 h 124777"/>
                <a:gd name="connsiteX8" fmla="*/ 98108 w 130492"/>
                <a:gd name="connsiteY8" fmla="*/ 117157 h 124777"/>
                <a:gd name="connsiteX9" fmla="*/ 95250 w 130492"/>
                <a:gd name="connsiteY9" fmla="*/ 119062 h 124777"/>
                <a:gd name="connsiteX10" fmla="*/ 90488 w 130492"/>
                <a:gd name="connsiteY10" fmla="*/ 120015 h 124777"/>
                <a:gd name="connsiteX11" fmla="*/ 86677 w 130492"/>
                <a:gd name="connsiteY11" fmla="*/ 122872 h 124777"/>
                <a:gd name="connsiteX12" fmla="*/ 83820 w 130492"/>
                <a:gd name="connsiteY12" fmla="*/ 124778 h 124777"/>
                <a:gd name="connsiteX13" fmla="*/ 80963 w 130492"/>
                <a:gd name="connsiteY13" fmla="*/ 123825 h 124777"/>
                <a:gd name="connsiteX14" fmla="*/ 80963 w 130492"/>
                <a:gd name="connsiteY14" fmla="*/ 121920 h 124777"/>
                <a:gd name="connsiteX15" fmla="*/ 77152 w 130492"/>
                <a:gd name="connsiteY15" fmla="*/ 121920 h 124777"/>
                <a:gd name="connsiteX16" fmla="*/ 75248 w 130492"/>
                <a:gd name="connsiteY16" fmla="*/ 124778 h 124777"/>
                <a:gd name="connsiteX17" fmla="*/ 72390 w 130492"/>
                <a:gd name="connsiteY17" fmla="*/ 122872 h 124777"/>
                <a:gd name="connsiteX18" fmla="*/ 68580 w 130492"/>
                <a:gd name="connsiteY18" fmla="*/ 117157 h 124777"/>
                <a:gd name="connsiteX19" fmla="*/ 67627 w 130492"/>
                <a:gd name="connsiteY19" fmla="*/ 110490 h 124777"/>
                <a:gd name="connsiteX20" fmla="*/ 65723 w 130492"/>
                <a:gd name="connsiteY20" fmla="*/ 104775 h 124777"/>
                <a:gd name="connsiteX21" fmla="*/ 70485 w 130492"/>
                <a:gd name="connsiteY21" fmla="*/ 100012 h 124777"/>
                <a:gd name="connsiteX22" fmla="*/ 70485 w 130492"/>
                <a:gd name="connsiteY22" fmla="*/ 98107 h 124777"/>
                <a:gd name="connsiteX23" fmla="*/ 67627 w 130492"/>
                <a:gd name="connsiteY23" fmla="*/ 98107 h 124777"/>
                <a:gd name="connsiteX24" fmla="*/ 62865 w 130492"/>
                <a:gd name="connsiteY24" fmla="*/ 100965 h 124777"/>
                <a:gd name="connsiteX25" fmla="*/ 62865 w 130492"/>
                <a:gd name="connsiteY25" fmla="*/ 103822 h 124777"/>
                <a:gd name="connsiteX26" fmla="*/ 60008 w 130492"/>
                <a:gd name="connsiteY26" fmla="*/ 104775 h 124777"/>
                <a:gd name="connsiteX27" fmla="*/ 60008 w 130492"/>
                <a:gd name="connsiteY27" fmla="*/ 100012 h 124777"/>
                <a:gd name="connsiteX28" fmla="*/ 60008 w 130492"/>
                <a:gd name="connsiteY28" fmla="*/ 94297 h 124777"/>
                <a:gd name="connsiteX29" fmla="*/ 57150 w 130492"/>
                <a:gd name="connsiteY29" fmla="*/ 91440 h 124777"/>
                <a:gd name="connsiteX30" fmla="*/ 39052 w 130492"/>
                <a:gd name="connsiteY30" fmla="*/ 91440 h 124777"/>
                <a:gd name="connsiteX31" fmla="*/ 24765 w 130492"/>
                <a:gd name="connsiteY31" fmla="*/ 94297 h 124777"/>
                <a:gd name="connsiteX32" fmla="*/ 11430 w 130492"/>
                <a:gd name="connsiteY32" fmla="*/ 100012 h 124777"/>
                <a:gd name="connsiteX33" fmla="*/ 6668 w 130492"/>
                <a:gd name="connsiteY33" fmla="*/ 100965 h 124777"/>
                <a:gd name="connsiteX34" fmla="*/ 2858 w 130492"/>
                <a:gd name="connsiteY34" fmla="*/ 101918 h 124777"/>
                <a:gd name="connsiteX35" fmla="*/ 0 w 130492"/>
                <a:gd name="connsiteY35" fmla="*/ 97155 h 124777"/>
                <a:gd name="connsiteX36" fmla="*/ 4763 w 130492"/>
                <a:gd name="connsiteY36" fmla="*/ 80962 h 124777"/>
                <a:gd name="connsiteX37" fmla="*/ 7620 w 130492"/>
                <a:gd name="connsiteY37" fmla="*/ 62865 h 124777"/>
                <a:gd name="connsiteX38" fmla="*/ 8573 w 130492"/>
                <a:gd name="connsiteY38" fmla="*/ 46672 h 124777"/>
                <a:gd name="connsiteX39" fmla="*/ 21908 w 130492"/>
                <a:gd name="connsiteY39" fmla="*/ 40005 h 124777"/>
                <a:gd name="connsiteX40" fmla="*/ 34290 w 130492"/>
                <a:gd name="connsiteY40" fmla="*/ 38100 h 124777"/>
                <a:gd name="connsiteX41" fmla="*/ 49530 w 130492"/>
                <a:gd name="connsiteY41" fmla="*/ 23813 h 124777"/>
                <a:gd name="connsiteX42" fmla="*/ 60008 w 130492"/>
                <a:gd name="connsiteY42" fmla="*/ 15240 h 124777"/>
                <a:gd name="connsiteX43" fmla="*/ 64770 w 130492"/>
                <a:gd name="connsiteY43" fmla="*/ 14288 h 124777"/>
                <a:gd name="connsiteX44" fmla="*/ 64770 w 130492"/>
                <a:gd name="connsiteY44" fmla="*/ 18097 h 124777"/>
                <a:gd name="connsiteX45" fmla="*/ 70485 w 130492"/>
                <a:gd name="connsiteY45" fmla="*/ 18097 h 124777"/>
                <a:gd name="connsiteX46" fmla="*/ 68580 w 130492"/>
                <a:gd name="connsiteY46" fmla="*/ 15240 h 124777"/>
                <a:gd name="connsiteX47" fmla="*/ 68580 w 130492"/>
                <a:gd name="connsiteY47" fmla="*/ 12382 h 124777"/>
                <a:gd name="connsiteX48" fmla="*/ 72390 w 130492"/>
                <a:gd name="connsiteY48" fmla="*/ 11430 h 124777"/>
                <a:gd name="connsiteX49" fmla="*/ 78105 w 130492"/>
                <a:gd name="connsiteY49" fmla="*/ 4763 h 124777"/>
                <a:gd name="connsiteX50" fmla="*/ 80010 w 130492"/>
                <a:gd name="connsiteY50" fmla="*/ 1905 h 124777"/>
                <a:gd name="connsiteX51" fmla="*/ 83820 w 130492"/>
                <a:gd name="connsiteY51" fmla="*/ 1905 h 124777"/>
                <a:gd name="connsiteX52" fmla="*/ 85725 w 130492"/>
                <a:gd name="connsiteY52" fmla="*/ 3810 h 124777"/>
                <a:gd name="connsiteX53" fmla="*/ 92393 w 130492"/>
                <a:gd name="connsiteY53" fmla="*/ 4763 h 124777"/>
                <a:gd name="connsiteX54" fmla="*/ 93345 w 130492"/>
                <a:gd name="connsiteY54" fmla="*/ 7620 h 124777"/>
                <a:gd name="connsiteX55" fmla="*/ 89535 w 130492"/>
                <a:gd name="connsiteY55" fmla="*/ 17145 h 124777"/>
                <a:gd name="connsiteX56" fmla="*/ 90488 w 130492"/>
                <a:gd name="connsiteY56" fmla="*/ 20955 h 124777"/>
                <a:gd name="connsiteX57" fmla="*/ 92393 w 130492"/>
                <a:gd name="connsiteY57" fmla="*/ 23813 h 124777"/>
                <a:gd name="connsiteX58" fmla="*/ 99060 w 130492"/>
                <a:gd name="connsiteY58" fmla="*/ 30480 h 124777"/>
                <a:gd name="connsiteX59" fmla="*/ 102870 w 130492"/>
                <a:gd name="connsiteY59" fmla="*/ 29527 h 124777"/>
                <a:gd name="connsiteX60" fmla="*/ 108585 w 130492"/>
                <a:gd name="connsiteY60" fmla="*/ 19050 h 124777"/>
                <a:gd name="connsiteX61" fmla="*/ 110490 w 130492"/>
                <a:gd name="connsiteY61" fmla="*/ 10477 h 124777"/>
                <a:gd name="connsiteX62" fmla="*/ 112395 w 130492"/>
                <a:gd name="connsiteY62" fmla="*/ 3810 h 12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30492" h="124777">
                  <a:moveTo>
                    <a:pt x="115252" y="0"/>
                  </a:moveTo>
                  <a:lnTo>
                    <a:pt x="117158" y="0"/>
                  </a:lnTo>
                  <a:lnTo>
                    <a:pt x="118110" y="17145"/>
                  </a:lnTo>
                  <a:lnTo>
                    <a:pt x="119063" y="32385"/>
                  </a:lnTo>
                  <a:lnTo>
                    <a:pt x="126683" y="49530"/>
                  </a:lnTo>
                  <a:lnTo>
                    <a:pt x="130493" y="70485"/>
                  </a:lnTo>
                  <a:lnTo>
                    <a:pt x="124777" y="82868"/>
                  </a:lnTo>
                  <a:lnTo>
                    <a:pt x="113348" y="101918"/>
                  </a:lnTo>
                  <a:lnTo>
                    <a:pt x="98108" y="117157"/>
                  </a:lnTo>
                  <a:lnTo>
                    <a:pt x="95250" y="119062"/>
                  </a:lnTo>
                  <a:lnTo>
                    <a:pt x="90488" y="120015"/>
                  </a:lnTo>
                  <a:lnTo>
                    <a:pt x="86677" y="122872"/>
                  </a:lnTo>
                  <a:lnTo>
                    <a:pt x="83820" y="124778"/>
                  </a:lnTo>
                  <a:lnTo>
                    <a:pt x="80963" y="123825"/>
                  </a:lnTo>
                  <a:lnTo>
                    <a:pt x="80963" y="121920"/>
                  </a:lnTo>
                  <a:lnTo>
                    <a:pt x="77152" y="121920"/>
                  </a:lnTo>
                  <a:lnTo>
                    <a:pt x="75248" y="124778"/>
                  </a:lnTo>
                  <a:lnTo>
                    <a:pt x="72390" y="122872"/>
                  </a:lnTo>
                  <a:lnTo>
                    <a:pt x="68580" y="117157"/>
                  </a:lnTo>
                  <a:lnTo>
                    <a:pt x="67627" y="110490"/>
                  </a:lnTo>
                  <a:lnTo>
                    <a:pt x="65723" y="104775"/>
                  </a:lnTo>
                  <a:lnTo>
                    <a:pt x="70485" y="100012"/>
                  </a:lnTo>
                  <a:lnTo>
                    <a:pt x="70485" y="98107"/>
                  </a:lnTo>
                  <a:lnTo>
                    <a:pt x="67627" y="98107"/>
                  </a:lnTo>
                  <a:lnTo>
                    <a:pt x="62865" y="100965"/>
                  </a:lnTo>
                  <a:lnTo>
                    <a:pt x="62865" y="103822"/>
                  </a:lnTo>
                  <a:lnTo>
                    <a:pt x="60008" y="104775"/>
                  </a:lnTo>
                  <a:lnTo>
                    <a:pt x="60008" y="100012"/>
                  </a:lnTo>
                  <a:lnTo>
                    <a:pt x="60008" y="94297"/>
                  </a:lnTo>
                  <a:lnTo>
                    <a:pt x="57150" y="91440"/>
                  </a:lnTo>
                  <a:lnTo>
                    <a:pt x="39052" y="91440"/>
                  </a:lnTo>
                  <a:lnTo>
                    <a:pt x="24765" y="94297"/>
                  </a:lnTo>
                  <a:lnTo>
                    <a:pt x="11430" y="100012"/>
                  </a:lnTo>
                  <a:lnTo>
                    <a:pt x="6668" y="100965"/>
                  </a:lnTo>
                  <a:lnTo>
                    <a:pt x="2858" y="101918"/>
                  </a:lnTo>
                  <a:lnTo>
                    <a:pt x="0" y="97155"/>
                  </a:lnTo>
                  <a:lnTo>
                    <a:pt x="4763" y="80962"/>
                  </a:lnTo>
                  <a:lnTo>
                    <a:pt x="7620" y="62865"/>
                  </a:lnTo>
                  <a:lnTo>
                    <a:pt x="8573" y="46672"/>
                  </a:lnTo>
                  <a:lnTo>
                    <a:pt x="21908" y="40005"/>
                  </a:lnTo>
                  <a:lnTo>
                    <a:pt x="34290" y="38100"/>
                  </a:lnTo>
                  <a:lnTo>
                    <a:pt x="49530" y="23813"/>
                  </a:lnTo>
                  <a:lnTo>
                    <a:pt x="60008" y="15240"/>
                  </a:lnTo>
                  <a:lnTo>
                    <a:pt x="64770" y="14288"/>
                  </a:lnTo>
                  <a:lnTo>
                    <a:pt x="64770" y="18097"/>
                  </a:lnTo>
                  <a:lnTo>
                    <a:pt x="70485" y="18097"/>
                  </a:lnTo>
                  <a:lnTo>
                    <a:pt x="68580" y="15240"/>
                  </a:lnTo>
                  <a:lnTo>
                    <a:pt x="68580" y="12382"/>
                  </a:lnTo>
                  <a:lnTo>
                    <a:pt x="72390" y="11430"/>
                  </a:lnTo>
                  <a:lnTo>
                    <a:pt x="78105" y="4763"/>
                  </a:lnTo>
                  <a:lnTo>
                    <a:pt x="80010" y="1905"/>
                  </a:lnTo>
                  <a:lnTo>
                    <a:pt x="83820" y="1905"/>
                  </a:lnTo>
                  <a:lnTo>
                    <a:pt x="85725" y="3810"/>
                  </a:lnTo>
                  <a:lnTo>
                    <a:pt x="92393" y="4763"/>
                  </a:lnTo>
                  <a:lnTo>
                    <a:pt x="93345" y="7620"/>
                  </a:lnTo>
                  <a:lnTo>
                    <a:pt x="89535" y="17145"/>
                  </a:lnTo>
                  <a:lnTo>
                    <a:pt x="90488" y="20955"/>
                  </a:lnTo>
                  <a:lnTo>
                    <a:pt x="92393" y="23813"/>
                  </a:lnTo>
                  <a:lnTo>
                    <a:pt x="99060" y="30480"/>
                  </a:lnTo>
                  <a:lnTo>
                    <a:pt x="102870" y="29527"/>
                  </a:lnTo>
                  <a:lnTo>
                    <a:pt x="108585" y="19050"/>
                  </a:lnTo>
                  <a:lnTo>
                    <a:pt x="110490" y="10477"/>
                  </a:lnTo>
                  <a:lnTo>
                    <a:pt x="112395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37D32C7-CBEE-467A-8BF1-ABC1E11C21BD}"/>
                </a:ext>
              </a:extLst>
            </p:cNvPr>
            <p:cNvSpPr/>
            <p:nvPr/>
          </p:nvSpPr>
          <p:spPr>
            <a:xfrm>
              <a:off x="6465570" y="3662362"/>
              <a:ext cx="15239" cy="12382"/>
            </a:xfrm>
            <a:custGeom>
              <a:avLst/>
              <a:gdLst>
                <a:gd name="connsiteX0" fmla="*/ 3810 w 15239"/>
                <a:gd name="connsiteY0" fmla="*/ 952 h 12382"/>
                <a:gd name="connsiteX1" fmla="*/ 5715 w 15239"/>
                <a:gd name="connsiteY1" fmla="*/ 0 h 12382"/>
                <a:gd name="connsiteX2" fmla="*/ 7620 w 15239"/>
                <a:gd name="connsiteY2" fmla="*/ 1905 h 12382"/>
                <a:gd name="connsiteX3" fmla="*/ 10477 w 15239"/>
                <a:gd name="connsiteY3" fmla="*/ 952 h 12382"/>
                <a:gd name="connsiteX4" fmla="*/ 13335 w 15239"/>
                <a:gd name="connsiteY4" fmla="*/ 952 h 12382"/>
                <a:gd name="connsiteX5" fmla="*/ 14288 w 15239"/>
                <a:gd name="connsiteY5" fmla="*/ 952 h 12382"/>
                <a:gd name="connsiteX6" fmla="*/ 15240 w 15239"/>
                <a:gd name="connsiteY6" fmla="*/ 4763 h 12382"/>
                <a:gd name="connsiteX7" fmla="*/ 10477 w 15239"/>
                <a:gd name="connsiteY7" fmla="*/ 7620 h 12382"/>
                <a:gd name="connsiteX8" fmla="*/ 9525 w 15239"/>
                <a:gd name="connsiteY8" fmla="*/ 9525 h 12382"/>
                <a:gd name="connsiteX9" fmla="*/ 6667 w 15239"/>
                <a:gd name="connsiteY9" fmla="*/ 12383 h 12382"/>
                <a:gd name="connsiteX10" fmla="*/ 3810 w 15239"/>
                <a:gd name="connsiteY10" fmla="*/ 12383 h 12382"/>
                <a:gd name="connsiteX11" fmla="*/ 0 w 15239"/>
                <a:gd name="connsiteY11" fmla="*/ 12383 h 12382"/>
                <a:gd name="connsiteX12" fmla="*/ 0 w 15239"/>
                <a:gd name="connsiteY12" fmla="*/ 7620 h 12382"/>
                <a:gd name="connsiteX13" fmla="*/ 1905 w 15239"/>
                <a:gd name="connsiteY13" fmla="*/ 2858 h 12382"/>
                <a:gd name="connsiteX14" fmla="*/ 1905 w 15239"/>
                <a:gd name="connsiteY14" fmla="*/ 0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39" h="12382">
                  <a:moveTo>
                    <a:pt x="3810" y="952"/>
                  </a:moveTo>
                  <a:lnTo>
                    <a:pt x="5715" y="0"/>
                  </a:lnTo>
                  <a:lnTo>
                    <a:pt x="7620" y="1905"/>
                  </a:lnTo>
                  <a:lnTo>
                    <a:pt x="10477" y="952"/>
                  </a:lnTo>
                  <a:lnTo>
                    <a:pt x="13335" y="952"/>
                  </a:lnTo>
                  <a:lnTo>
                    <a:pt x="14288" y="952"/>
                  </a:lnTo>
                  <a:lnTo>
                    <a:pt x="15240" y="4763"/>
                  </a:lnTo>
                  <a:lnTo>
                    <a:pt x="10477" y="7620"/>
                  </a:lnTo>
                  <a:lnTo>
                    <a:pt x="9525" y="9525"/>
                  </a:lnTo>
                  <a:lnTo>
                    <a:pt x="6667" y="12383"/>
                  </a:lnTo>
                  <a:lnTo>
                    <a:pt x="3810" y="12383"/>
                  </a:lnTo>
                  <a:lnTo>
                    <a:pt x="0" y="12383"/>
                  </a:lnTo>
                  <a:lnTo>
                    <a:pt x="0" y="7620"/>
                  </a:lnTo>
                  <a:lnTo>
                    <a:pt x="1905" y="2858"/>
                  </a:lnTo>
                  <a:lnTo>
                    <a:pt x="190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F9CDC82-8BD0-410E-A374-96E049AA42FD}"/>
                </a:ext>
              </a:extLst>
            </p:cNvPr>
            <p:cNvSpPr/>
            <p:nvPr/>
          </p:nvSpPr>
          <p:spPr>
            <a:xfrm>
              <a:off x="6552247" y="3645217"/>
              <a:ext cx="20002" cy="31432"/>
            </a:xfrm>
            <a:custGeom>
              <a:avLst/>
              <a:gdLst>
                <a:gd name="connsiteX0" fmla="*/ 12382 w 20002"/>
                <a:gd name="connsiteY0" fmla="*/ 0 h 31432"/>
                <a:gd name="connsiteX1" fmla="*/ 14288 w 20002"/>
                <a:gd name="connsiteY1" fmla="*/ 1905 h 31432"/>
                <a:gd name="connsiteX2" fmla="*/ 15240 w 20002"/>
                <a:gd name="connsiteY2" fmla="*/ 10478 h 31432"/>
                <a:gd name="connsiteX3" fmla="*/ 15240 w 20002"/>
                <a:gd name="connsiteY3" fmla="*/ 15240 h 31432"/>
                <a:gd name="connsiteX4" fmla="*/ 20002 w 20002"/>
                <a:gd name="connsiteY4" fmla="*/ 16193 h 31432"/>
                <a:gd name="connsiteX5" fmla="*/ 20002 w 20002"/>
                <a:gd name="connsiteY5" fmla="*/ 19050 h 31432"/>
                <a:gd name="connsiteX6" fmla="*/ 15240 w 20002"/>
                <a:gd name="connsiteY6" fmla="*/ 19050 h 31432"/>
                <a:gd name="connsiteX7" fmla="*/ 11430 w 20002"/>
                <a:gd name="connsiteY7" fmla="*/ 21908 h 31432"/>
                <a:gd name="connsiteX8" fmla="*/ 6667 w 20002"/>
                <a:gd name="connsiteY8" fmla="*/ 26670 h 31432"/>
                <a:gd name="connsiteX9" fmla="*/ 3810 w 20002"/>
                <a:gd name="connsiteY9" fmla="*/ 31433 h 31432"/>
                <a:gd name="connsiteX10" fmla="*/ 0 w 20002"/>
                <a:gd name="connsiteY10" fmla="*/ 30480 h 31432"/>
                <a:gd name="connsiteX11" fmla="*/ 952 w 20002"/>
                <a:gd name="connsiteY11" fmla="*/ 26670 h 31432"/>
                <a:gd name="connsiteX12" fmla="*/ 1905 w 20002"/>
                <a:gd name="connsiteY12" fmla="*/ 20955 h 31432"/>
                <a:gd name="connsiteX13" fmla="*/ 5715 w 20002"/>
                <a:gd name="connsiteY13" fmla="*/ 19050 h 31432"/>
                <a:gd name="connsiteX14" fmla="*/ 9525 w 20002"/>
                <a:gd name="connsiteY14" fmla="*/ 15240 h 31432"/>
                <a:gd name="connsiteX15" fmla="*/ 10477 w 20002"/>
                <a:gd name="connsiteY15" fmla="*/ 8573 h 31432"/>
                <a:gd name="connsiteX16" fmla="*/ 11430 w 20002"/>
                <a:gd name="connsiteY16" fmla="*/ 1905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02" h="31432">
                  <a:moveTo>
                    <a:pt x="12382" y="0"/>
                  </a:moveTo>
                  <a:lnTo>
                    <a:pt x="14288" y="1905"/>
                  </a:lnTo>
                  <a:lnTo>
                    <a:pt x="15240" y="10478"/>
                  </a:lnTo>
                  <a:lnTo>
                    <a:pt x="15240" y="15240"/>
                  </a:lnTo>
                  <a:lnTo>
                    <a:pt x="20002" y="16193"/>
                  </a:lnTo>
                  <a:lnTo>
                    <a:pt x="20002" y="19050"/>
                  </a:lnTo>
                  <a:lnTo>
                    <a:pt x="15240" y="19050"/>
                  </a:lnTo>
                  <a:lnTo>
                    <a:pt x="11430" y="21908"/>
                  </a:lnTo>
                  <a:lnTo>
                    <a:pt x="6667" y="26670"/>
                  </a:lnTo>
                  <a:lnTo>
                    <a:pt x="3810" y="31433"/>
                  </a:lnTo>
                  <a:lnTo>
                    <a:pt x="0" y="30480"/>
                  </a:lnTo>
                  <a:lnTo>
                    <a:pt x="952" y="26670"/>
                  </a:lnTo>
                  <a:lnTo>
                    <a:pt x="1905" y="20955"/>
                  </a:lnTo>
                  <a:lnTo>
                    <a:pt x="5715" y="19050"/>
                  </a:lnTo>
                  <a:lnTo>
                    <a:pt x="9525" y="15240"/>
                  </a:lnTo>
                  <a:lnTo>
                    <a:pt x="10477" y="8573"/>
                  </a:lnTo>
                  <a:lnTo>
                    <a:pt x="1143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CEFA7C9-7C4E-4DE6-9898-0464F7124B4A}"/>
                </a:ext>
              </a:extLst>
            </p:cNvPr>
            <p:cNvSpPr/>
            <p:nvPr/>
          </p:nvSpPr>
          <p:spPr>
            <a:xfrm>
              <a:off x="6514147" y="3671887"/>
              <a:ext cx="36194" cy="22860"/>
            </a:xfrm>
            <a:custGeom>
              <a:avLst/>
              <a:gdLst>
                <a:gd name="connsiteX0" fmla="*/ 32385 w 36194"/>
                <a:gd name="connsiteY0" fmla="*/ 0 h 22860"/>
                <a:gd name="connsiteX1" fmla="*/ 35242 w 36194"/>
                <a:gd name="connsiteY1" fmla="*/ 2858 h 22860"/>
                <a:gd name="connsiteX2" fmla="*/ 36195 w 36194"/>
                <a:gd name="connsiteY2" fmla="*/ 6667 h 22860"/>
                <a:gd name="connsiteX3" fmla="*/ 31432 w 36194"/>
                <a:gd name="connsiteY3" fmla="*/ 8573 h 22860"/>
                <a:gd name="connsiteX4" fmla="*/ 22860 w 36194"/>
                <a:gd name="connsiteY4" fmla="*/ 10477 h 22860"/>
                <a:gd name="connsiteX5" fmla="*/ 17145 w 36194"/>
                <a:gd name="connsiteY5" fmla="*/ 15240 h 22860"/>
                <a:gd name="connsiteX6" fmla="*/ 13335 w 36194"/>
                <a:gd name="connsiteY6" fmla="*/ 18098 h 22860"/>
                <a:gd name="connsiteX7" fmla="*/ 11430 w 36194"/>
                <a:gd name="connsiteY7" fmla="*/ 20955 h 22860"/>
                <a:gd name="connsiteX8" fmla="*/ 8573 w 36194"/>
                <a:gd name="connsiteY8" fmla="*/ 22860 h 22860"/>
                <a:gd name="connsiteX9" fmla="*/ 2857 w 36194"/>
                <a:gd name="connsiteY9" fmla="*/ 22860 h 22860"/>
                <a:gd name="connsiteX10" fmla="*/ 0 w 36194"/>
                <a:gd name="connsiteY10" fmla="*/ 22860 h 22860"/>
                <a:gd name="connsiteX11" fmla="*/ 0 w 36194"/>
                <a:gd name="connsiteY11" fmla="*/ 18098 h 22860"/>
                <a:gd name="connsiteX12" fmla="*/ 2857 w 36194"/>
                <a:gd name="connsiteY12" fmla="*/ 16192 h 22860"/>
                <a:gd name="connsiteX13" fmla="*/ 10477 w 36194"/>
                <a:gd name="connsiteY13" fmla="*/ 13335 h 22860"/>
                <a:gd name="connsiteX14" fmla="*/ 15240 w 36194"/>
                <a:gd name="connsiteY14" fmla="*/ 9525 h 22860"/>
                <a:gd name="connsiteX15" fmla="*/ 21907 w 36194"/>
                <a:gd name="connsiteY15" fmla="*/ 6667 h 22860"/>
                <a:gd name="connsiteX16" fmla="*/ 27623 w 36194"/>
                <a:gd name="connsiteY16" fmla="*/ 952 h 2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194" h="22860">
                  <a:moveTo>
                    <a:pt x="32385" y="0"/>
                  </a:moveTo>
                  <a:lnTo>
                    <a:pt x="35242" y="2858"/>
                  </a:lnTo>
                  <a:lnTo>
                    <a:pt x="36195" y="6667"/>
                  </a:lnTo>
                  <a:lnTo>
                    <a:pt x="31432" y="8573"/>
                  </a:lnTo>
                  <a:lnTo>
                    <a:pt x="22860" y="10477"/>
                  </a:lnTo>
                  <a:lnTo>
                    <a:pt x="17145" y="15240"/>
                  </a:lnTo>
                  <a:lnTo>
                    <a:pt x="13335" y="18098"/>
                  </a:lnTo>
                  <a:lnTo>
                    <a:pt x="11430" y="20955"/>
                  </a:lnTo>
                  <a:lnTo>
                    <a:pt x="8573" y="22860"/>
                  </a:lnTo>
                  <a:lnTo>
                    <a:pt x="2857" y="22860"/>
                  </a:lnTo>
                  <a:lnTo>
                    <a:pt x="0" y="22860"/>
                  </a:lnTo>
                  <a:lnTo>
                    <a:pt x="0" y="18098"/>
                  </a:lnTo>
                  <a:lnTo>
                    <a:pt x="2857" y="16192"/>
                  </a:lnTo>
                  <a:lnTo>
                    <a:pt x="10477" y="13335"/>
                  </a:lnTo>
                  <a:lnTo>
                    <a:pt x="15240" y="9525"/>
                  </a:lnTo>
                  <a:lnTo>
                    <a:pt x="21907" y="6667"/>
                  </a:lnTo>
                  <a:lnTo>
                    <a:pt x="27623" y="9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52F6B8-38D6-4580-8655-41F2F89F8EBA}"/>
              </a:ext>
            </a:extLst>
          </p:cNvPr>
          <p:cNvCxnSpPr>
            <a:cxnSpLocks/>
          </p:cNvCxnSpPr>
          <p:nvPr/>
        </p:nvCxnSpPr>
        <p:spPr>
          <a:xfrm>
            <a:off x="-317641" y="-754854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4F2A518-FBB7-484E-9B62-41628800E404}"/>
              </a:ext>
            </a:extLst>
          </p:cNvPr>
          <p:cNvSpPr txBox="1"/>
          <p:nvPr/>
        </p:nvSpPr>
        <p:spPr>
          <a:xfrm>
            <a:off x="2450306" y="143709"/>
            <a:ext cx="4243388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3 CENTERS / INSTITUTES</a:t>
            </a:r>
            <a:endParaRPr lang="fr-FR" sz="2100" b="1" dirty="0">
              <a:solidFill>
                <a:srgbClr val="B9975B"/>
              </a:solidFill>
              <a:latin typeface="Arial" panose="020B0604020202020204" pitchFamily="34" charset="0"/>
              <a:cs typeface="DIN Pro Cond Black" panose="020B0A06020101010102" pitchFamily="34" charset="0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C133542-14BE-49B5-A306-3ED4E405CA3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F7935C8-E0CD-4CEC-80DE-3F60AE168C3C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: Rounded Corners 140">
            <a:extLst>
              <a:ext uri="{FF2B5EF4-FFF2-40B4-BE49-F238E27FC236}">
                <a16:creationId xmlns:a16="http://schemas.microsoft.com/office/drawing/2014/main" id="{66BCEFE5-364E-4E11-A286-8B4F2455D1A9}"/>
              </a:ext>
            </a:extLst>
          </p:cNvPr>
          <p:cNvSpPr/>
          <p:nvPr/>
        </p:nvSpPr>
        <p:spPr>
          <a:xfrm>
            <a:off x="710389" y="1947917"/>
            <a:ext cx="2531765" cy="1696853"/>
          </a:xfrm>
          <a:prstGeom prst="roundRect">
            <a:avLst>
              <a:gd name="adj" fmla="val 4199"/>
            </a:avLst>
          </a:prstGeom>
          <a:blipFill>
            <a:blip r:embed="rId2"/>
            <a:stretch>
              <a:fillRect/>
            </a:stretch>
          </a:blip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19" name="Rectangle: Rounded Corners 141">
            <a:extLst>
              <a:ext uri="{FF2B5EF4-FFF2-40B4-BE49-F238E27FC236}">
                <a16:creationId xmlns:a16="http://schemas.microsoft.com/office/drawing/2014/main" id="{16124478-1D07-4F6C-8CD3-15078C63C804}"/>
              </a:ext>
            </a:extLst>
          </p:cNvPr>
          <p:cNvSpPr/>
          <p:nvPr/>
        </p:nvSpPr>
        <p:spPr>
          <a:xfrm>
            <a:off x="3346986" y="1948084"/>
            <a:ext cx="2532600" cy="1696686"/>
          </a:xfrm>
          <a:prstGeom prst="roundRect">
            <a:avLst>
              <a:gd name="adj" fmla="val 4199"/>
            </a:avLst>
          </a:prstGeom>
          <a:blipFill>
            <a:blip r:embed="rId2"/>
            <a:stretch>
              <a:fillRect/>
            </a:stretch>
          </a:blip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0" name="ZoneTexte 21">
            <a:extLst>
              <a:ext uri="{FF2B5EF4-FFF2-40B4-BE49-F238E27FC236}">
                <a16:creationId xmlns:a16="http://schemas.microsoft.com/office/drawing/2014/main" id="{9C5CD56B-6AE5-48F4-8AF5-928B040AEBDA}"/>
              </a:ext>
            </a:extLst>
          </p:cNvPr>
          <p:cNvSpPr txBox="1"/>
          <p:nvPr/>
        </p:nvSpPr>
        <p:spPr>
          <a:xfrm>
            <a:off x="749504" y="2613699"/>
            <a:ext cx="24539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INNOVATION &amp; ENTREPRENEURSHIP INSTITUTE</a:t>
            </a:r>
          </a:p>
          <a:p>
            <a:pPr algn="ctr"/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DIN Pro Cond Bold" panose="020B0806020101010102" pitchFamily="34" charset="0"/>
            </a:endParaRPr>
          </a:p>
          <a:p>
            <a:pPr algn="ctr"/>
            <a:r>
              <a:rPr lang="en-US" sz="900" dirty="0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Grow with ambition, efficiency and impact!</a:t>
            </a:r>
            <a:endParaRPr lang="fr-FR" sz="900" dirty="0">
              <a:solidFill>
                <a:schemeClr val="bg1"/>
              </a:solidFill>
              <a:latin typeface="Arial" panose="020B0604020202020204" pitchFamily="34" charset="0"/>
              <a:cs typeface="DIN Pro Cond Bold" panose="020B0806020101010102" pitchFamily="34" charset="0"/>
            </a:endParaRPr>
          </a:p>
        </p:txBody>
      </p:sp>
      <p:sp>
        <p:nvSpPr>
          <p:cNvPr id="121" name="ZoneTexte 22">
            <a:extLst>
              <a:ext uri="{FF2B5EF4-FFF2-40B4-BE49-F238E27FC236}">
                <a16:creationId xmlns:a16="http://schemas.microsoft.com/office/drawing/2014/main" id="{4B94FCC3-B565-4F24-9420-3F5C49158D29}"/>
              </a:ext>
            </a:extLst>
          </p:cNvPr>
          <p:cNvSpPr txBox="1"/>
          <p:nvPr/>
        </p:nvSpPr>
        <p:spPr>
          <a:xfrm>
            <a:off x="3711509" y="2622410"/>
            <a:ext cx="18035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&amp;O INTITUTE</a:t>
            </a:r>
          </a:p>
          <a:p>
            <a:pPr algn="ctr"/>
            <a:r>
              <a:rPr lang="fr-FR" sz="900" dirty="0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Society &amp; </a:t>
            </a:r>
            <a:r>
              <a:rPr lang="fr-FR" sz="900" dirty="0" err="1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Organizations</a:t>
            </a:r>
            <a:r>
              <a:rPr lang="fr-FR" sz="900" dirty="0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 Institute</a:t>
            </a:r>
          </a:p>
        </p:txBody>
      </p:sp>
      <p:pic>
        <p:nvPicPr>
          <p:cNvPr id="122" name="Graphic 15">
            <a:extLst>
              <a:ext uri="{FF2B5EF4-FFF2-40B4-BE49-F238E27FC236}">
                <a16:creationId xmlns:a16="http://schemas.microsoft.com/office/drawing/2014/main" id="{0C9E6759-16B5-423D-A8F0-9529489B7E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755" y="2111977"/>
            <a:ext cx="445730" cy="445730"/>
          </a:xfrm>
          <a:prstGeom prst="rect">
            <a:avLst/>
          </a:prstGeom>
        </p:spPr>
      </p:pic>
      <p:pic>
        <p:nvPicPr>
          <p:cNvPr id="123" name="Graphic 36">
            <a:extLst>
              <a:ext uri="{FF2B5EF4-FFF2-40B4-BE49-F238E27FC236}">
                <a16:creationId xmlns:a16="http://schemas.microsoft.com/office/drawing/2014/main" id="{4CFB99AF-ABFD-43B9-88D1-F16D5A50251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59754" y="2154374"/>
            <a:ext cx="344055" cy="344055"/>
          </a:xfrm>
          <a:prstGeom prst="rect">
            <a:avLst/>
          </a:prstGeom>
        </p:spPr>
      </p:pic>
      <p:sp>
        <p:nvSpPr>
          <p:cNvPr id="124" name="Rectangle: Rounded Corners 141">
            <a:extLst>
              <a:ext uri="{FF2B5EF4-FFF2-40B4-BE49-F238E27FC236}">
                <a16:creationId xmlns:a16="http://schemas.microsoft.com/office/drawing/2014/main" id="{16124478-1D07-4F6C-8CD3-15078C63C804}"/>
              </a:ext>
            </a:extLst>
          </p:cNvPr>
          <p:cNvSpPr/>
          <p:nvPr/>
        </p:nvSpPr>
        <p:spPr>
          <a:xfrm>
            <a:off x="5990183" y="1948155"/>
            <a:ext cx="2532600" cy="1696853"/>
          </a:xfrm>
          <a:prstGeom prst="roundRect">
            <a:avLst>
              <a:gd name="adj" fmla="val 4199"/>
            </a:avLst>
          </a:prstGeom>
          <a:blipFill>
            <a:blip r:embed="rId2"/>
            <a:stretch>
              <a:fillRect/>
            </a:stretch>
          </a:blip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5" name="ZoneTexte 22">
            <a:extLst>
              <a:ext uri="{FF2B5EF4-FFF2-40B4-BE49-F238E27FC236}">
                <a16:creationId xmlns:a16="http://schemas.microsoft.com/office/drawing/2014/main" id="{4B94FCC3-B565-4F24-9420-3F5C49158D29}"/>
              </a:ext>
            </a:extLst>
          </p:cNvPr>
          <p:cNvSpPr txBox="1"/>
          <p:nvPr/>
        </p:nvSpPr>
        <p:spPr>
          <a:xfrm>
            <a:off x="6279397" y="2614546"/>
            <a:ext cx="195417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Hi! PARIS CENTER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Paris Artificial Intelligence for Society &amp; Business</a:t>
            </a:r>
          </a:p>
          <a:p>
            <a:pPr algn="ctr"/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DIN Pro Cond Bold" panose="020B0806020101010102" pitchFamily="34" charset="0"/>
            </a:endParaRPr>
          </a:p>
          <a:p>
            <a:pPr algn="ctr"/>
            <a:r>
              <a:rPr lang="en-US" sz="900" i="1" dirty="0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in partnership with </a:t>
            </a:r>
            <a:r>
              <a:rPr lang="en-US" sz="900" i="1" dirty="0" err="1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Institut</a:t>
            </a:r>
            <a:r>
              <a:rPr lang="en-US" sz="900" i="1" dirty="0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 </a:t>
            </a:r>
            <a:r>
              <a:rPr lang="en-US" sz="900" i="1" dirty="0" err="1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Polytechnique</a:t>
            </a:r>
            <a:r>
              <a:rPr lang="en-US" sz="900" i="1" dirty="0">
                <a:solidFill>
                  <a:schemeClr val="bg1"/>
                </a:solidFill>
                <a:latin typeface="Arial" panose="020B0604020202020204" pitchFamily="34" charset="0"/>
                <a:cs typeface="DIN Pro Cond Bold" panose="020B0806020101010102" pitchFamily="34" charset="0"/>
              </a:rPr>
              <a:t> de Paris (IP Paris)</a:t>
            </a:r>
            <a:endParaRPr lang="fr-FR" sz="900" i="1" dirty="0">
              <a:solidFill>
                <a:schemeClr val="bg1"/>
              </a:solidFill>
              <a:latin typeface="Arial" panose="020B0604020202020204" pitchFamily="34" charset="0"/>
              <a:cs typeface="DIN Pro Cond Bold" panose="020B0806020101010102" pitchFamily="34" charset="0"/>
            </a:endParaRPr>
          </a:p>
        </p:txBody>
      </p:sp>
      <p:pic>
        <p:nvPicPr>
          <p:cNvPr id="126" name="Image 12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7754" y="2140853"/>
            <a:ext cx="3429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77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14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8" presetClass="emph" presetSubtype="0" decel="100000" fill="hold" grpId="1" nodeType="withEffect">
                                  <p:stCondLst>
                                    <p:cond delay="14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8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49" presetClass="entr" presetSubtype="0" decel="100000" fill="hold" nodeType="withEffect">
                                  <p:stCondLst>
                                    <p:cond delay="16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8" presetClass="emph" presetSubtype="0" decel="100000" fill="hold" nodeType="withEffect">
                                  <p:stCondLst>
                                    <p:cond delay="16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6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accel="22000" decel="78000" fill="hold" grpId="1" nodeType="withEffect">
                                  <p:stCondLst>
                                    <p:cond delay="1350"/>
                                  </p:stCondLst>
                                  <p:childTnLst>
                                    <p:animMotion origin="layout" path="M -1.04167E-6 4.81481E-6 L -0.00182 0.08263 " pathEditMode="relative" rAng="0" ptsTypes="AA">
                                      <p:cBhvr>
                                        <p:cTn id="31" dur="1250" spd="-100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" y="412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49" presetClass="entr" presetSubtype="0" decel="100000" fill="hold" grpId="0" nodeType="withEffect">
                                  <p:stCondLst>
                                    <p:cond delay="1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8" presetClass="emph" presetSubtype="0" decel="100000" fill="hold" grpId="1" nodeType="withEffect">
                                  <p:stCondLst>
                                    <p:cond delay="1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39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0" presetID="49" presetClass="entr" presetSubtype="0" decel="100000" fill="hold" nodeType="withEffect">
                                  <p:stCondLst>
                                    <p:cond delay="1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8" presetClass="emph" presetSubtype="0" decel="100000" fill="hold" nodeType="withEffect">
                                  <p:stCondLst>
                                    <p:cond delay="1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47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accel="22000" decel="78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1.04167E-6 4.81481E-6 L -0.00182 0.08263 " pathEditMode="relative" rAng="0" ptsTypes="AA">
                                      <p:cBhvr>
                                        <p:cTn id="52" dur="125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" y="412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49" presetClass="entr" presetSubtype="0" decel="100000" fill="hold" grpId="0" nodeType="withEffect">
                                  <p:stCondLst>
                                    <p:cond delay="202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8" presetClass="emph" presetSubtype="0" decel="100000" fill="hold" grpId="1" nodeType="withEffect">
                                  <p:stCondLst>
                                    <p:cond delay="202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60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2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3" presetClass="path" presetSubtype="0" accel="22000" decel="78000" fill="hold" grpId="1" nodeType="withEffect">
                                  <p:stCondLst>
                                    <p:cond delay="1760"/>
                                  </p:stCondLst>
                                  <p:childTnLst>
                                    <p:animMotion origin="layout" path="M -1.04167E-6 4.81481E-6 L -0.00182 0.08263 " pathEditMode="relative" rAng="0" ptsTypes="AA">
                                      <p:cBhvr>
                                        <p:cTn id="65" dur="1250" spd="-100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" y="41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118" grpId="1" animBg="1"/>
      <p:bldP spid="119" grpId="0" animBg="1"/>
      <p:bldP spid="119" grpId="1" animBg="1"/>
      <p:bldP spid="120" grpId="0"/>
      <p:bldP spid="120" grpId="1"/>
      <p:bldP spid="121" grpId="0"/>
      <p:bldP spid="121" grpId="1"/>
      <p:bldP spid="124" grpId="0" animBg="1"/>
      <p:bldP spid="124" grpId="1" animBg="1"/>
      <p:bldP spid="125" grpId="0"/>
      <p:bldP spid="125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latin typeface="DIN" panose="02000503040000020003" pitchFamily="2" charset="0"/>
              </a:rPr>
              <a:t>PROGRAMS AT HEC PARIS</a:t>
            </a:r>
          </a:p>
        </p:txBody>
      </p:sp>
    </p:spTree>
    <p:extLst>
      <p:ext uri="{BB962C8B-B14F-4D97-AF65-F5344CB8AC3E}">
        <p14:creationId xmlns:p14="http://schemas.microsoft.com/office/powerpoint/2010/main" val="12160749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1A10D4C-D6A8-4E93-929E-61585045486B}"/>
              </a:ext>
            </a:extLst>
          </p:cNvPr>
          <p:cNvSpPr/>
          <p:nvPr/>
        </p:nvSpPr>
        <p:spPr>
          <a:xfrm>
            <a:off x="504826" y="1046919"/>
            <a:ext cx="8158842" cy="2554057"/>
          </a:xfrm>
          <a:prstGeom prst="roundRect">
            <a:avLst>
              <a:gd name="adj" fmla="val 2835"/>
            </a:avLst>
          </a:prstGeom>
          <a:gradFill>
            <a:gsLst>
              <a:gs pos="0">
                <a:srgbClr val="B9975B">
                  <a:alpha val="39000"/>
                </a:srgbClr>
              </a:gs>
              <a:gs pos="100000">
                <a:srgbClr val="B9975B">
                  <a:alpha val="0"/>
                </a:srgbClr>
              </a:gs>
            </a:gsLst>
            <a:lin ang="5400000" scaled="1"/>
          </a:gradFill>
          <a:ln>
            <a:solidFill>
              <a:srgbClr val="B9975B">
                <a:alpha val="18000"/>
              </a:srgbClr>
            </a:solidFill>
          </a:ln>
          <a:effectLst>
            <a:outerShdw blurRad="508000" dist="203200" dir="5400000" sx="73000" sy="73000" algn="ctr" rotWithShape="0">
              <a:srgbClr val="B9975B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1FB48BF-8AA2-437B-9DEF-5AF44D5B1927}"/>
              </a:ext>
            </a:extLst>
          </p:cNvPr>
          <p:cNvSpPr/>
          <p:nvPr/>
        </p:nvSpPr>
        <p:spPr>
          <a:xfrm>
            <a:off x="4636390" y="3688683"/>
            <a:ext cx="1901693" cy="858314"/>
          </a:xfrm>
          <a:prstGeom prst="roundRect">
            <a:avLst>
              <a:gd name="adj" fmla="val 4199"/>
            </a:avLst>
          </a:prstGeom>
          <a:gradFill>
            <a:gsLst>
              <a:gs pos="0">
                <a:srgbClr val="00305C">
                  <a:alpha val="44000"/>
                </a:srgbClr>
              </a:gs>
              <a:gs pos="100000">
                <a:srgbClr val="00305C"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E2C92089-B428-468B-A2C7-FF6D2A7FBC12}"/>
              </a:ext>
            </a:extLst>
          </p:cNvPr>
          <p:cNvSpPr/>
          <p:nvPr/>
        </p:nvSpPr>
        <p:spPr>
          <a:xfrm>
            <a:off x="6646940" y="3688683"/>
            <a:ext cx="1901693" cy="858314"/>
          </a:xfrm>
          <a:prstGeom prst="roundRect">
            <a:avLst>
              <a:gd name="adj" fmla="val 4199"/>
            </a:avLst>
          </a:prstGeom>
          <a:gradFill>
            <a:gsLst>
              <a:gs pos="0">
                <a:srgbClr val="00305C">
                  <a:alpha val="44000"/>
                </a:srgbClr>
              </a:gs>
              <a:gs pos="100000">
                <a:srgbClr val="00305C"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60F97D2-B2AA-4F73-AE69-DCA7164C2633}"/>
              </a:ext>
            </a:extLst>
          </p:cNvPr>
          <p:cNvSpPr/>
          <p:nvPr/>
        </p:nvSpPr>
        <p:spPr>
          <a:xfrm>
            <a:off x="2616724" y="3688683"/>
            <a:ext cx="1901693" cy="1076325"/>
          </a:xfrm>
          <a:prstGeom prst="roundRect">
            <a:avLst>
              <a:gd name="adj" fmla="val 4199"/>
            </a:avLst>
          </a:prstGeom>
          <a:gradFill>
            <a:gsLst>
              <a:gs pos="0">
                <a:srgbClr val="00305C">
                  <a:alpha val="44000"/>
                </a:srgbClr>
              </a:gs>
              <a:gs pos="100000">
                <a:srgbClr val="00305C"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9E43AC-9C52-4C16-B24D-20295175A18C}"/>
              </a:ext>
            </a:extLst>
          </p:cNvPr>
          <p:cNvSpPr txBox="1"/>
          <p:nvPr/>
        </p:nvSpPr>
        <p:spPr>
          <a:xfrm>
            <a:off x="2450306" y="143709"/>
            <a:ext cx="4243388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OGRAMS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AT HEC PARI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0E5107-49F4-419C-B3C2-5AA457C222A0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D5DA47F-A33E-442E-B961-E84E64E9E86B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10">
            <a:extLst>
              <a:ext uri="{FF2B5EF4-FFF2-40B4-BE49-F238E27FC236}">
                <a16:creationId xmlns:a16="http://schemas.microsoft.com/office/drawing/2014/main" id="{2677250B-2DC3-4E5F-B535-60AB4E3ADC8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1809" y="1081216"/>
            <a:ext cx="760382" cy="37659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35B0551-1FFB-4BAD-B7D7-0F342E01A425}"/>
              </a:ext>
            </a:extLst>
          </p:cNvPr>
          <p:cNvGrpSpPr/>
          <p:nvPr/>
        </p:nvGrpSpPr>
        <p:grpSpPr>
          <a:xfrm>
            <a:off x="2616724" y="1574908"/>
            <a:ext cx="1901693" cy="367451"/>
            <a:chOff x="820384" y="2297588"/>
            <a:chExt cx="2535591" cy="489935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36AC047-172E-4DCB-93FD-331CF865BC70}"/>
                </a:ext>
              </a:extLst>
            </p:cNvPr>
            <p:cNvSpPr/>
            <p:nvPr/>
          </p:nvSpPr>
          <p:spPr>
            <a:xfrm>
              <a:off x="820384" y="2297588"/>
              <a:ext cx="2535591" cy="489935"/>
            </a:xfrm>
            <a:prstGeom prst="roundRect">
              <a:avLst>
                <a:gd name="adj" fmla="val 7310"/>
              </a:avLst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5EDA08B-01C3-44F0-848C-D9B9BF3D368F}"/>
                </a:ext>
              </a:extLst>
            </p:cNvPr>
            <p:cNvSpPr txBox="1"/>
            <p:nvPr/>
          </p:nvSpPr>
          <p:spPr>
            <a:xfrm>
              <a:off x="1016598" y="2401418"/>
              <a:ext cx="2168562" cy="28227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OST-EXPERIENC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DAA9C4B-F4F5-4CE1-8883-F5C69405DD4D}"/>
              </a:ext>
            </a:extLst>
          </p:cNvPr>
          <p:cNvGrpSpPr/>
          <p:nvPr/>
        </p:nvGrpSpPr>
        <p:grpSpPr>
          <a:xfrm>
            <a:off x="4637284" y="1574907"/>
            <a:ext cx="1901693" cy="367452"/>
            <a:chOff x="6183044" y="2297588"/>
            <a:chExt cx="2535591" cy="489936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61F1F722-7009-42DE-B871-0E42EF378F75}"/>
                </a:ext>
              </a:extLst>
            </p:cNvPr>
            <p:cNvSpPr/>
            <p:nvPr/>
          </p:nvSpPr>
          <p:spPr>
            <a:xfrm>
              <a:off x="6183044" y="2297588"/>
              <a:ext cx="2535591" cy="489935"/>
            </a:xfrm>
            <a:prstGeom prst="roundRect">
              <a:avLst>
                <a:gd name="adj" fmla="val 7310"/>
              </a:avLst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C3B5246-4872-4453-A108-B3B476DDA165}"/>
                </a:ext>
              </a:extLst>
            </p:cNvPr>
            <p:cNvSpPr txBox="1"/>
            <p:nvPr/>
          </p:nvSpPr>
          <p:spPr>
            <a:xfrm>
              <a:off x="6207124" y="2297588"/>
              <a:ext cx="2478444" cy="48993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OST-EXPERIENCE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4C4F41A8-93CE-412A-BDC3-41297E0132BC}"/>
              </a:ext>
            </a:extLst>
          </p:cNvPr>
          <p:cNvGrpSpPr/>
          <p:nvPr/>
        </p:nvGrpSpPr>
        <p:grpSpPr>
          <a:xfrm>
            <a:off x="3555552" y="4167014"/>
            <a:ext cx="669159" cy="282356"/>
            <a:chOff x="1951215" y="5768602"/>
            <a:chExt cx="1134092" cy="478535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48B23554-E384-4954-95BF-6CBC0D7204FB}"/>
                </a:ext>
              </a:extLst>
            </p:cNvPr>
            <p:cNvSpPr/>
            <p:nvPr/>
          </p:nvSpPr>
          <p:spPr>
            <a:xfrm>
              <a:off x="1951215" y="5768602"/>
              <a:ext cx="1134092" cy="478535"/>
            </a:xfrm>
            <a:prstGeom prst="roundRect">
              <a:avLst>
                <a:gd name="adj" fmla="val 796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203200" dir="5400000" sx="73000" sy="73000" algn="ctr" rotWithShape="0">
                <a:srgbClr val="00305C">
                  <a:alpha val="14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05D7426-9129-4535-A377-FEB8DFF6925E}"/>
                </a:ext>
              </a:extLst>
            </p:cNvPr>
            <p:cNvGrpSpPr/>
            <p:nvPr/>
          </p:nvGrpSpPr>
          <p:grpSpPr>
            <a:xfrm>
              <a:off x="2058792" y="5876080"/>
              <a:ext cx="897683" cy="263577"/>
              <a:chOff x="1254694" y="5786898"/>
              <a:chExt cx="2919598" cy="857250"/>
            </a:xfrm>
          </p:grpSpPr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3A51C01A-5E18-422F-8964-B4A1527538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5566" y="5786898"/>
                <a:ext cx="1228726" cy="857250"/>
              </a:xfrm>
              <a:prstGeom prst="rect">
                <a:avLst/>
              </a:prstGeom>
            </p:spPr>
          </p:pic>
          <p:pic>
            <p:nvPicPr>
              <p:cNvPr id="14" name="Graphic 13">
                <a:extLst>
                  <a:ext uri="{FF2B5EF4-FFF2-40B4-BE49-F238E27FC236}">
                    <a16:creationId xmlns:a16="http://schemas.microsoft.com/office/drawing/2014/main" id="{DB6DA741-096E-4F50-837C-7DDB8EB812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254694" y="5786898"/>
                <a:ext cx="1228725" cy="857250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9DC2C0F-ED44-4C3C-92C0-58BE0FF06F7D}"/>
              </a:ext>
            </a:extLst>
          </p:cNvPr>
          <p:cNvGrpSpPr/>
          <p:nvPr/>
        </p:nvGrpSpPr>
        <p:grpSpPr>
          <a:xfrm>
            <a:off x="2616724" y="2068073"/>
            <a:ext cx="1901693" cy="1855063"/>
            <a:chOff x="820384" y="2955142"/>
            <a:chExt cx="2535591" cy="2473417"/>
          </a:xfrm>
        </p:grpSpPr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8FD34139-C4D6-4284-AD9A-1844D55EB635}"/>
                </a:ext>
              </a:extLst>
            </p:cNvPr>
            <p:cNvSpPr/>
            <p:nvPr/>
          </p:nvSpPr>
          <p:spPr>
            <a:xfrm>
              <a:off x="820384" y="2955142"/>
              <a:ext cx="2535591" cy="2473417"/>
            </a:xfrm>
            <a:prstGeom prst="roundRect">
              <a:avLst>
                <a:gd name="adj" fmla="val 2659"/>
              </a:avLst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DC0308B6-F39C-4467-8D35-140E443F8107}"/>
                </a:ext>
              </a:extLst>
            </p:cNvPr>
            <p:cNvSpPr/>
            <p:nvPr/>
          </p:nvSpPr>
          <p:spPr>
            <a:xfrm>
              <a:off x="820384" y="2955142"/>
              <a:ext cx="2535591" cy="2473417"/>
            </a:xfrm>
            <a:prstGeom prst="roundRect">
              <a:avLst>
                <a:gd name="adj" fmla="val 2659"/>
              </a:avLst>
            </a:prstGeom>
            <a:gradFill>
              <a:gsLst>
                <a:gs pos="0">
                  <a:srgbClr val="003A70">
                    <a:alpha val="59000"/>
                  </a:srgbClr>
                </a:gs>
                <a:gs pos="100000">
                  <a:srgbClr val="00305C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07FD356-16B7-4A14-9A99-D94B671E2EDC}"/>
                </a:ext>
              </a:extLst>
            </p:cNvPr>
            <p:cNvSpPr txBox="1"/>
            <p:nvPr/>
          </p:nvSpPr>
          <p:spPr>
            <a:xfrm>
              <a:off x="948018" y="3123973"/>
              <a:ext cx="2305722" cy="865890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/>
              <a:r>
                <a:rPr lang="fr-FR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nagement, Finance, Marketing, </a:t>
              </a:r>
              <a:r>
                <a:rPr lang="fr-FR" sz="900" dirty="0" err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Strategy</a:t>
              </a:r>
              <a:r>
                <a:rPr lang="fr-FR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, Digital, Innovation, Leadership, </a:t>
              </a:r>
              <a:br>
                <a:rPr lang="fr-FR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fr-FR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Social Business…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279E3D4-4EFF-42D7-A4B2-E71BA90BEB76}"/>
                </a:ext>
              </a:extLst>
            </p:cNvPr>
            <p:cNvSpPr txBox="1"/>
            <p:nvPr/>
          </p:nvSpPr>
          <p:spPr>
            <a:xfrm>
              <a:off x="877533" y="4105799"/>
              <a:ext cx="2446692" cy="1198514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fr-FR" sz="9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EXECUTIVE MASTERS</a:t>
              </a:r>
            </a:p>
            <a:p>
              <a:pPr algn="ctr">
                <a:lnSpc>
                  <a:spcPct val="110000"/>
                </a:lnSpc>
              </a:pPr>
              <a:r>
                <a:rPr lang="fr-FR" sz="9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EXECUTIVE CERTIFICATES</a:t>
              </a:r>
            </a:p>
            <a:p>
              <a:pPr algn="ctr">
                <a:lnSpc>
                  <a:spcPct val="110000"/>
                </a:lnSpc>
              </a:pPr>
              <a:r>
                <a:rPr lang="fr-FR" sz="9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CUSTOM PROGRAMS</a:t>
              </a:r>
            </a:p>
            <a:p>
              <a:pPr algn="ctr">
                <a:lnSpc>
                  <a:spcPct val="110000"/>
                </a:lnSpc>
              </a:pPr>
              <a:r>
                <a:rPr lang="fr-FR" sz="9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EXECUTIVE SHORT PROGRAMS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AC3CE7-9EFF-4E85-984B-C4303AA814CA}"/>
                </a:ext>
              </a:extLst>
            </p:cNvPr>
            <p:cNvCxnSpPr>
              <a:cxnSpLocks/>
            </p:cNvCxnSpPr>
            <p:nvPr/>
          </p:nvCxnSpPr>
          <p:spPr>
            <a:xfrm>
              <a:off x="820384" y="4060079"/>
              <a:ext cx="2535591" cy="0"/>
            </a:xfrm>
            <a:prstGeom prst="line">
              <a:avLst/>
            </a:prstGeom>
            <a:ln>
              <a:solidFill>
                <a:schemeClr val="bg1">
                  <a:alpha val="1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A294F33-60AA-4345-ABD5-897E0BE21F8C}"/>
              </a:ext>
            </a:extLst>
          </p:cNvPr>
          <p:cNvGrpSpPr/>
          <p:nvPr/>
        </p:nvGrpSpPr>
        <p:grpSpPr>
          <a:xfrm>
            <a:off x="2763885" y="4076919"/>
            <a:ext cx="510067" cy="510067"/>
            <a:chOff x="1016598" y="5802218"/>
            <a:chExt cx="680089" cy="680089"/>
          </a:xfrm>
          <a:effectLst>
            <a:outerShdw blurRad="241300" dist="50800" dir="5400000" algn="ctr" rotWithShape="0">
              <a:srgbClr val="00305C"/>
            </a:outerShdw>
          </a:effectLst>
        </p:grpSpPr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F93016DC-424A-4052-A8F1-041362CBF42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16598" y="5802218"/>
              <a:ext cx="680089" cy="680089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EA1C1F5F-5BDD-4DF6-B6E0-F492E718F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82052" y="5910590"/>
              <a:ext cx="349180" cy="349180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A473F3C-5766-4DFD-9506-5DFF90AB2D0D}"/>
              </a:ext>
            </a:extLst>
          </p:cNvPr>
          <p:cNvGrpSpPr/>
          <p:nvPr/>
        </p:nvGrpSpPr>
        <p:grpSpPr>
          <a:xfrm>
            <a:off x="5713771" y="4167014"/>
            <a:ext cx="401280" cy="282356"/>
            <a:chOff x="7545836" y="5768602"/>
            <a:chExt cx="680089" cy="478535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C6E3AFB1-62D3-49FC-826D-35F533E05882}"/>
                </a:ext>
              </a:extLst>
            </p:cNvPr>
            <p:cNvSpPr/>
            <p:nvPr/>
          </p:nvSpPr>
          <p:spPr>
            <a:xfrm>
              <a:off x="7545836" y="5768602"/>
              <a:ext cx="680089" cy="478535"/>
            </a:xfrm>
            <a:prstGeom prst="roundRect">
              <a:avLst>
                <a:gd name="adj" fmla="val 796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203200" dir="5400000" sx="73000" sy="73000" algn="ctr" rotWithShape="0">
                <a:srgbClr val="00305C">
                  <a:alpha val="3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3D604E3E-FD27-41CF-9563-FB97A62254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96983" y="5876080"/>
              <a:ext cx="377794" cy="263577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4C40C57-E9E6-48CB-B454-585C7BDD8A89}"/>
              </a:ext>
            </a:extLst>
          </p:cNvPr>
          <p:cNvGrpSpPr/>
          <p:nvPr/>
        </p:nvGrpSpPr>
        <p:grpSpPr>
          <a:xfrm>
            <a:off x="4624988" y="2068072"/>
            <a:ext cx="1915380" cy="1869035"/>
            <a:chOff x="6166651" y="2955142"/>
            <a:chExt cx="2553840" cy="2492046"/>
          </a:xfrm>
        </p:grpSpPr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790672E9-0BBE-4E9E-AA54-B1480561D10A}"/>
                </a:ext>
              </a:extLst>
            </p:cNvPr>
            <p:cNvSpPr/>
            <p:nvPr/>
          </p:nvSpPr>
          <p:spPr>
            <a:xfrm>
              <a:off x="6184900" y="2955142"/>
              <a:ext cx="2535591" cy="2492046"/>
            </a:xfrm>
            <a:prstGeom prst="roundRect">
              <a:avLst>
                <a:gd name="adj" fmla="val 2161"/>
              </a:avLst>
            </a:prstGeom>
            <a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2AA2C1B-CE04-4A99-9FC7-C8EB61CCB8F2}"/>
                </a:ext>
              </a:extLst>
            </p:cNvPr>
            <p:cNvGrpSpPr/>
            <p:nvPr/>
          </p:nvGrpSpPr>
          <p:grpSpPr>
            <a:xfrm>
              <a:off x="6166651" y="2955142"/>
              <a:ext cx="2553840" cy="2492046"/>
              <a:chOff x="6166651" y="2955142"/>
              <a:chExt cx="2553840" cy="2492046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8099CF0E-2E9E-4E42-AD74-E94A2B0CACB6}"/>
                  </a:ext>
                </a:extLst>
              </p:cNvPr>
              <p:cNvSpPr/>
              <p:nvPr/>
            </p:nvSpPr>
            <p:spPr>
              <a:xfrm>
                <a:off x="6184900" y="2955142"/>
                <a:ext cx="2535591" cy="2492046"/>
              </a:xfrm>
              <a:prstGeom prst="roundRect">
                <a:avLst>
                  <a:gd name="adj" fmla="val 2161"/>
                </a:avLst>
              </a:prstGeom>
              <a:gradFill>
                <a:gsLst>
                  <a:gs pos="0">
                    <a:srgbClr val="003A70">
                      <a:alpha val="59000"/>
                    </a:srgbClr>
                  </a:gs>
                  <a:gs pos="100000">
                    <a:srgbClr val="00305C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0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99D7B4F9-94E5-425F-9430-3A28B2A22C5F}"/>
                  </a:ext>
                </a:extLst>
              </p:cNvPr>
              <p:cNvSpPr txBox="1"/>
              <p:nvPr/>
            </p:nvSpPr>
            <p:spPr>
              <a:xfrm>
                <a:off x="6294285" y="3123973"/>
                <a:ext cx="2305722" cy="865890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/>
                <a: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General management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1036EE70-03D1-4856-93FC-5B94784BBC09}"/>
                  </a:ext>
                </a:extLst>
              </p:cNvPr>
              <p:cNvSpPr txBox="1"/>
              <p:nvPr/>
            </p:nvSpPr>
            <p:spPr>
              <a:xfrm>
                <a:off x="6294285" y="4105799"/>
                <a:ext cx="2305722" cy="1198514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fr-FR" sz="9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MBA FULL TIME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fr-FR" sz="9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EXECUTIVE MBAs / TRIUM</a:t>
                </a: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050E5459-0C3E-4CC3-8CAC-3874BAA54A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66651" y="4060079"/>
                <a:ext cx="2535591" cy="0"/>
              </a:xfrm>
              <a:prstGeom prst="line">
                <a:avLst/>
              </a:prstGeom>
              <a:ln>
                <a:solidFill>
                  <a:schemeClr val="bg1">
                    <a:alpha val="17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55076FD-363D-491D-B3ED-1AF52F55CDA2}"/>
              </a:ext>
            </a:extLst>
          </p:cNvPr>
          <p:cNvGrpSpPr/>
          <p:nvPr/>
        </p:nvGrpSpPr>
        <p:grpSpPr>
          <a:xfrm>
            <a:off x="5007393" y="4076919"/>
            <a:ext cx="510067" cy="510067"/>
            <a:chOff x="1016598" y="5802218"/>
            <a:chExt cx="680089" cy="680089"/>
          </a:xfrm>
          <a:effectLst>
            <a:outerShdw blurRad="241300" dist="50800" dir="5400000" algn="ctr" rotWithShape="0">
              <a:srgbClr val="00305C"/>
            </a:outerShdw>
          </a:effectLst>
        </p:grpSpPr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F39C24B0-C810-4D29-8584-477085906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16598" y="5802218"/>
              <a:ext cx="680089" cy="680089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60EA4C46-2906-4F73-9C24-CD14477E10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82052" y="5910590"/>
              <a:ext cx="349180" cy="349180"/>
            </a:xfrm>
            <a:prstGeom prst="rect">
              <a:avLst/>
            </a:prstGeom>
          </p:spPr>
        </p:pic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F122DD0-AF76-4556-B1EB-4D16AE5F6D6D}"/>
              </a:ext>
            </a:extLst>
          </p:cNvPr>
          <p:cNvGrpSpPr/>
          <p:nvPr/>
        </p:nvGrpSpPr>
        <p:grpSpPr>
          <a:xfrm>
            <a:off x="7728317" y="4167014"/>
            <a:ext cx="401280" cy="282356"/>
            <a:chOff x="10231898" y="5768602"/>
            <a:chExt cx="680089" cy="478535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9B700424-A478-4088-A68C-F323D498EAA9}"/>
                </a:ext>
              </a:extLst>
            </p:cNvPr>
            <p:cNvSpPr/>
            <p:nvPr/>
          </p:nvSpPr>
          <p:spPr>
            <a:xfrm>
              <a:off x="10231898" y="5768602"/>
              <a:ext cx="680089" cy="478535"/>
            </a:xfrm>
            <a:prstGeom prst="roundRect">
              <a:avLst>
                <a:gd name="adj" fmla="val 796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203200" dir="5400000" sx="73000" sy="73000" algn="ctr" rotWithShape="0">
                <a:srgbClr val="00305C">
                  <a:alpha val="3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94AA4943-0445-4E50-995C-9B77AA9B8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383045" y="5876080"/>
              <a:ext cx="377794" cy="263577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291FC6A-EE93-4022-BEAE-DE130A26BEE9}"/>
              </a:ext>
            </a:extLst>
          </p:cNvPr>
          <p:cNvGrpSpPr/>
          <p:nvPr/>
        </p:nvGrpSpPr>
        <p:grpSpPr>
          <a:xfrm>
            <a:off x="7021940" y="4076919"/>
            <a:ext cx="510067" cy="510067"/>
            <a:chOff x="1016598" y="5802218"/>
            <a:chExt cx="680089" cy="680089"/>
          </a:xfrm>
          <a:effectLst>
            <a:outerShdw blurRad="241300" dist="50800" dir="5400000" algn="ctr" rotWithShape="0">
              <a:srgbClr val="00305C"/>
            </a:outerShdw>
          </a:effectLst>
        </p:grpSpPr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B69221EA-86C8-4AF6-BF5F-555453A25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16598" y="5802218"/>
              <a:ext cx="680089" cy="680089"/>
            </a:xfrm>
            <a:prstGeom prst="rect">
              <a:avLst/>
            </a:prstGeom>
          </p:spPr>
        </p:pic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8AD7121F-753C-4F20-9331-3E3D3E0740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82052" y="5910590"/>
              <a:ext cx="349180" cy="34918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611A6A3-B479-41B0-8700-FF88DB038090}"/>
              </a:ext>
            </a:extLst>
          </p:cNvPr>
          <p:cNvGrpSpPr/>
          <p:nvPr/>
        </p:nvGrpSpPr>
        <p:grpSpPr>
          <a:xfrm>
            <a:off x="6646940" y="2068072"/>
            <a:ext cx="1906265" cy="1869035"/>
            <a:chOff x="8862586" y="2955142"/>
            <a:chExt cx="2541687" cy="2492046"/>
          </a:xfrm>
        </p:grpSpPr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2F27BF5E-9392-4EA6-AAA1-827DD2CD80E0}"/>
                </a:ext>
              </a:extLst>
            </p:cNvPr>
            <p:cNvSpPr/>
            <p:nvPr/>
          </p:nvSpPr>
          <p:spPr>
            <a:xfrm>
              <a:off x="8868682" y="2955142"/>
              <a:ext cx="2535591" cy="2492046"/>
            </a:xfrm>
            <a:prstGeom prst="roundRect">
              <a:avLst>
                <a:gd name="adj" fmla="val 2670"/>
              </a:avLst>
            </a:prstGeom>
            <a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AE57A27-0FB8-412D-A13C-601F0B8D4DC1}"/>
                </a:ext>
              </a:extLst>
            </p:cNvPr>
            <p:cNvGrpSpPr/>
            <p:nvPr/>
          </p:nvGrpSpPr>
          <p:grpSpPr>
            <a:xfrm>
              <a:off x="8862586" y="2955142"/>
              <a:ext cx="2541687" cy="2492046"/>
              <a:chOff x="8862586" y="2955142"/>
              <a:chExt cx="2541687" cy="2492046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52452640-7E73-4133-A9D8-C7DBEEF896BE}"/>
                  </a:ext>
                </a:extLst>
              </p:cNvPr>
              <p:cNvSpPr/>
              <p:nvPr/>
            </p:nvSpPr>
            <p:spPr>
              <a:xfrm>
                <a:off x="8868682" y="2955142"/>
                <a:ext cx="2535591" cy="2492046"/>
              </a:xfrm>
              <a:prstGeom prst="roundRect">
                <a:avLst>
                  <a:gd name="adj" fmla="val 2670"/>
                </a:avLst>
              </a:prstGeom>
              <a:gradFill>
                <a:gsLst>
                  <a:gs pos="0">
                    <a:srgbClr val="003A70">
                      <a:alpha val="59000"/>
                    </a:srgbClr>
                  </a:gs>
                  <a:gs pos="100000">
                    <a:srgbClr val="00305C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0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BCDDE218-B94A-4A75-A74C-1A22F69DE250}"/>
                  </a:ext>
                </a:extLst>
              </p:cNvPr>
              <p:cNvSpPr txBox="1"/>
              <p:nvPr/>
            </p:nvSpPr>
            <p:spPr>
              <a:xfrm>
                <a:off x="8980347" y="3349925"/>
                <a:ext cx="2305722" cy="49133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/>
                <a: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8 areas of </a:t>
                </a:r>
                <a:r>
                  <a:rPr lang="fr-FR" sz="9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specialization</a:t>
                </a:r>
                <a: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:</a:t>
                </a:r>
              </a:p>
            </p:txBody>
          </p: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F3488576-5273-44FB-A663-6FB83F4F97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62586" y="4060079"/>
                <a:ext cx="2535591" cy="0"/>
              </a:xfrm>
              <a:prstGeom prst="line">
                <a:avLst/>
              </a:prstGeom>
              <a:ln>
                <a:solidFill>
                  <a:schemeClr val="bg1">
                    <a:alpha val="17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ZoneTexte 10">
                <a:extLst>
                  <a:ext uri="{FF2B5EF4-FFF2-40B4-BE49-F238E27FC236}">
                    <a16:creationId xmlns:a16="http://schemas.microsoft.com/office/drawing/2014/main" id="{BF1937EC-EA41-4089-9AE3-FDDF1FF3F4E8}"/>
                  </a:ext>
                </a:extLst>
              </p:cNvPr>
              <p:cNvSpPr txBox="1"/>
              <p:nvPr/>
            </p:nvSpPr>
            <p:spPr>
              <a:xfrm>
                <a:off x="8890671" y="3713219"/>
                <a:ext cx="2446691" cy="10926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300038">
                  <a:lnSpc>
                    <a:spcPct val="90000"/>
                  </a:lnSpc>
                  <a:spcBef>
                    <a:spcPts val="450"/>
                  </a:spcBef>
                  <a:spcAft>
                    <a:spcPct val="35000"/>
                  </a:spcAft>
                  <a:buClr>
                    <a:srgbClr val="8DB432"/>
                  </a:buClr>
                  <a:buSzPct val="130000"/>
                </a:pPr>
                <a:r>
                  <a:rPr lang="en-US" sz="750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Accounting and Management Control, Economics &amp; Decision Sciences, Finance, Information Systems &amp; Operations Management, Management &amp; Human Resources, Marketing, Law &amp; Regulation, Strategy and Business Policy</a:t>
                </a:r>
                <a:endParaRPr lang="fr-FR" sz="750" dirty="0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9258E9A2-15B4-4EDA-BAD4-C4125F54789F}"/>
              </a:ext>
            </a:extLst>
          </p:cNvPr>
          <p:cNvSpPr/>
          <p:nvPr/>
        </p:nvSpPr>
        <p:spPr>
          <a:xfrm>
            <a:off x="619210" y="3688683"/>
            <a:ext cx="1900903" cy="858314"/>
          </a:xfrm>
          <a:prstGeom prst="roundRect">
            <a:avLst>
              <a:gd name="adj" fmla="val 4199"/>
            </a:avLst>
          </a:prstGeom>
          <a:gradFill>
            <a:gsLst>
              <a:gs pos="0">
                <a:srgbClr val="00305C">
                  <a:alpha val="44000"/>
                </a:srgbClr>
              </a:gs>
              <a:gs pos="100000">
                <a:srgbClr val="00305C"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6EE3C39-512D-4BD9-A646-E572A7977634}"/>
              </a:ext>
            </a:extLst>
          </p:cNvPr>
          <p:cNvGrpSpPr/>
          <p:nvPr/>
        </p:nvGrpSpPr>
        <p:grpSpPr>
          <a:xfrm>
            <a:off x="614295" y="1574907"/>
            <a:ext cx="1901693" cy="367452"/>
            <a:chOff x="3501714" y="2297588"/>
            <a:chExt cx="2535591" cy="489936"/>
          </a:xfrm>
        </p:grpSpPr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3EDA0598-DE24-4E5F-8B86-1D78B6A54BB5}"/>
                </a:ext>
              </a:extLst>
            </p:cNvPr>
            <p:cNvSpPr/>
            <p:nvPr/>
          </p:nvSpPr>
          <p:spPr>
            <a:xfrm>
              <a:off x="3501714" y="2297588"/>
              <a:ext cx="2535591" cy="489935"/>
            </a:xfrm>
            <a:prstGeom prst="roundRect">
              <a:avLst>
                <a:gd name="adj" fmla="val 7310"/>
              </a:avLst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D309561B-9093-4A59-B4C5-06B1164A5063}"/>
                </a:ext>
              </a:extLst>
            </p:cNvPr>
            <p:cNvSpPr txBox="1"/>
            <p:nvPr/>
          </p:nvSpPr>
          <p:spPr>
            <a:xfrm>
              <a:off x="3532739" y="2297588"/>
              <a:ext cx="2478444" cy="48993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RE-EXPERIENCE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01BD458-CF06-4AD2-938A-D43ADFB64D32}"/>
              </a:ext>
            </a:extLst>
          </p:cNvPr>
          <p:cNvGrpSpPr/>
          <p:nvPr/>
        </p:nvGrpSpPr>
        <p:grpSpPr>
          <a:xfrm>
            <a:off x="1532756" y="4167014"/>
            <a:ext cx="669159" cy="282356"/>
            <a:chOff x="4605389" y="5768602"/>
            <a:chExt cx="1134092" cy="478535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7B6340A3-C3D8-411B-83DB-1FC90EDB7BE0}"/>
                </a:ext>
              </a:extLst>
            </p:cNvPr>
            <p:cNvSpPr/>
            <p:nvPr/>
          </p:nvSpPr>
          <p:spPr>
            <a:xfrm>
              <a:off x="4605389" y="5768602"/>
              <a:ext cx="1134092" cy="478535"/>
            </a:xfrm>
            <a:prstGeom prst="roundRect">
              <a:avLst>
                <a:gd name="adj" fmla="val 796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203200" dir="5400000" sx="73000" sy="73000" algn="ctr" rotWithShape="0">
                <a:srgbClr val="00305C">
                  <a:alpha val="3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CF341115-923A-40B4-A6A2-BB1D6322489A}"/>
                </a:ext>
              </a:extLst>
            </p:cNvPr>
            <p:cNvGrpSpPr/>
            <p:nvPr/>
          </p:nvGrpSpPr>
          <p:grpSpPr>
            <a:xfrm>
              <a:off x="4712966" y="5876080"/>
              <a:ext cx="897683" cy="263577"/>
              <a:chOff x="1254694" y="5786898"/>
              <a:chExt cx="2919598" cy="857250"/>
            </a:xfrm>
          </p:grpSpPr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4A8BD919-1A80-4573-9EA7-A347DE9277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2945566" y="5786898"/>
                <a:ext cx="1228726" cy="857250"/>
              </a:xfrm>
              <a:prstGeom prst="rect">
                <a:avLst/>
              </a:prstGeom>
            </p:spPr>
          </p:pic>
          <p:pic>
            <p:nvPicPr>
              <p:cNvPr id="93" name="Graphic 92">
                <a:extLst>
                  <a:ext uri="{FF2B5EF4-FFF2-40B4-BE49-F238E27FC236}">
                    <a16:creationId xmlns:a16="http://schemas.microsoft.com/office/drawing/2014/main" id="{AE8E5B59-7038-4EBC-B07D-6178D7F66D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254694" y="5786898"/>
                <a:ext cx="1228725" cy="857250"/>
              </a:xfrm>
              <a:prstGeom prst="rect">
                <a:avLst/>
              </a:prstGeom>
            </p:spPr>
          </p:pic>
        </p:grp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5A0CD19-C044-4A93-9E23-C340377FA9CA}"/>
              </a:ext>
            </a:extLst>
          </p:cNvPr>
          <p:cNvGrpSpPr/>
          <p:nvPr/>
        </p:nvGrpSpPr>
        <p:grpSpPr>
          <a:xfrm>
            <a:off x="741088" y="4076919"/>
            <a:ext cx="510067" cy="510067"/>
            <a:chOff x="1016598" y="5802218"/>
            <a:chExt cx="680089" cy="680089"/>
          </a:xfrm>
          <a:effectLst>
            <a:outerShdw blurRad="241300" dist="50800" dir="5400000" algn="ctr" rotWithShape="0">
              <a:srgbClr val="00305C"/>
            </a:outerShdw>
          </a:effectLst>
        </p:grpSpPr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229A79E5-D615-4C50-8E16-B3009E7423F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16598" y="5802218"/>
              <a:ext cx="680089" cy="680089"/>
            </a:xfrm>
            <a:prstGeom prst="rect">
              <a:avLst/>
            </a:prstGeom>
          </p:spPr>
        </p:pic>
        <p:pic>
          <p:nvPicPr>
            <p:cNvPr id="96" name="Graphic 95">
              <a:extLst>
                <a:ext uri="{FF2B5EF4-FFF2-40B4-BE49-F238E27FC236}">
                  <a16:creationId xmlns:a16="http://schemas.microsoft.com/office/drawing/2014/main" id="{13D72476-40E2-47EF-8736-F12E673EB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82052" y="5910590"/>
              <a:ext cx="349180" cy="349180"/>
            </a:xfrm>
            <a:prstGeom prst="rect">
              <a:avLst/>
            </a:prstGeom>
          </p:spPr>
        </p:pic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D0C49753-4519-43E5-9D81-40747A0E0532}"/>
              </a:ext>
            </a:extLst>
          </p:cNvPr>
          <p:cNvGrpSpPr/>
          <p:nvPr/>
        </p:nvGrpSpPr>
        <p:grpSpPr>
          <a:xfrm>
            <a:off x="498582" y="2068072"/>
            <a:ext cx="2111433" cy="1869035"/>
            <a:chOff x="3347431" y="2955142"/>
            <a:chExt cx="2815244" cy="2492046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CA124FCC-55D5-402D-A505-B5B33E8BA43B}"/>
                </a:ext>
              </a:extLst>
            </p:cNvPr>
            <p:cNvSpPr/>
            <p:nvPr/>
          </p:nvSpPr>
          <p:spPr>
            <a:xfrm>
              <a:off x="3504166" y="2955142"/>
              <a:ext cx="2535591" cy="2492046"/>
            </a:xfrm>
            <a:prstGeom prst="roundRect">
              <a:avLst>
                <a:gd name="adj" fmla="val 3180"/>
              </a:avLst>
            </a:prstGeom>
            <a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469AE0E4-48B2-45F3-9E98-8BEA25B7B389}"/>
                </a:ext>
              </a:extLst>
            </p:cNvPr>
            <p:cNvGrpSpPr/>
            <p:nvPr/>
          </p:nvGrpSpPr>
          <p:grpSpPr>
            <a:xfrm>
              <a:off x="3347431" y="2955142"/>
              <a:ext cx="2815244" cy="2492046"/>
              <a:chOff x="3347431" y="2955142"/>
              <a:chExt cx="2815244" cy="2492046"/>
            </a:xfrm>
          </p:grpSpPr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9EB650BB-775B-4748-9FA1-28DAA6785F3C}"/>
                  </a:ext>
                </a:extLst>
              </p:cNvPr>
              <p:cNvSpPr/>
              <p:nvPr/>
            </p:nvSpPr>
            <p:spPr>
              <a:xfrm>
                <a:off x="3504166" y="2955142"/>
                <a:ext cx="2535591" cy="2492046"/>
              </a:xfrm>
              <a:prstGeom prst="roundRect">
                <a:avLst>
                  <a:gd name="adj" fmla="val 3180"/>
                </a:avLst>
              </a:prstGeom>
              <a:gradFill>
                <a:gsLst>
                  <a:gs pos="0">
                    <a:srgbClr val="003A70">
                      <a:alpha val="59000"/>
                    </a:srgbClr>
                  </a:gs>
                  <a:gs pos="100000">
                    <a:srgbClr val="00305C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0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32565FBA-9BB8-4902-A859-F7426831AE8A}"/>
                  </a:ext>
                </a:extLst>
              </p:cNvPr>
              <p:cNvSpPr txBox="1"/>
              <p:nvPr/>
            </p:nvSpPr>
            <p:spPr>
              <a:xfrm>
                <a:off x="3602192" y="3123973"/>
                <a:ext cx="2305722" cy="865890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/>
                <a: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General management </a:t>
                </a:r>
                <a:b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</a:br>
                <a: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and/or expertise in a specific </a:t>
                </a:r>
                <a:b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</a:br>
                <a:r>
                  <a:rPr lang="fr-FR" sz="90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area of management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A029D400-03C8-4822-92A9-7834486DC04C}"/>
                  </a:ext>
                </a:extLst>
              </p:cNvPr>
              <p:cNvSpPr txBox="1"/>
              <p:nvPr/>
            </p:nvSpPr>
            <p:spPr>
              <a:xfrm>
                <a:off x="3347431" y="4105799"/>
                <a:ext cx="2815244" cy="1198514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fr-FR" sz="9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MIM / GRANDE ÉCOLE</a:t>
                </a:r>
              </a:p>
              <a:p>
                <a:pPr algn="ctr">
                  <a:lnSpc>
                    <a:spcPct val="110000"/>
                  </a:lnSpc>
                </a:pPr>
                <a:r>
                  <a:rPr lang="fr-FR" sz="9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SPECIALIZED MASTERS &amp; </a:t>
                </a:r>
                <a:r>
                  <a:rPr lang="fr-FR" sz="900" b="1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MSc</a:t>
                </a:r>
                <a:endParaRPr lang="fr-FR" sz="9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endParaRPr>
              </a:p>
              <a:p>
                <a:pPr algn="ctr">
                  <a:lnSpc>
                    <a:spcPct val="110000"/>
                  </a:lnSpc>
                </a:pPr>
                <a:endParaRPr lang="fr-FR" sz="9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endParaRPr>
              </a:p>
              <a:p>
                <a:pPr algn="ctr">
                  <a:lnSpc>
                    <a:spcPct val="110000"/>
                  </a:lnSpc>
                </a:pPr>
                <a:r>
                  <a:rPr lang="fr-FR" sz="9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SUMMER SCHOOL &amp; YOUTH PROGRAMS</a:t>
                </a:r>
              </a:p>
            </p:txBody>
          </p: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72A62BB3-E4A2-40B7-92B8-079AC6AD4D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74558" y="4060079"/>
                <a:ext cx="2535591" cy="0"/>
              </a:xfrm>
              <a:prstGeom prst="line">
                <a:avLst/>
              </a:prstGeom>
              <a:ln>
                <a:solidFill>
                  <a:schemeClr val="bg1">
                    <a:alpha val="17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1366F2E8-92CF-4440-8509-C6EBC9E40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0000">
              <a:off x="5280487" y="5026351"/>
              <a:ext cx="159796" cy="159796"/>
            </a:xfrm>
            <a:prstGeom prst="rect">
              <a:avLst/>
            </a:prstGeom>
          </p:spPr>
        </p:pic>
      </p:grpSp>
      <p:grpSp>
        <p:nvGrpSpPr>
          <p:cNvPr id="105" name="Group 12">
            <a:extLst>
              <a:ext uri="{FF2B5EF4-FFF2-40B4-BE49-F238E27FC236}">
                <a16:creationId xmlns:a16="http://schemas.microsoft.com/office/drawing/2014/main" id="{5E9D396C-32AF-3A44-AE6E-52D737E666F1}"/>
              </a:ext>
            </a:extLst>
          </p:cNvPr>
          <p:cNvGrpSpPr/>
          <p:nvPr/>
        </p:nvGrpSpPr>
        <p:grpSpPr>
          <a:xfrm>
            <a:off x="6646940" y="1577969"/>
            <a:ext cx="1901693" cy="367452"/>
            <a:chOff x="6183044" y="2297588"/>
            <a:chExt cx="2535591" cy="489936"/>
          </a:xfrm>
        </p:grpSpPr>
        <p:sp>
          <p:nvSpPr>
            <p:cNvPr id="106" name="Rectangle: Rounded Corners 24">
              <a:extLst>
                <a:ext uri="{FF2B5EF4-FFF2-40B4-BE49-F238E27FC236}">
                  <a16:creationId xmlns:a16="http://schemas.microsoft.com/office/drawing/2014/main" id="{F0CA45A0-D62C-8D42-AFA0-70663B224DD2}"/>
                </a:ext>
              </a:extLst>
            </p:cNvPr>
            <p:cNvSpPr/>
            <p:nvPr/>
          </p:nvSpPr>
          <p:spPr>
            <a:xfrm>
              <a:off x="6183044" y="2297588"/>
              <a:ext cx="2535591" cy="489935"/>
            </a:xfrm>
            <a:prstGeom prst="roundRect">
              <a:avLst>
                <a:gd name="adj" fmla="val 7310"/>
              </a:avLst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107" name="TextBox 16">
              <a:extLst>
                <a:ext uri="{FF2B5EF4-FFF2-40B4-BE49-F238E27FC236}">
                  <a16:creationId xmlns:a16="http://schemas.microsoft.com/office/drawing/2014/main" id="{F7032C77-8E8F-E74D-B373-0B74B0B478AB}"/>
                </a:ext>
              </a:extLst>
            </p:cNvPr>
            <p:cNvSpPr txBox="1"/>
            <p:nvPr/>
          </p:nvSpPr>
          <p:spPr>
            <a:xfrm>
              <a:off x="6207124" y="2297588"/>
              <a:ext cx="2478444" cy="48993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HD PROGR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4012196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3.7037E-7 L -0.00625 0.28056 " pathEditMode="relative" rAng="0" ptsTypes="AA">
                                      <p:cBhvr>
                                        <p:cTn id="15" dur="125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3" y="14028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9" presetClass="entr" presetSubtype="0" decel="100000" fill="hold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9" presetClass="entr" presetSubtype="0" decel="100000" fill="hold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9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8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6" presetID="49" presetClass="entr" presetSubtype="0" decel="100000" fill="hold" nodeType="withEffect">
                                  <p:stCondLst>
                                    <p:cond delay="6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8" presetClass="emph" presetSubtype="0" decel="100000" fill="hold" nodeType="withEffect">
                                  <p:stCondLst>
                                    <p:cond delay="6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49" presetClass="entr" presetSubtype="0" decel="100000" fill="hold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8" presetClass="emph" presetSubtype="0" decel="100000" fill="hold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2" presetClass="entr" presetSubtype="4" decel="10000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decel="10000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4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7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4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4" decel="10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4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decel="10000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7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4" decel="10000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4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4" decel="10000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7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9" presetClass="entr" presetSubtype="0" decel="100000" fill="hold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8" presetClass="emph" presetSubtype="0" decel="100000" fill="hold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19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32" grpId="0" animBg="1"/>
      <p:bldP spid="33" grpId="0" animBg="1"/>
      <p:bldP spid="30" grpId="0" animBg="1"/>
      <p:bldP spid="8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05A115-7C2A-4283-B49E-3442EEF20FD2}"/>
              </a:ext>
            </a:extLst>
          </p:cNvPr>
          <p:cNvSpPr/>
          <p:nvPr/>
        </p:nvSpPr>
        <p:spPr>
          <a:xfrm>
            <a:off x="2731445" y="2181226"/>
            <a:ext cx="1522143" cy="2962274"/>
          </a:xfrm>
          <a:prstGeom prst="roundRect">
            <a:avLst>
              <a:gd name="adj" fmla="val 3057"/>
            </a:avLst>
          </a:prstGeom>
          <a:gradFill flip="none" rotWithShape="1">
            <a:gsLst>
              <a:gs pos="0">
                <a:srgbClr val="B9975B"/>
              </a:gs>
              <a:gs pos="86000">
                <a:srgbClr val="B9975B">
                  <a:alpha val="53000"/>
                </a:srgbClr>
              </a:gs>
            </a:gsLst>
            <a:lin ang="2700000" scaled="1"/>
            <a:tileRect/>
          </a:gradFill>
          <a:ln>
            <a:noFill/>
          </a:ln>
          <a:effectLst>
            <a:outerShdw blurRad="1041400" dist="406400" dir="21540000" sx="76000" sy="76000" algn="ctr" rotWithShape="0">
              <a:srgbClr val="B9975B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76AE222-A4B8-4A46-AF98-BF7394069250}"/>
              </a:ext>
            </a:extLst>
          </p:cNvPr>
          <p:cNvSpPr/>
          <p:nvPr/>
        </p:nvSpPr>
        <p:spPr>
          <a:xfrm>
            <a:off x="481314" y="1143000"/>
            <a:ext cx="1290336" cy="4000500"/>
          </a:xfrm>
          <a:prstGeom prst="roundRect">
            <a:avLst>
              <a:gd name="adj" fmla="val 3057"/>
            </a:avLst>
          </a:prstGeom>
          <a:gradFill flip="none" rotWithShape="1">
            <a:gsLst>
              <a:gs pos="0">
                <a:srgbClr val="003A70">
                  <a:alpha val="59000"/>
                </a:srgbClr>
              </a:gs>
              <a:gs pos="86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711200" dist="393700" dir="12180000" sx="76000" sy="76000" algn="ctr" rotWithShape="0">
              <a:srgbClr val="003A70">
                <a:alpha val="9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746429-7398-4FCF-99AD-EA8774FA8ED6}"/>
              </a:ext>
            </a:extLst>
          </p:cNvPr>
          <p:cNvSpPr txBox="1"/>
          <p:nvPr/>
        </p:nvSpPr>
        <p:spPr>
          <a:xfrm>
            <a:off x="2171700" y="143709"/>
            <a:ext cx="4800600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E-EXPERIENCE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OGRAM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0401505-7562-4339-8857-DFC2B8CBF08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A3B443-E6F5-4F22-96A9-4055D5F1E391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5A9D432-3788-44E0-8537-7B6133C10761}"/>
              </a:ext>
            </a:extLst>
          </p:cNvPr>
          <p:cNvSpPr txBox="1"/>
          <p:nvPr/>
        </p:nvSpPr>
        <p:spPr>
          <a:xfrm>
            <a:off x="4822270" y="2181225"/>
            <a:ext cx="2864405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Grande Eco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CE41EC3-14B0-4506-B3B1-4B60132694BD}"/>
              </a:ext>
            </a:extLst>
          </p:cNvPr>
          <p:cNvCxnSpPr>
            <a:cxnSpLocks/>
          </p:cNvCxnSpPr>
          <p:nvPr/>
        </p:nvCxnSpPr>
        <p:spPr>
          <a:xfrm>
            <a:off x="3609975" y="2824911"/>
            <a:ext cx="2914650" cy="0"/>
          </a:xfrm>
          <a:prstGeom prst="line">
            <a:avLst/>
          </a:prstGeom>
          <a:ln>
            <a:solidFill>
              <a:srgbClr val="00305C">
                <a:alpha val="2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959350-AF69-47DD-BB7B-BAED6F497D4A}"/>
              </a:ext>
            </a:extLst>
          </p:cNvPr>
          <p:cNvCxnSpPr>
            <a:cxnSpLocks/>
          </p:cNvCxnSpPr>
          <p:nvPr/>
        </p:nvCxnSpPr>
        <p:spPr>
          <a:xfrm flipH="1">
            <a:off x="6306910" y="2800344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4C5A7E7-FD69-4409-96C6-63BC97097B97}"/>
              </a:ext>
            </a:extLst>
          </p:cNvPr>
          <p:cNvGrpSpPr/>
          <p:nvPr/>
        </p:nvGrpSpPr>
        <p:grpSpPr>
          <a:xfrm>
            <a:off x="4861839" y="3066193"/>
            <a:ext cx="2339061" cy="610705"/>
            <a:chOff x="6482452" y="4088257"/>
            <a:chExt cx="3118748" cy="814273"/>
          </a:xfrm>
        </p:grpSpPr>
        <p:sp>
          <p:nvSpPr>
            <p:cNvPr id="15" name="Espace réservé du contenu 4">
              <a:extLst>
                <a:ext uri="{FF2B5EF4-FFF2-40B4-BE49-F238E27FC236}">
                  <a16:creationId xmlns:a16="http://schemas.microsoft.com/office/drawing/2014/main" id="{02A72D67-F164-4412-8D6B-E13DB05157E6}"/>
                </a:ext>
              </a:extLst>
            </p:cNvPr>
            <p:cNvSpPr txBox="1">
              <a:spLocks/>
            </p:cNvSpPr>
            <p:nvPr/>
          </p:nvSpPr>
          <p:spPr>
            <a:xfrm>
              <a:off x="6520552" y="4236054"/>
              <a:ext cx="2732986" cy="430772"/>
            </a:xfrm>
            <a:prstGeom prst="rect">
              <a:avLst/>
            </a:prstGeom>
            <a:noFill/>
            <a:ln w="25400">
              <a:noFill/>
            </a:ln>
            <a:effectLst>
              <a:outerShdw sx="1000" sy="1000" algn="ctr" rotWithShape="0">
                <a:prstClr val="black"/>
              </a:outerShdw>
              <a:softEdge rad="0"/>
            </a:effectLst>
            <a:scene3d>
              <a:camera prst="orthographicFront"/>
              <a:lightRig rig="threePt" dir="t"/>
            </a:scene3d>
            <a:sp3d prstMaterial="matte">
              <a:bevelT w="0"/>
              <a:bevelB w="0" h="0"/>
            </a:sp3d>
          </p:spPr>
          <p:txBody>
            <a:bodyPr vert="horz" lIns="68580" tIns="34290" rIns="68580" bIns="34290" rtlCol="0" anchor="ctr" anchorCtr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bg1"/>
                  </a:solidFill>
                  <a:latin typeface="DIN-Medium" pitchFamily="50" charset="0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bg1"/>
                  </a:solidFill>
                  <a:latin typeface="DIN-Medium" pitchFamily="50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bg1"/>
                  </a:solidFill>
                  <a:latin typeface="DIN-Medium" pitchFamily="50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bg1"/>
                  </a:solidFill>
                  <a:latin typeface="DIN-Medium" pitchFamily="50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bg1"/>
                  </a:solidFill>
                  <a:latin typeface="DIN-Medium" pitchFamily="50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fr-FR" sz="1200" dirty="0">
                <a:solidFill>
                  <a:prstClr val="white"/>
                </a:solidFill>
                <a:latin typeface="Arial" panose="020B06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F8F91C9-B5C9-41A1-B2A5-AAE6886C0AEB}"/>
                </a:ext>
              </a:extLst>
            </p:cNvPr>
            <p:cNvSpPr/>
            <p:nvPr/>
          </p:nvSpPr>
          <p:spPr>
            <a:xfrm>
              <a:off x="6482452" y="4088257"/>
              <a:ext cx="3118748" cy="814273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9E7F2D6-C416-4D96-A18C-18BA41E5633C}"/>
                </a:ext>
              </a:extLst>
            </p:cNvPr>
            <p:cNvSpPr txBox="1"/>
            <p:nvPr/>
          </p:nvSpPr>
          <p:spPr>
            <a:xfrm>
              <a:off x="6618659" y="4381826"/>
              <a:ext cx="2846334" cy="227134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fr-FR" sz="15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IM </a:t>
              </a:r>
              <a:b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Management</a:t>
              </a:r>
            </a:p>
          </p:txBody>
        </p:sp>
      </p:grpSp>
      <p:pic>
        <p:nvPicPr>
          <p:cNvPr id="18" name="Picture 2" descr="A person in a blue shirt&#10;&#10;Description automatically generated">
            <a:extLst>
              <a:ext uri="{FF2B5EF4-FFF2-40B4-BE49-F238E27FC236}">
                <a16:creationId xmlns:a16="http://schemas.microsoft.com/office/drawing/2014/main" id="{EF0542AB-C66A-49CF-988E-1220C63144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25" y="1285878"/>
            <a:ext cx="3243351" cy="3857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32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 dir="ou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29" dur="12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3" presetClass="path" presetSubtype="0" accel="22000" decel="78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34" dur="12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  <p:bldP spid="10" grpId="0"/>
      <p:bldP spid="10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05A115-7C2A-4283-B49E-3442EEF20FD2}"/>
              </a:ext>
            </a:extLst>
          </p:cNvPr>
          <p:cNvSpPr/>
          <p:nvPr/>
        </p:nvSpPr>
        <p:spPr>
          <a:xfrm>
            <a:off x="2731445" y="2181226"/>
            <a:ext cx="1522143" cy="2962274"/>
          </a:xfrm>
          <a:prstGeom prst="roundRect">
            <a:avLst>
              <a:gd name="adj" fmla="val 3057"/>
            </a:avLst>
          </a:prstGeom>
          <a:gradFill flip="none" rotWithShape="1">
            <a:gsLst>
              <a:gs pos="0">
                <a:srgbClr val="B9975B"/>
              </a:gs>
              <a:gs pos="86000">
                <a:srgbClr val="B9975B">
                  <a:alpha val="53000"/>
                </a:srgbClr>
              </a:gs>
            </a:gsLst>
            <a:lin ang="2700000" scaled="1"/>
            <a:tileRect/>
          </a:gradFill>
          <a:ln>
            <a:noFill/>
          </a:ln>
          <a:effectLst>
            <a:outerShdw blurRad="1041400" dist="406400" dir="21540000" sx="76000" sy="76000" algn="ctr" rotWithShape="0">
              <a:srgbClr val="B9975B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76AE222-A4B8-4A46-AF98-BF7394069250}"/>
              </a:ext>
            </a:extLst>
          </p:cNvPr>
          <p:cNvSpPr/>
          <p:nvPr/>
        </p:nvSpPr>
        <p:spPr>
          <a:xfrm>
            <a:off x="481314" y="1143000"/>
            <a:ext cx="1290336" cy="4000500"/>
          </a:xfrm>
          <a:prstGeom prst="roundRect">
            <a:avLst>
              <a:gd name="adj" fmla="val 3057"/>
            </a:avLst>
          </a:prstGeom>
          <a:gradFill flip="none" rotWithShape="1">
            <a:gsLst>
              <a:gs pos="0">
                <a:srgbClr val="003A70">
                  <a:alpha val="59000"/>
                </a:srgbClr>
              </a:gs>
              <a:gs pos="86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711200" dist="393700" dir="12180000" sx="76000" sy="76000" algn="ctr" rotWithShape="0">
              <a:srgbClr val="003A70">
                <a:alpha val="9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0401505-7562-4339-8857-DFC2B8CBF08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A3B443-E6F5-4F22-96A9-4055D5F1E391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5A9D432-3788-44E0-8537-7B6133C10761}"/>
              </a:ext>
            </a:extLst>
          </p:cNvPr>
          <p:cNvSpPr txBox="1"/>
          <p:nvPr/>
        </p:nvSpPr>
        <p:spPr>
          <a:xfrm>
            <a:off x="4822270" y="1334160"/>
            <a:ext cx="3521630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Dual-</a:t>
            </a:r>
            <a:r>
              <a:rPr lang="fr-FR" sz="210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Degree</a:t>
            </a: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 Program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CE41EC3-14B0-4506-B3B1-4B60132694BD}"/>
              </a:ext>
            </a:extLst>
          </p:cNvPr>
          <p:cNvCxnSpPr>
            <a:cxnSpLocks/>
          </p:cNvCxnSpPr>
          <p:nvPr/>
        </p:nvCxnSpPr>
        <p:spPr>
          <a:xfrm>
            <a:off x="3609975" y="1977846"/>
            <a:ext cx="3425429" cy="0"/>
          </a:xfrm>
          <a:prstGeom prst="line">
            <a:avLst/>
          </a:prstGeom>
          <a:ln>
            <a:solidFill>
              <a:srgbClr val="00305C">
                <a:alpha val="2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959350-AF69-47DD-BB7B-BAED6F497D4A}"/>
              </a:ext>
            </a:extLst>
          </p:cNvPr>
          <p:cNvCxnSpPr>
            <a:cxnSpLocks/>
          </p:cNvCxnSpPr>
          <p:nvPr/>
        </p:nvCxnSpPr>
        <p:spPr>
          <a:xfrm flipH="1">
            <a:off x="6817689" y="1953279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02A72D67-F164-4412-8D6B-E13DB05157E6}"/>
              </a:ext>
            </a:extLst>
          </p:cNvPr>
          <p:cNvSpPr txBox="1">
            <a:spLocks/>
          </p:cNvSpPr>
          <p:nvPr/>
        </p:nvSpPr>
        <p:spPr>
          <a:xfrm>
            <a:off x="4890414" y="2292071"/>
            <a:ext cx="2351315" cy="323079"/>
          </a:xfrm>
          <a:prstGeom prst="rect">
            <a:avLst/>
          </a:prstGeom>
          <a:noFill/>
          <a:ln w="25400">
            <a:noFill/>
          </a:ln>
          <a:effectLst>
            <a:outerShdw sx="1000" sy="1000" algn="ctr" rotWithShape="0">
              <a:prstClr val="black"/>
            </a:outerShdw>
            <a:softEdge rad="0"/>
          </a:effectLst>
          <a:scene3d>
            <a:camera prst="orthographicFront"/>
            <a:lightRig rig="threePt" dir="t"/>
          </a:scene3d>
          <a:sp3d prstMaterial="matte">
            <a:bevelT w="0"/>
            <a:bevelB w="0" h="0"/>
          </a:sp3d>
        </p:spPr>
        <p:txBody>
          <a:bodyPr vert="horz" lIns="68580" tIns="34290" rIns="68580" bIns="3429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sz="1200" dirty="0">
              <a:solidFill>
                <a:prstClr val="white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grpSp>
        <p:nvGrpSpPr>
          <p:cNvPr id="41" name="Groupe 40"/>
          <p:cNvGrpSpPr/>
          <p:nvPr/>
        </p:nvGrpSpPr>
        <p:grpSpPr>
          <a:xfrm>
            <a:off x="6842581" y="2181223"/>
            <a:ext cx="2101373" cy="610705"/>
            <a:chOff x="9123440" y="2908297"/>
            <a:chExt cx="2801831" cy="814273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85366679-A661-4F68-923F-F47DBAE8ABA7}"/>
                </a:ext>
              </a:extLst>
            </p:cNvPr>
            <p:cNvSpPr/>
            <p:nvPr/>
          </p:nvSpPr>
          <p:spPr>
            <a:xfrm>
              <a:off x="9123440" y="2908297"/>
              <a:ext cx="2801831" cy="814273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CEA462C-5CED-4E26-B40C-06956776AE17}"/>
                </a:ext>
              </a:extLst>
            </p:cNvPr>
            <p:cNvSpPr txBox="1"/>
            <p:nvPr/>
          </p:nvSpPr>
          <p:spPr>
            <a:xfrm>
              <a:off x="9201563" y="2984400"/>
              <a:ext cx="2645584" cy="63865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IM &amp; Public </a:t>
              </a:r>
              <a:r>
                <a:rPr lang="fr-FR" sz="1200" b="1" dirty="0" err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Affairs</a:t>
              </a:r>
              <a:endPara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  <a:p>
              <a:pPr>
                <a:lnSpc>
                  <a:spcPct val="90000"/>
                </a:lnSpc>
              </a:pPr>
              <a:r>
                <a:rPr lang="fr-FR" sz="105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Freie Universität Berlin</a:t>
              </a:r>
            </a:p>
          </p:txBody>
        </p:sp>
      </p:grpSp>
      <p:sp>
        <p:nvSpPr>
          <p:cNvPr id="20" name="Espace réservé du contenu 4">
            <a:extLst>
              <a:ext uri="{FF2B5EF4-FFF2-40B4-BE49-F238E27FC236}">
                <a16:creationId xmlns:a16="http://schemas.microsoft.com/office/drawing/2014/main" id="{6FEC896D-B58A-4D6B-B307-5A730630B895}"/>
              </a:ext>
            </a:extLst>
          </p:cNvPr>
          <p:cNvSpPr txBox="1">
            <a:spLocks/>
          </p:cNvSpPr>
          <p:nvPr/>
        </p:nvSpPr>
        <p:spPr>
          <a:xfrm>
            <a:off x="4890414" y="3089834"/>
            <a:ext cx="2351315" cy="323079"/>
          </a:xfrm>
          <a:prstGeom prst="rect">
            <a:avLst/>
          </a:prstGeom>
          <a:noFill/>
          <a:ln w="25400">
            <a:noFill/>
          </a:ln>
          <a:effectLst>
            <a:outerShdw sx="1000" sy="1000" algn="ctr" rotWithShape="0">
              <a:prstClr val="black"/>
            </a:outerShdw>
            <a:softEdge rad="0"/>
          </a:effectLst>
          <a:scene3d>
            <a:camera prst="orthographicFront"/>
            <a:lightRig rig="threePt" dir="t"/>
          </a:scene3d>
          <a:sp3d prstMaterial="matte">
            <a:bevelT w="0"/>
            <a:bevelB w="0" h="0"/>
          </a:sp3d>
        </p:spPr>
        <p:txBody>
          <a:bodyPr vert="horz" lIns="68580" tIns="34290" rIns="68580" bIns="3429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sz="1200" dirty="0">
              <a:solidFill>
                <a:prstClr val="white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4549633" y="2978987"/>
            <a:ext cx="2101373" cy="610705"/>
            <a:chOff x="6066177" y="3971982"/>
            <a:chExt cx="2801831" cy="814273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AB20560B-CA1B-4C78-9AC1-AF1D3A65470C}"/>
                </a:ext>
              </a:extLst>
            </p:cNvPr>
            <p:cNvSpPr/>
            <p:nvPr/>
          </p:nvSpPr>
          <p:spPr>
            <a:xfrm>
              <a:off x="6066177" y="3971982"/>
              <a:ext cx="2801831" cy="814273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2FD337A-6D24-4E3D-A411-8BE0CD06BF30}"/>
                </a:ext>
              </a:extLst>
            </p:cNvPr>
            <p:cNvSpPr txBox="1"/>
            <p:nvPr/>
          </p:nvSpPr>
          <p:spPr>
            <a:xfrm>
              <a:off x="6145200" y="4094123"/>
              <a:ext cx="2645584" cy="61586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Management &amp; Innovation 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fr-FR" sz="105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TUM </a:t>
              </a:r>
            </a:p>
          </p:txBody>
        </p:sp>
      </p:grpSp>
      <p:grpSp>
        <p:nvGrpSpPr>
          <p:cNvPr id="40" name="Groupe 39"/>
          <p:cNvGrpSpPr/>
          <p:nvPr/>
        </p:nvGrpSpPr>
        <p:grpSpPr>
          <a:xfrm>
            <a:off x="6842581" y="2978987"/>
            <a:ext cx="2101373" cy="610705"/>
            <a:chOff x="9123440" y="3971982"/>
            <a:chExt cx="2801831" cy="814273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FF14A820-B2AD-4845-A413-32C5CC43ED71}"/>
                </a:ext>
              </a:extLst>
            </p:cNvPr>
            <p:cNvSpPr/>
            <p:nvPr/>
          </p:nvSpPr>
          <p:spPr>
            <a:xfrm>
              <a:off x="9123440" y="3971982"/>
              <a:ext cx="2801831" cy="814273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553B37C-FEA2-4CCE-8E89-E9474C53B238}"/>
                </a:ext>
              </a:extLst>
            </p:cNvPr>
            <p:cNvSpPr txBox="1"/>
            <p:nvPr/>
          </p:nvSpPr>
          <p:spPr>
            <a:xfrm>
              <a:off x="9201600" y="3971982"/>
              <a:ext cx="2645584" cy="7579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IM &amp; Business Law </a:t>
              </a:r>
              <a:br>
                <a:rPr lang="fr-FR" sz="15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fr-FR" sz="105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aris 1</a:t>
              </a:r>
              <a:r>
                <a:rPr lang="fr-FR" sz="15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 </a:t>
              </a:r>
            </a:p>
          </p:txBody>
        </p:sp>
      </p:grpSp>
      <p:grpSp>
        <p:nvGrpSpPr>
          <p:cNvPr id="38" name="Groupe 37"/>
          <p:cNvGrpSpPr/>
          <p:nvPr/>
        </p:nvGrpSpPr>
        <p:grpSpPr>
          <a:xfrm>
            <a:off x="4549633" y="3806607"/>
            <a:ext cx="2101373" cy="610705"/>
            <a:chOff x="6066177" y="5075476"/>
            <a:chExt cx="2801831" cy="814273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3321143-93DB-40A4-BD72-B8D06F49C6C5}"/>
                </a:ext>
              </a:extLst>
            </p:cNvPr>
            <p:cNvSpPr/>
            <p:nvPr/>
          </p:nvSpPr>
          <p:spPr>
            <a:xfrm>
              <a:off x="6066177" y="5075476"/>
              <a:ext cx="2801831" cy="814273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6A02E82-1E75-4F70-ABF4-4E21AE80D1B7}"/>
                </a:ext>
              </a:extLst>
            </p:cNvPr>
            <p:cNvSpPr txBox="1"/>
            <p:nvPr/>
          </p:nvSpPr>
          <p:spPr>
            <a:xfrm>
              <a:off x="6144300" y="5161512"/>
              <a:ext cx="2645584" cy="637458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Sc Entrepreneurs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050" dirty="0" err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Ecole</a:t>
              </a:r>
              <a:r>
                <a:rPr lang="en-US" sz="105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 </a:t>
              </a:r>
              <a:r>
                <a:rPr lang="en-US" sz="1050" dirty="0" err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olytechnique</a:t>
              </a:r>
              <a:endParaRPr lang="en-US" sz="1050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318C1CA-5518-4BEA-929C-32A84D480CA6}"/>
              </a:ext>
            </a:extLst>
          </p:cNvPr>
          <p:cNvSpPr txBox="1"/>
          <p:nvPr/>
        </p:nvSpPr>
        <p:spPr>
          <a:xfrm>
            <a:off x="2171700" y="143709"/>
            <a:ext cx="4800600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E-EXPERIENCE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OGRAMS</a:t>
            </a:r>
          </a:p>
        </p:txBody>
      </p:sp>
      <p:pic>
        <p:nvPicPr>
          <p:cNvPr id="29" name="Picture 2" descr="A person in a blue shirt&#10;&#10;Description automatically generated">
            <a:extLst>
              <a:ext uri="{FF2B5EF4-FFF2-40B4-BE49-F238E27FC236}">
                <a16:creationId xmlns:a16="http://schemas.microsoft.com/office/drawing/2014/main" id="{EF0542AB-C66A-49CF-988E-1220C63144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25" y="1285878"/>
            <a:ext cx="3243351" cy="3857622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4559898" y="2183751"/>
            <a:ext cx="2101373" cy="610705"/>
            <a:chOff x="6079863" y="2911668"/>
            <a:chExt cx="2801831" cy="814273"/>
          </a:xfrm>
        </p:grpSpPr>
        <p:sp>
          <p:nvSpPr>
            <p:cNvPr id="31" name="Rectangle: Rounded Corners 24">
              <a:extLst>
                <a:ext uri="{FF2B5EF4-FFF2-40B4-BE49-F238E27FC236}">
                  <a16:creationId xmlns:a16="http://schemas.microsoft.com/office/drawing/2014/main" id="{73321143-93DB-40A4-BD72-B8D06F49C6C5}"/>
                </a:ext>
              </a:extLst>
            </p:cNvPr>
            <p:cNvSpPr/>
            <p:nvPr/>
          </p:nvSpPr>
          <p:spPr>
            <a:xfrm>
              <a:off x="6079863" y="2911668"/>
              <a:ext cx="2801831" cy="814273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32" name="TextBox 25">
              <a:extLst>
                <a:ext uri="{FF2B5EF4-FFF2-40B4-BE49-F238E27FC236}">
                  <a16:creationId xmlns:a16="http://schemas.microsoft.com/office/drawing/2014/main" id="{D6A02E82-1E75-4F70-ABF4-4E21AE80D1B7}"/>
                </a:ext>
              </a:extLst>
            </p:cNvPr>
            <p:cNvSpPr txBox="1"/>
            <p:nvPr/>
          </p:nvSpPr>
          <p:spPr>
            <a:xfrm>
              <a:off x="6144300" y="2985826"/>
              <a:ext cx="2645584" cy="637458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2M</a:t>
              </a:r>
            </a:p>
            <a:p>
              <a:pPr>
                <a:lnSpc>
                  <a:spcPct val="90000"/>
                </a:lnSpc>
              </a:pPr>
              <a:r>
                <a:rPr lang="en-US" sz="105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Yale, FGV, HKUST</a:t>
              </a:r>
            </a:p>
          </p:txBody>
        </p:sp>
      </p:grpSp>
      <p:grpSp>
        <p:nvGrpSpPr>
          <p:cNvPr id="39" name="Groupe 38"/>
          <p:cNvGrpSpPr/>
          <p:nvPr/>
        </p:nvGrpSpPr>
        <p:grpSpPr>
          <a:xfrm>
            <a:off x="6834941" y="3804828"/>
            <a:ext cx="2275764" cy="610705"/>
            <a:chOff x="9077135" y="5073317"/>
            <a:chExt cx="2926296" cy="814273"/>
          </a:xfrm>
        </p:grpSpPr>
        <p:sp>
          <p:nvSpPr>
            <p:cNvPr id="36" name="Rectangle: Rounded Corners 15">
              <a:extLst>
                <a:ext uri="{FF2B5EF4-FFF2-40B4-BE49-F238E27FC236}">
                  <a16:creationId xmlns:a16="http://schemas.microsoft.com/office/drawing/2014/main" id="{0F8F91C9-B5C9-41A1-B2A5-AAE6886C0AEB}"/>
                </a:ext>
              </a:extLst>
            </p:cNvPr>
            <p:cNvSpPr/>
            <p:nvPr/>
          </p:nvSpPr>
          <p:spPr>
            <a:xfrm>
              <a:off x="9077135" y="5073317"/>
              <a:ext cx="2801831" cy="814273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37" name="TextBox 16">
              <a:extLst>
                <a:ext uri="{FF2B5EF4-FFF2-40B4-BE49-F238E27FC236}">
                  <a16:creationId xmlns:a16="http://schemas.microsoft.com/office/drawing/2014/main" id="{A9E7F2D6-C416-4D96-A18C-18BA41E5633C}"/>
                </a:ext>
              </a:extLst>
            </p:cNvPr>
            <p:cNvSpPr txBox="1"/>
            <p:nvPr/>
          </p:nvSpPr>
          <p:spPr>
            <a:xfrm>
              <a:off x="9201600" y="5074110"/>
              <a:ext cx="2801831" cy="780008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Sc Data Science for Business </a:t>
              </a:r>
              <a:endPara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05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Ecole polytechnique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79833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3" presetClass="path" presetSubtype="0" accel="22000" decel="78000" fill="hold" grpId="1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1.875E-6 0 L 0.15899 0.00139 " pathEditMode="relative" rAng="0" ptsTypes="AA">
                                      <p:cBhvr>
                                        <p:cTn id="15" dur="12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05A115-7C2A-4283-B49E-3442EEF20FD2}"/>
              </a:ext>
            </a:extLst>
          </p:cNvPr>
          <p:cNvSpPr/>
          <p:nvPr/>
        </p:nvSpPr>
        <p:spPr>
          <a:xfrm>
            <a:off x="2731445" y="2181226"/>
            <a:ext cx="1522143" cy="2962274"/>
          </a:xfrm>
          <a:prstGeom prst="roundRect">
            <a:avLst>
              <a:gd name="adj" fmla="val 3057"/>
            </a:avLst>
          </a:prstGeom>
          <a:gradFill flip="none" rotWithShape="1">
            <a:gsLst>
              <a:gs pos="0">
                <a:srgbClr val="B9975B"/>
              </a:gs>
              <a:gs pos="86000">
                <a:srgbClr val="B9975B">
                  <a:alpha val="53000"/>
                </a:srgbClr>
              </a:gs>
            </a:gsLst>
            <a:lin ang="2700000" scaled="1"/>
            <a:tileRect/>
          </a:gradFill>
          <a:ln>
            <a:noFill/>
          </a:ln>
          <a:effectLst>
            <a:outerShdw blurRad="1041400" dist="406400" dir="21540000" sx="76000" sy="76000" algn="ctr" rotWithShape="0">
              <a:srgbClr val="B9975B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76AE222-A4B8-4A46-AF98-BF7394069250}"/>
              </a:ext>
            </a:extLst>
          </p:cNvPr>
          <p:cNvSpPr/>
          <p:nvPr/>
        </p:nvSpPr>
        <p:spPr>
          <a:xfrm>
            <a:off x="481314" y="1143000"/>
            <a:ext cx="1290336" cy="4000500"/>
          </a:xfrm>
          <a:prstGeom prst="roundRect">
            <a:avLst>
              <a:gd name="adj" fmla="val 3057"/>
            </a:avLst>
          </a:prstGeom>
          <a:gradFill flip="none" rotWithShape="1">
            <a:gsLst>
              <a:gs pos="0">
                <a:srgbClr val="003A70">
                  <a:alpha val="59000"/>
                </a:srgbClr>
              </a:gs>
              <a:gs pos="86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711200" dist="393700" dir="12180000" sx="76000" sy="76000" algn="ctr" rotWithShape="0">
              <a:srgbClr val="003A70">
                <a:alpha val="9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0401505-7562-4339-8857-DFC2B8CBF08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A3B443-E6F5-4F22-96A9-4055D5F1E391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5A9D432-3788-44E0-8537-7B6133C10761}"/>
              </a:ext>
            </a:extLst>
          </p:cNvPr>
          <p:cNvSpPr txBox="1"/>
          <p:nvPr/>
        </p:nvSpPr>
        <p:spPr>
          <a:xfrm>
            <a:off x="4822270" y="1043568"/>
            <a:ext cx="2864405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de-DE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MS/MSc in 1 yea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CE41EC3-14B0-4506-B3B1-4B60132694BD}"/>
              </a:ext>
            </a:extLst>
          </p:cNvPr>
          <p:cNvCxnSpPr>
            <a:cxnSpLocks/>
          </p:cNvCxnSpPr>
          <p:nvPr/>
        </p:nvCxnSpPr>
        <p:spPr>
          <a:xfrm>
            <a:off x="1638300" y="1687254"/>
            <a:ext cx="5397104" cy="0"/>
          </a:xfrm>
          <a:prstGeom prst="line">
            <a:avLst/>
          </a:prstGeom>
          <a:ln>
            <a:solidFill>
              <a:srgbClr val="00305C">
                <a:alpha val="2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959350-AF69-47DD-BB7B-BAED6F497D4A}"/>
              </a:ext>
            </a:extLst>
          </p:cNvPr>
          <p:cNvCxnSpPr>
            <a:cxnSpLocks/>
          </p:cNvCxnSpPr>
          <p:nvPr/>
        </p:nvCxnSpPr>
        <p:spPr>
          <a:xfrm flipH="1">
            <a:off x="6817689" y="1662687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02A72D67-F164-4412-8D6B-E13DB05157E6}"/>
              </a:ext>
            </a:extLst>
          </p:cNvPr>
          <p:cNvSpPr txBox="1">
            <a:spLocks/>
          </p:cNvSpPr>
          <p:nvPr/>
        </p:nvSpPr>
        <p:spPr>
          <a:xfrm>
            <a:off x="4890414" y="1933809"/>
            <a:ext cx="2351315" cy="290651"/>
          </a:xfrm>
          <a:prstGeom prst="rect">
            <a:avLst/>
          </a:prstGeom>
          <a:noFill/>
          <a:ln w="25400">
            <a:noFill/>
          </a:ln>
          <a:effectLst>
            <a:outerShdw sx="1000" sy="1000" algn="ctr" rotWithShape="0">
              <a:prstClr val="black"/>
            </a:outerShdw>
            <a:softEdge rad="0"/>
          </a:effectLst>
          <a:scene3d>
            <a:camera prst="orthographicFront"/>
            <a:lightRig rig="threePt" dir="t"/>
          </a:scene3d>
          <a:sp3d prstMaterial="matte">
            <a:bevelT w="0"/>
            <a:bevelB w="0" h="0"/>
          </a:sp3d>
        </p:spPr>
        <p:txBody>
          <a:bodyPr vert="horz" lIns="68580" tIns="34290" rIns="68580" bIns="3429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sz="1200" dirty="0">
              <a:solidFill>
                <a:prstClr val="white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19F9F29-DACD-44FD-984F-1E35B72055BB}"/>
              </a:ext>
            </a:extLst>
          </p:cNvPr>
          <p:cNvGrpSpPr/>
          <p:nvPr/>
        </p:nvGrpSpPr>
        <p:grpSpPr>
          <a:xfrm>
            <a:off x="4549633" y="1837395"/>
            <a:ext cx="2101373" cy="549410"/>
            <a:chOff x="6066177" y="2449860"/>
            <a:chExt cx="2801831" cy="732546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F8F91C9-B5C9-41A1-B2A5-AAE6886C0AEB}"/>
                </a:ext>
              </a:extLst>
            </p:cNvPr>
            <p:cNvSpPr/>
            <p:nvPr/>
          </p:nvSpPr>
          <p:spPr>
            <a:xfrm>
              <a:off x="6066177" y="2449860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9E7F2D6-C416-4D96-A18C-18BA41E5633C}"/>
                </a:ext>
              </a:extLst>
            </p:cNvPr>
            <p:cNvSpPr txBox="1"/>
            <p:nvPr/>
          </p:nvSpPr>
          <p:spPr>
            <a:xfrm>
              <a:off x="6129813" y="2465061"/>
              <a:ext cx="2738195" cy="701718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225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AFM</a:t>
              </a:r>
              <a:endPara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Accounting, Finance &amp; Management</a:t>
              </a:r>
            </a:p>
          </p:txBody>
        </p:sp>
      </p:grpSp>
      <p:sp>
        <p:nvSpPr>
          <p:cNvPr id="20" name="Espace réservé du contenu 4">
            <a:extLst>
              <a:ext uri="{FF2B5EF4-FFF2-40B4-BE49-F238E27FC236}">
                <a16:creationId xmlns:a16="http://schemas.microsoft.com/office/drawing/2014/main" id="{6FEC896D-B58A-4D6B-B307-5A730630B895}"/>
              </a:ext>
            </a:extLst>
          </p:cNvPr>
          <p:cNvSpPr txBox="1">
            <a:spLocks/>
          </p:cNvSpPr>
          <p:nvPr/>
        </p:nvSpPr>
        <p:spPr>
          <a:xfrm>
            <a:off x="4890414" y="2731573"/>
            <a:ext cx="2351315" cy="290651"/>
          </a:xfrm>
          <a:prstGeom prst="rect">
            <a:avLst/>
          </a:prstGeom>
          <a:noFill/>
          <a:ln w="25400">
            <a:noFill/>
          </a:ln>
          <a:effectLst>
            <a:outerShdw sx="1000" sy="1000" algn="ctr" rotWithShape="0">
              <a:prstClr val="black"/>
            </a:outerShdw>
            <a:softEdge rad="0"/>
          </a:effectLst>
          <a:scene3d>
            <a:camera prst="orthographicFront"/>
            <a:lightRig rig="threePt" dir="t"/>
          </a:scene3d>
          <a:sp3d prstMaterial="matte">
            <a:bevelT w="0"/>
            <a:bevelB w="0" h="0"/>
          </a:sp3d>
        </p:spPr>
        <p:txBody>
          <a:bodyPr vert="horz" lIns="68580" tIns="34290" rIns="68580" bIns="3429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DIN-Medium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sz="1200" dirty="0">
              <a:solidFill>
                <a:prstClr val="white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D91D8A7-8416-4101-9A14-997D9D1A7311}"/>
              </a:ext>
            </a:extLst>
          </p:cNvPr>
          <p:cNvGrpSpPr/>
          <p:nvPr/>
        </p:nvGrpSpPr>
        <p:grpSpPr>
          <a:xfrm>
            <a:off x="4549633" y="2480386"/>
            <a:ext cx="2101373" cy="549410"/>
            <a:chOff x="6066177" y="3307182"/>
            <a:chExt cx="2801831" cy="732546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AB20560B-CA1B-4C78-9AC1-AF1D3A65470C}"/>
                </a:ext>
              </a:extLst>
            </p:cNvPr>
            <p:cNvSpPr/>
            <p:nvPr/>
          </p:nvSpPr>
          <p:spPr>
            <a:xfrm>
              <a:off x="6066177" y="3307182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2FD337A-6D24-4E3D-A411-8BE0CD06BF30}"/>
                </a:ext>
              </a:extLst>
            </p:cNvPr>
            <p:cNvSpPr txBox="1"/>
            <p:nvPr/>
          </p:nvSpPr>
          <p:spPr>
            <a:xfrm>
              <a:off x="6129814" y="3367641"/>
              <a:ext cx="2645584" cy="55405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DMI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fr-FR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S LLM Droit et Management lnternational 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D464E94-2BBD-4B50-B621-5D2A4CF40800}"/>
              </a:ext>
            </a:extLst>
          </p:cNvPr>
          <p:cNvGrpSpPr/>
          <p:nvPr/>
        </p:nvGrpSpPr>
        <p:grpSpPr>
          <a:xfrm>
            <a:off x="4538768" y="3143363"/>
            <a:ext cx="2101373" cy="549410"/>
            <a:chOff x="6066177" y="5921117"/>
            <a:chExt cx="2801831" cy="732546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4E7E27DD-6CAE-4510-A05A-E7955F31584A}"/>
                </a:ext>
              </a:extLst>
            </p:cNvPr>
            <p:cNvSpPr/>
            <p:nvPr/>
          </p:nvSpPr>
          <p:spPr>
            <a:xfrm>
              <a:off x="6066177" y="5921117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BF19825-586A-4531-8807-405BECD46962}"/>
                </a:ext>
              </a:extLst>
            </p:cNvPr>
            <p:cNvSpPr txBox="1"/>
            <p:nvPr/>
          </p:nvSpPr>
          <p:spPr>
            <a:xfrm>
              <a:off x="6129814" y="6185009"/>
              <a:ext cx="2645584" cy="20433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C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fr-FR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S Médias, Art et Création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A739F92-A331-4F63-B935-C5A2B9887792}"/>
              </a:ext>
            </a:extLst>
          </p:cNvPr>
          <p:cNvGrpSpPr/>
          <p:nvPr/>
        </p:nvGrpSpPr>
        <p:grpSpPr>
          <a:xfrm>
            <a:off x="4538767" y="3803618"/>
            <a:ext cx="2101373" cy="549410"/>
            <a:chOff x="8975815" y="2449860"/>
            <a:chExt cx="2801831" cy="732546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A6657B98-9941-4E01-B95F-FDFACC635458}"/>
                </a:ext>
              </a:extLst>
            </p:cNvPr>
            <p:cNvSpPr/>
            <p:nvPr/>
          </p:nvSpPr>
          <p:spPr>
            <a:xfrm>
              <a:off x="8975815" y="2449860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5C2C4C1-F945-4BCF-91FE-AE59F5B6F120}"/>
                </a:ext>
              </a:extLst>
            </p:cNvPr>
            <p:cNvSpPr txBox="1"/>
            <p:nvPr/>
          </p:nvSpPr>
          <p:spPr>
            <a:xfrm>
              <a:off x="9039451" y="2465061"/>
              <a:ext cx="2738195" cy="701718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225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FE</a:t>
              </a:r>
              <a:endPara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Economics &amp; Financ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8A81426-8B50-4E38-AB7D-6E9001998CE2}"/>
              </a:ext>
            </a:extLst>
          </p:cNvPr>
          <p:cNvGrpSpPr/>
          <p:nvPr/>
        </p:nvGrpSpPr>
        <p:grpSpPr>
          <a:xfrm>
            <a:off x="6731862" y="1841332"/>
            <a:ext cx="2101373" cy="549410"/>
            <a:chOff x="8975815" y="3307182"/>
            <a:chExt cx="2801831" cy="732546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6965FD1B-7C7D-4812-B54F-0BA331582CE5}"/>
                </a:ext>
              </a:extLst>
            </p:cNvPr>
            <p:cNvSpPr/>
            <p:nvPr/>
          </p:nvSpPr>
          <p:spPr>
            <a:xfrm>
              <a:off x="8975815" y="3307182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09EF30C-7DF3-4C98-8F31-B4F209B9FADA}"/>
                </a:ext>
              </a:extLst>
            </p:cNvPr>
            <p:cNvSpPr txBox="1"/>
            <p:nvPr/>
          </p:nvSpPr>
          <p:spPr>
            <a:xfrm>
              <a:off x="9039452" y="3367641"/>
              <a:ext cx="2645584" cy="55405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fr-FR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IF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fr-FR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International Finance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FF8B74D-5929-400B-BFDA-B023896306B6}"/>
              </a:ext>
            </a:extLst>
          </p:cNvPr>
          <p:cNvGrpSpPr/>
          <p:nvPr/>
        </p:nvGrpSpPr>
        <p:grpSpPr>
          <a:xfrm>
            <a:off x="6731862" y="2476932"/>
            <a:ext cx="2101373" cy="549410"/>
            <a:chOff x="8975815" y="4171355"/>
            <a:chExt cx="2801831" cy="732546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08BECE62-0B28-488F-995A-76A03A8D45BF}"/>
                </a:ext>
              </a:extLst>
            </p:cNvPr>
            <p:cNvSpPr/>
            <p:nvPr/>
          </p:nvSpPr>
          <p:spPr>
            <a:xfrm>
              <a:off x="8975815" y="4171355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7984011-48DE-43D8-9D64-83EB8D59B975}"/>
                </a:ext>
              </a:extLst>
            </p:cNvPr>
            <p:cNvSpPr txBox="1"/>
            <p:nvPr/>
          </p:nvSpPr>
          <p:spPr>
            <a:xfrm>
              <a:off x="9039452" y="4435247"/>
              <a:ext cx="2645584" cy="20433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KG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Marketing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7CB9E0D-CADA-4A0D-9843-18B45E76C03B}"/>
              </a:ext>
            </a:extLst>
          </p:cNvPr>
          <p:cNvGrpSpPr/>
          <p:nvPr/>
        </p:nvGrpSpPr>
        <p:grpSpPr>
          <a:xfrm>
            <a:off x="6720997" y="3140672"/>
            <a:ext cx="2101373" cy="549410"/>
            <a:chOff x="8975815" y="5046236"/>
            <a:chExt cx="2801831" cy="732546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F5028267-EC09-47F0-9E90-0123486840C8}"/>
                </a:ext>
              </a:extLst>
            </p:cNvPr>
            <p:cNvSpPr/>
            <p:nvPr/>
          </p:nvSpPr>
          <p:spPr>
            <a:xfrm>
              <a:off x="8975815" y="5046236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20959FA-667A-4A54-967A-E39030A852AD}"/>
                </a:ext>
              </a:extLst>
            </p:cNvPr>
            <p:cNvSpPr txBox="1"/>
            <p:nvPr/>
          </p:nvSpPr>
          <p:spPr>
            <a:xfrm>
              <a:off x="9039452" y="5310128"/>
              <a:ext cx="2645584" cy="20433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SASI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Sustainability &amp; Social Innovation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A67A374-50D8-49D0-89D6-B21C1497020A}"/>
              </a:ext>
            </a:extLst>
          </p:cNvPr>
          <p:cNvGrpSpPr/>
          <p:nvPr/>
        </p:nvGrpSpPr>
        <p:grpSpPr>
          <a:xfrm>
            <a:off x="6731862" y="3803458"/>
            <a:ext cx="2101373" cy="549410"/>
            <a:chOff x="8975815" y="5921117"/>
            <a:chExt cx="2801831" cy="732546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F0EF6EF-C0EC-47EB-89E8-9978774D5E3E}"/>
                </a:ext>
              </a:extLst>
            </p:cNvPr>
            <p:cNvSpPr/>
            <p:nvPr/>
          </p:nvSpPr>
          <p:spPr>
            <a:xfrm>
              <a:off x="8975815" y="5921117"/>
              <a:ext cx="2801831" cy="732546"/>
            </a:xfrm>
            <a:prstGeom prst="roundRect">
              <a:avLst>
                <a:gd name="adj" fmla="val 7310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18E872A-4FBA-40D1-92C5-1EE851358E6C}"/>
                </a:ext>
              </a:extLst>
            </p:cNvPr>
            <p:cNvSpPr txBox="1"/>
            <p:nvPr/>
          </p:nvSpPr>
          <p:spPr>
            <a:xfrm>
              <a:off x="9039452" y="6185009"/>
              <a:ext cx="2645584" cy="204336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STRAT</a:t>
              </a:r>
            </a:p>
            <a:p>
              <a:pPr>
                <a:lnSpc>
                  <a:spcPct val="90000"/>
                </a:lnSpc>
                <a:spcAft>
                  <a:spcPts val="450"/>
                </a:spcAft>
              </a:pP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Master in Strategic Management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0638781-C944-4879-82F2-3F80FBF274E3}"/>
              </a:ext>
            </a:extLst>
          </p:cNvPr>
          <p:cNvSpPr txBox="1"/>
          <p:nvPr/>
        </p:nvSpPr>
        <p:spPr>
          <a:xfrm>
            <a:off x="2171700" y="143709"/>
            <a:ext cx="4800600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E-EXPERIENCE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OGRAMS</a:t>
            </a:r>
          </a:p>
        </p:txBody>
      </p:sp>
      <p:pic>
        <p:nvPicPr>
          <p:cNvPr id="44" name="Picture 2" descr="A person in a blue shirt&#10;&#10;Description automatically generated">
            <a:extLst>
              <a:ext uri="{FF2B5EF4-FFF2-40B4-BE49-F238E27FC236}">
                <a16:creationId xmlns:a16="http://schemas.microsoft.com/office/drawing/2014/main" id="{EF0542AB-C66A-49CF-988E-1220C63144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25" y="1285878"/>
            <a:ext cx="3243351" cy="3857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6128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22000" decel="7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9" dur="12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accel="22000" decel="78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14" dur="125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3" presetClass="path" presetSubtype="0" accel="22000" decel="78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19" dur="125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accel="22000" decel="7800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24" dur="125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3" presetClass="path" presetSubtype="0" accel="22000" decel="78000" fill="hold" nodeType="withEffect">
                                  <p:stCondLst>
                                    <p:cond delay="85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29" dur="12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3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3" presetClass="path" presetSubtype="0" accel="22000" decel="7800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34" dur="125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4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3" presetClass="path" presetSubtype="0" accel="22000" decel="78000" fill="hold" nodeType="withEffect">
                                  <p:stCondLst>
                                    <p:cond delay="115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39" dur="12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3" presetClass="path" presetSubtype="0" accel="22000" decel="78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0 -1.48148E-6 L 0.15898 0.00139 " pathEditMode="relative" rAng="0" ptsTypes="AA">
                                      <p:cBhvr>
                                        <p:cTn id="44" dur="125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943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C1CF50-4735-4C82-B609-5E08011D5046}"/>
              </a:ext>
            </a:extLst>
          </p:cNvPr>
          <p:cNvSpPr txBox="1"/>
          <p:nvPr/>
        </p:nvSpPr>
        <p:spPr>
          <a:xfrm>
            <a:off x="2450306" y="143709"/>
            <a:ext cx="4243388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UMMER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CHOO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86D19C3-9FBE-42B3-89C3-FAE790B5BBB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4F530B-2312-427C-B05B-DB4CAFA06FF4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32DE799-2062-4A67-A2CE-13657EEB08B3}"/>
              </a:ext>
            </a:extLst>
          </p:cNvPr>
          <p:cNvSpPr/>
          <p:nvPr/>
        </p:nvSpPr>
        <p:spPr>
          <a:xfrm>
            <a:off x="636998" y="1007767"/>
            <a:ext cx="3826145" cy="3648047"/>
          </a:xfrm>
          <a:prstGeom prst="roundRect">
            <a:avLst>
              <a:gd name="adj" fmla="val 1263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DB14EF2-56AA-4F3D-BF03-B8448FBDA8D1}"/>
              </a:ext>
            </a:extLst>
          </p:cNvPr>
          <p:cNvSpPr/>
          <p:nvPr/>
        </p:nvSpPr>
        <p:spPr>
          <a:xfrm>
            <a:off x="4680857" y="993698"/>
            <a:ext cx="3826145" cy="3648048"/>
          </a:xfrm>
          <a:prstGeom prst="roundRect">
            <a:avLst>
              <a:gd name="adj" fmla="val 1523"/>
            </a:avLst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C5A441-E0E2-47B5-B5EB-52FBC6F5D014}"/>
              </a:ext>
            </a:extLst>
          </p:cNvPr>
          <p:cNvSpPr/>
          <p:nvPr/>
        </p:nvSpPr>
        <p:spPr>
          <a:xfrm>
            <a:off x="636998" y="1007766"/>
            <a:ext cx="3826145" cy="3648050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30000"/>
                </a:srgbClr>
              </a:gs>
              <a:gs pos="32750">
                <a:srgbClr val="003566">
                  <a:alpha val="62000"/>
                </a:srgbClr>
              </a:gs>
              <a:gs pos="62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D458A7C-A12F-4471-A3AE-275EF8AF1261}"/>
              </a:ext>
            </a:extLst>
          </p:cNvPr>
          <p:cNvSpPr/>
          <p:nvPr/>
        </p:nvSpPr>
        <p:spPr>
          <a:xfrm>
            <a:off x="4680857" y="993700"/>
            <a:ext cx="3826145" cy="3648049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30000"/>
                </a:srgbClr>
              </a:gs>
              <a:gs pos="32750">
                <a:srgbClr val="003566">
                  <a:alpha val="62000"/>
                </a:srgbClr>
              </a:gs>
              <a:gs pos="62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C63CFF-369D-440E-9C1C-4C62B818FEA8}"/>
              </a:ext>
            </a:extLst>
          </p:cNvPr>
          <p:cNvSpPr txBox="1"/>
          <p:nvPr/>
        </p:nvSpPr>
        <p:spPr>
          <a:xfrm>
            <a:off x="1198881" y="1872301"/>
            <a:ext cx="27023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10 SUMMER </a:t>
            </a:r>
            <a:br>
              <a:rPr lang="fr-FR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</a:br>
            <a:r>
              <a:rPr lang="fr-FR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CHOOL PROGRAM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2D4969-A959-4E7F-A960-FF4BB56C5A36}"/>
              </a:ext>
            </a:extLst>
          </p:cNvPr>
          <p:cNvSpPr txBox="1"/>
          <p:nvPr/>
        </p:nvSpPr>
        <p:spPr>
          <a:xfrm>
            <a:off x="5421197" y="1872301"/>
            <a:ext cx="23410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YOUTH PROGRAM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D90D510-DB4B-4D8F-A75F-B541FECAC64F}"/>
              </a:ext>
            </a:extLst>
          </p:cNvPr>
          <p:cNvSpPr/>
          <p:nvPr/>
        </p:nvSpPr>
        <p:spPr>
          <a:xfrm>
            <a:off x="1093470" y="2728271"/>
            <a:ext cx="1386007" cy="343861"/>
          </a:xfrm>
          <a:prstGeom prst="roundRect">
            <a:avLst>
              <a:gd name="adj" fmla="val 6799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76CD4F4F-2359-4380-A296-29104F0DB01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98881" y="2822894"/>
            <a:ext cx="147930" cy="14793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E402408-199C-4B61-9DA5-ACF5F1EC051E}"/>
              </a:ext>
            </a:extLst>
          </p:cNvPr>
          <p:cNvSpPr txBox="1"/>
          <p:nvPr/>
        </p:nvSpPr>
        <p:spPr>
          <a:xfrm>
            <a:off x="1527065" y="2796489"/>
            <a:ext cx="816813" cy="2135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88" b="1" dirty="0">
                <a:solidFill>
                  <a:schemeClr val="bg1"/>
                </a:solidFill>
                <a:latin typeface="Arial" panose="020B0604020202020204" pitchFamily="34" charset="0"/>
              </a:rPr>
              <a:t>FULL TIM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CA65B49-6A4E-498D-94F7-FF3F39BAC122}"/>
              </a:ext>
            </a:extLst>
          </p:cNvPr>
          <p:cNvCxnSpPr/>
          <p:nvPr/>
        </p:nvCxnSpPr>
        <p:spPr>
          <a:xfrm>
            <a:off x="1485898" y="2777735"/>
            <a:ext cx="0" cy="2279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C01E072-F3DB-4567-B921-C1E73AF49327}"/>
              </a:ext>
            </a:extLst>
          </p:cNvPr>
          <p:cNvGrpSpPr/>
          <p:nvPr/>
        </p:nvGrpSpPr>
        <p:grpSpPr>
          <a:xfrm>
            <a:off x="2574621" y="2728271"/>
            <a:ext cx="1386007" cy="343861"/>
            <a:chOff x="3432828" y="3177311"/>
            <a:chExt cx="1848009" cy="458481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53B4C3EA-7B98-4EEA-BE91-CD8B3C0A1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14546038-A840-4090-8809-B0AD37B687AE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D21F6D4-B15F-4535-B7B9-B23210F58223}"/>
                </a:ext>
              </a:extLst>
            </p:cNvPr>
            <p:cNvSpPr txBox="1"/>
            <p:nvPr/>
          </p:nvSpPr>
          <p:spPr>
            <a:xfrm>
              <a:off x="4044429" y="3276054"/>
              <a:ext cx="1236401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2 WEEKS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1635E80-96EE-4A60-B144-A5A541862EE4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A27C160-CCDB-4301-BA99-8354ED18C5BF}"/>
              </a:ext>
            </a:extLst>
          </p:cNvPr>
          <p:cNvGrpSpPr/>
          <p:nvPr/>
        </p:nvGrpSpPr>
        <p:grpSpPr>
          <a:xfrm>
            <a:off x="1903049" y="3180942"/>
            <a:ext cx="1386007" cy="343861"/>
            <a:chOff x="2537398" y="3780872"/>
            <a:chExt cx="1848009" cy="458481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9E362AB-43F8-43BA-B6CF-C0BBBD3B8927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D90A23F4-7A6B-4BD0-8E63-AB2C5C714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1C57F84-B031-4421-A026-8E134E000660}"/>
                </a:ext>
              </a:extLst>
            </p:cNvPr>
            <p:cNvSpPr txBox="1"/>
            <p:nvPr/>
          </p:nvSpPr>
          <p:spPr>
            <a:xfrm>
              <a:off x="3142542" y="3886111"/>
              <a:ext cx="1236401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739092E-C786-49BB-9147-A68B951FBB92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AFE990A-E46C-47F4-976A-B44B265FD954}"/>
              </a:ext>
            </a:extLst>
          </p:cNvPr>
          <p:cNvSpPr/>
          <p:nvPr/>
        </p:nvSpPr>
        <p:spPr>
          <a:xfrm>
            <a:off x="5145868" y="2728271"/>
            <a:ext cx="1386007" cy="343861"/>
          </a:xfrm>
          <a:prstGeom prst="roundRect">
            <a:avLst>
              <a:gd name="adj" fmla="val 6799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1C5FC0B8-19E6-459C-B5B4-26E4A6E6503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51279" y="2822894"/>
            <a:ext cx="147930" cy="14793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F6307354-42A0-4BF6-B1BC-BAE601AFACAD}"/>
              </a:ext>
            </a:extLst>
          </p:cNvPr>
          <p:cNvSpPr txBox="1"/>
          <p:nvPr/>
        </p:nvSpPr>
        <p:spPr>
          <a:xfrm>
            <a:off x="5594900" y="2783932"/>
            <a:ext cx="816813" cy="2135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88" b="1" dirty="0">
                <a:solidFill>
                  <a:schemeClr val="bg1"/>
                </a:solidFill>
                <a:latin typeface="Arial" panose="020B0604020202020204" pitchFamily="34" charset="0"/>
              </a:rPr>
              <a:t>FULL TIME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9489297-4A93-4D80-8947-C181DA9FEDA2}"/>
              </a:ext>
            </a:extLst>
          </p:cNvPr>
          <p:cNvCxnSpPr/>
          <p:nvPr/>
        </p:nvCxnSpPr>
        <p:spPr>
          <a:xfrm>
            <a:off x="5538296" y="2777735"/>
            <a:ext cx="0" cy="2279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FAB1BF0-2A9B-4E62-BA8A-963FA409C067}"/>
              </a:ext>
            </a:extLst>
          </p:cNvPr>
          <p:cNvGrpSpPr/>
          <p:nvPr/>
        </p:nvGrpSpPr>
        <p:grpSpPr>
          <a:xfrm>
            <a:off x="6627019" y="2728271"/>
            <a:ext cx="1386007" cy="343861"/>
            <a:chOff x="3432828" y="3177311"/>
            <a:chExt cx="1848009" cy="458481"/>
          </a:xfrm>
        </p:grpSpPr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2559E2DB-76D9-4C0E-B32C-87EBDB4B7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4B324877-2CF3-48C3-A847-1E75F232C519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F32FD4C-11C3-4A66-ACCF-EBD9AAB9BAA1}"/>
                </a:ext>
              </a:extLst>
            </p:cNvPr>
            <p:cNvSpPr txBox="1"/>
            <p:nvPr/>
          </p:nvSpPr>
          <p:spPr>
            <a:xfrm>
              <a:off x="4044429" y="3276054"/>
              <a:ext cx="1236401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 WEEK</a:t>
              </a: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6AD3BC-9A83-4C99-8962-9DA17B9BBC3B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8746560-9776-4D0F-8D18-30B2FE63D3A9}"/>
              </a:ext>
            </a:extLst>
          </p:cNvPr>
          <p:cNvGrpSpPr/>
          <p:nvPr/>
        </p:nvGrpSpPr>
        <p:grpSpPr>
          <a:xfrm>
            <a:off x="5955447" y="3180942"/>
            <a:ext cx="1386007" cy="343861"/>
            <a:chOff x="2537398" y="3780872"/>
            <a:chExt cx="1848009" cy="458481"/>
          </a:xfrm>
        </p:grpSpPr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A923856D-3CEB-47F8-8D7B-A6959973B1EB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68" name="Graphic 67">
              <a:extLst>
                <a:ext uri="{FF2B5EF4-FFF2-40B4-BE49-F238E27FC236}">
                  <a16:creationId xmlns:a16="http://schemas.microsoft.com/office/drawing/2014/main" id="{AA46A201-1AB5-464C-862C-9A2B5F17D5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178CE5ED-8031-43DF-BB32-DD285F439809}"/>
                </a:ext>
              </a:extLst>
            </p:cNvPr>
            <p:cNvSpPr txBox="1"/>
            <p:nvPr/>
          </p:nvSpPr>
          <p:spPr>
            <a:xfrm>
              <a:off x="3142542" y="3886111"/>
              <a:ext cx="1236401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</a:t>
              </a: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0CE1ACB2-9914-4043-A88F-B3CE88D04774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46E2DF7E-7A94-491C-88AF-AD82EDC409B2}"/>
              </a:ext>
            </a:extLst>
          </p:cNvPr>
          <p:cNvSpPr txBox="1"/>
          <p:nvPr/>
        </p:nvSpPr>
        <p:spPr>
          <a:xfrm>
            <a:off x="1166317" y="3807388"/>
            <a:ext cx="2767509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</a:rPr>
              <a:t>For current students </a:t>
            </a:r>
            <a:br>
              <a:rPr lang="en-US" sz="1500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</a:rPr>
              <a:t>and young professionals of all background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D53D6A8-A5B9-4A16-8DCD-70E39ECAEFC9}"/>
              </a:ext>
            </a:extLst>
          </p:cNvPr>
          <p:cNvSpPr txBox="1"/>
          <p:nvPr/>
        </p:nvSpPr>
        <p:spPr>
          <a:xfrm>
            <a:off x="5207976" y="3807388"/>
            <a:ext cx="2767509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</a:rPr>
              <a:t>For 15 to 18-year-old high school students who wish </a:t>
            </a:r>
            <a:br>
              <a:rPr lang="en-US" sz="1500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</a:rPr>
              <a:t>to develop their potential </a:t>
            </a:r>
          </a:p>
        </p:txBody>
      </p:sp>
    </p:spTree>
    <p:extLst>
      <p:ext uri="{BB962C8B-B14F-4D97-AF65-F5344CB8AC3E}">
        <p14:creationId xmlns:p14="http://schemas.microsoft.com/office/powerpoint/2010/main" val="24797990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decel="10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9" presetClass="entr" presetSubtype="0" decel="100000" fill="hold" grpId="0" nodeType="withEffect">
                                  <p:stCondLst>
                                    <p:cond delay="1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8" presetClass="emph" presetSubtype="0" decel="100000" fill="hold" grpId="1" nodeType="withEffect">
                                  <p:stCondLst>
                                    <p:cond delay="1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49" presetClass="entr" presetSubtype="0" decel="100000" fill="hold" grpId="0" nodeType="withEffect">
                                  <p:stCondLst>
                                    <p:cond delay="1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8" presetClass="emph" presetSubtype="0" decel="100000" fill="hold" grpId="1" nodeType="withEffect">
                                  <p:stCondLst>
                                    <p:cond delay="1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49" presetClass="entr" presetSubtype="0" decel="100000" fill="hold" nodeType="withEffect">
                                  <p:stCondLst>
                                    <p:cond delay="15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8" presetClass="emph" presetSubtype="0" decel="100000" fill="hold" nodeType="withEffect">
                                  <p:stCondLst>
                                    <p:cond delay="15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49" presetClass="entr" presetSubtype="0" decel="100000" fill="hold" nodeType="withEffect">
                                  <p:stCondLst>
                                    <p:cond delay="16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8" presetClass="emph" presetSubtype="0" decel="100000" fill="hold" nodeType="withEffect">
                                  <p:stCondLst>
                                    <p:cond delay="16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49" presetClass="entr" presetSubtype="0" decel="100000" fill="hold" nodeType="withEffect">
                                  <p:stCondLst>
                                    <p:cond delay="17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8" presetClass="emph" presetSubtype="0" decel="100000" fill="hold" nodeType="withEffect">
                                  <p:stCondLst>
                                    <p:cond delay="17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6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7" presetID="49" presetClass="entr" presetSubtype="0" decel="100000" fill="hold" nodeType="withEffect">
                                  <p:stCondLst>
                                    <p:cond delay="1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8" presetClass="emph" presetSubtype="0" decel="100000" fill="hold" nodeType="withEffect">
                                  <p:stCondLst>
                                    <p:cond delay="1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7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3" presetClass="path" presetSubtype="0" accel="22000" decel="7800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3.75E-6 -1.85185E-6 L 0.0026 0.14167 " pathEditMode="relative" rAng="0" ptsTypes="AA">
                                      <p:cBhvr>
                                        <p:cTn id="79" dur="125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7083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3" presetClass="path" presetSubtype="0" accel="22000" decel="78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3.75E-6 -1.85185E-6 L 0.0026 0.14167 " pathEditMode="relative" rAng="0" ptsTypes="AA">
                                      <p:cBhvr>
                                        <p:cTn id="84" dur="125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70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5" grpId="0"/>
      <p:bldP spid="15" grpId="1"/>
      <p:bldP spid="16" grpId="0"/>
      <p:bldP spid="16" grpId="1"/>
      <p:bldP spid="72" grpId="0"/>
      <p:bldP spid="72" grpId="1"/>
      <p:bldP spid="73" grpId="0"/>
      <p:bldP spid="73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F0FFBCEE-020F-410E-A6EB-621ABE8BF5A3}"/>
              </a:ext>
            </a:extLst>
          </p:cNvPr>
          <p:cNvSpPr/>
          <p:nvPr/>
        </p:nvSpPr>
        <p:spPr>
          <a:xfrm>
            <a:off x="1243595" y="995959"/>
            <a:ext cx="1607909" cy="2206067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8C1CF50-4735-4C82-B609-5E08011D5046}"/>
              </a:ext>
            </a:extLst>
          </p:cNvPr>
          <p:cNvSpPr txBox="1"/>
          <p:nvPr/>
        </p:nvSpPr>
        <p:spPr>
          <a:xfrm>
            <a:off x="2450306" y="143709"/>
            <a:ext cx="4243388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hD PROGRAM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86D19C3-9FBE-42B3-89C3-FAE790B5BBB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4F530B-2312-427C-B05B-DB4CAFA06FF4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7">
            <a:extLst>
              <a:ext uri="{FF2B5EF4-FFF2-40B4-BE49-F238E27FC236}">
                <a16:creationId xmlns:a16="http://schemas.microsoft.com/office/drawing/2014/main" id="{A6D739A4-0D83-42D9-84C3-A541E6A8B883}"/>
              </a:ext>
            </a:extLst>
          </p:cNvPr>
          <p:cNvSpPr txBox="1"/>
          <p:nvPr/>
        </p:nvSpPr>
        <p:spPr>
          <a:xfrm>
            <a:off x="1322085" y="1791658"/>
            <a:ext cx="1415265" cy="807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300" b="1" dirty="0">
                <a:solidFill>
                  <a:srgbClr val="B9975B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6</a:t>
            </a:r>
            <a:br>
              <a:rPr lang="en-US" b="1" dirty="0">
                <a:solidFill>
                  <a:srgbClr val="B9975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35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</a:t>
            </a:r>
            <a:endParaRPr lang="fr-FR" sz="1350" b="1" dirty="0">
              <a:solidFill>
                <a:srgbClr val="0030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ZoneTexte 8">
            <a:extLst>
              <a:ext uri="{FF2B5EF4-FFF2-40B4-BE49-F238E27FC236}">
                <a16:creationId xmlns:a16="http://schemas.microsoft.com/office/drawing/2014/main" id="{EF7324CF-5DFF-466C-88D0-D41724223756}"/>
              </a:ext>
            </a:extLst>
          </p:cNvPr>
          <p:cNvSpPr txBox="1"/>
          <p:nvPr/>
        </p:nvSpPr>
        <p:spPr>
          <a:xfrm>
            <a:off x="3018102" y="1791658"/>
            <a:ext cx="14151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300" b="1" dirty="0">
                <a:solidFill>
                  <a:srgbClr val="B9975B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86%</a:t>
            </a:r>
          </a:p>
          <a:p>
            <a:pPr algn="ctr"/>
            <a:r>
              <a:rPr lang="en-US" sz="135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 students</a:t>
            </a:r>
            <a:endParaRPr lang="fr-FR" sz="1350" b="1" dirty="0">
              <a:solidFill>
                <a:srgbClr val="0030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ZoneTexte 9">
            <a:extLst>
              <a:ext uri="{FF2B5EF4-FFF2-40B4-BE49-F238E27FC236}">
                <a16:creationId xmlns:a16="http://schemas.microsoft.com/office/drawing/2014/main" id="{DE416910-0DDC-46AE-BF81-93A2C99AD0B6}"/>
              </a:ext>
            </a:extLst>
          </p:cNvPr>
          <p:cNvSpPr txBox="1"/>
          <p:nvPr/>
        </p:nvSpPr>
        <p:spPr>
          <a:xfrm>
            <a:off x="4630473" y="1791658"/>
            <a:ext cx="1551143" cy="807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300" b="1" dirty="0">
                <a:solidFill>
                  <a:srgbClr val="B9975B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+300 </a:t>
            </a:r>
            <a:br>
              <a:rPr lang="en-US" sz="3300" b="1" dirty="0">
                <a:solidFill>
                  <a:srgbClr val="B9975B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en-US" sz="135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umni</a:t>
            </a:r>
            <a:endParaRPr lang="fr-FR" sz="1350" b="1" dirty="0">
              <a:solidFill>
                <a:srgbClr val="0030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ZoneTexte 10">
            <a:extLst>
              <a:ext uri="{FF2B5EF4-FFF2-40B4-BE49-F238E27FC236}">
                <a16:creationId xmlns:a16="http://schemas.microsoft.com/office/drawing/2014/main" id="{9568B85B-1A87-4769-B5FA-E8C669CD0062}"/>
              </a:ext>
            </a:extLst>
          </p:cNvPr>
          <p:cNvSpPr txBox="1"/>
          <p:nvPr/>
        </p:nvSpPr>
        <p:spPr>
          <a:xfrm>
            <a:off x="6408083" y="1791658"/>
            <a:ext cx="1421490" cy="807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300" b="1" dirty="0">
                <a:solidFill>
                  <a:srgbClr val="B9975B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5% </a:t>
            </a:r>
          </a:p>
          <a:p>
            <a:pPr algn="ctr"/>
            <a:r>
              <a:rPr lang="en-US" sz="135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men</a:t>
            </a:r>
            <a:endParaRPr lang="fr-FR" sz="1350" b="1" dirty="0">
              <a:solidFill>
                <a:srgbClr val="00305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25B706D-926C-417A-BE8F-98BE41C604F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5719" y="1237326"/>
            <a:ext cx="292151" cy="29215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44C33BCD-4856-4CA3-BEEC-FB31C76EC6A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43534" y="1196458"/>
            <a:ext cx="364323" cy="364323"/>
          </a:xfrm>
          <a:prstGeom prst="rect">
            <a:avLst/>
          </a:prstGeom>
        </p:spPr>
      </p:pic>
      <p:grpSp>
        <p:nvGrpSpPr>
          <p:cNvPr id="21" name="Graphic 18">
            <a:extLst>
              <a:ext uri="{FF2B5EF4-FFF2-40B4-BE49-F238E27FC236}">
                <a16:creationId xmlns:a16="http://schemas.microsoft.com/office/drawing/2014/main" id="{14F5228A-B884-4772-BAAF-55D294A061C1}"/>
              </a:ext>
            </a:extLst>
          </p:cNvPr>
          <p:cNvGrpSpPr/>
          <p:nvPr/>
        </p:nvGrpSpPr>
        <p:grpSpPr>
          <a:xfrm>
            <a:off x="1904962" y="1234081"/>
            <a:ext cx="255446" cy="287538"/>
            <a:chOff x="2253623" y="1582330"/>
            <a:chExt cx="452729" cy="509605"/>
          </a:xfrm>
          <a:noFill/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A009CA6-F8C5-401E-B688-9F97279BE0E7}"/>
                </a:ext>
              </a:extLst>
            </p:cNvPr>
            <p:cNvSpPr/>
            <p:nvPr/>
          </p:nvSpPr>
          <p:spPr>
            <a:xfrm>
              <a:off x="2253623" y="1731310"/>
              <a:ext cx="103225" cy="303999"/>
            </a:xfrm>
            <a:custGeom>
              <a:avLst/>
              <a:gdLst>
                <a:gd name="connsiteX0" fmla="*/ 92747 w 103226"/>
                <a:gd name="connsiteY0" fmla="*/ 3319 h 303998"/>
                <a:gd name="connsiteX1" fmla="*/ 92915 w 103226"/>
                <a:gd name="connsiteY1" fmla="*/ 0 h 303998"/>
                <a:gd name="connsiteX2" fmla="*/ 67823 w 103226"/>
                <a:gd name="connsiteY2" fmla="*/ 0 h 303998"/>
                <a:gd name="connsiteX3" fmla="*/ 26086 w 103226"/>
                <a:gd name="connsiteY3" fmla="*/ 0 h 303998"/>
                <a:gd name="connsiteX4" fmla="*/ 0 w 103226"/>
                <a:gd name="connsiteY4" fmla="*/ 26099 h 303998"/>
                <a:gd name="connsiteX5" fmla="*/ 0 w 103226"/>
                <a:gd name="connsiteY5" fmla="*/ 120357 h 303998"/>
                <a:gd name="connsiteX6" fmla="*/ 26079 w 103226"/>
                <a:gd name="connsiteY6" fmla="*/ 146456 h 303998"/>
                <a:gd name="connsiteX7" fmla="*/ 32420 w 103226"/>
                <a:gd name="connsiteY7" fmla="*/ 146456 h 303998"/>
                <a:gd name="connsiteX8" fmla="*/ 32420 w 103226"/>
                <a:gd name="connsiteY8" fmla="*/ 283885 h 303998"/>
                <a:gd name="connsiteX9" fmla="*/ 52527 w 103226"/>
                <a:gd name="connsiteY9" fmla="*/ 303998 h 303998"/>
                <a:gd name="connsiteX10" fmla="*/ 83101 w 103226"/>
                <a:gd name="connsiteY10" fmla="*/ 303998 h 303998"/>
                <a:gd name="connsiteX11" fmla="*/ 103227 w 103226"/>
                <a:gd name="connsiteY11" fmla="*/ 283885 h 303998"/>
                <a:gd name="connsiteX12" fmla="*/ 103227 w 103226"/>
                <a:gd name="connsiteY12" fmla="*/ 157077 h 303998"/>
                <a:gd name="connsiteX13" fmla="*/ 92747 w 103226"/>
                <a:gd name="connsiteY13" fmla="*/ 124509 h 303998"/>
                <a:gd name="connsiteX14" fmla="*/ 92747 w 103226"/>
                <a:gd name="connsiteY14" fmla="*/ 3319 h 30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3226" h="303998">
                  <a:moveTo>
                    <a:pt x="92747" y="3319"/>
                  </a:moveTo>
                  <a:cubicBezTo>
                    <a:pt x="92747" y="2202"/>
                    <a:pt x="92851" y="1104"/>
                    <a:pt x="92915" y="0"/>
                  </a:cubicBezTo>
                  <a:lnTo>
                    <a:pt x="67823" y="0"/>
                  </a:lnTo>
                  <a:lnTo>
                    <a:pt x="26086" y="0"/>
                  </a:lnTo>
                  <a:cubicBezTo>
                    <a:pt x="11681" y="0"/>
                    <a:pt x="0" y="11681"/>
                    <a:pt x="0" y="26099"/>
                  </a:cubicBezTo>
                  <a:lnTo>
                    <a:pt x="0" y="120357"/>
                  </a:lnTo>
                  <a:cubicBezTo>
                    <a:pt x="0" y="134762"/>
                    <a:pt x="11681" y="146456"/>
                    <a:pt x="26079" y="146456"/>
                  </a:cubicBezTo>
                  <a:lnTo>
                    <a:pt x="32420" y="146456"/>
                  </a:lnTo>
                  <a:lnTo>
                    <a:pt x="32420" y="283885"/>
                  </a:lnTo>
                  <a:cubicBezTo>
                    <a:pt x="32420" y="294991"/>
                    <a:pt x="41421" y="303998"/>
                    <a:pt x="52527" y="303998"/>
                  </a:cubicBezTo>
                  <a:lnTo>
                    <a:pt x="83101" y="303998"/>
                  </a:lnTo>
                  <a:cubicBezTo>
                    <a:pt x="94219" y="303998"/>
                    <a:pt x="103227" y="294984"/>
                    <a:pt x="103227" y="283885"/>
                  </a:cubicBezTo>
                  <a:lnTo>
                    <a:pt x="103227" y="157077"/>
                  </a:lnTo>
                  <a:cubicBezTo>
                    <a:pt x="96654" y="147876"/>
                    <a:pt x="92747" y="136654"/>
                    <a:pt x="92747" y="124509"/>
                  </a:cubicBezTo>
                  <a:lnTo>
                    <a:pt x="92747" y="3319"/>
                  </a:lnTo>
                  <a:close/>
                </a:path>
              </a:pathLst>
            </a:custGeom>
            <a:noFill/>
            <a:ln w="22225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837DF53-53D2-47DB-BE7F-B5AB2F4B0824}"/>
                </a:ext>
              </a:extLst>
            </p:cNvPr>
            <p:cNvSpPr/>
            <p:nvPr/>
          </p:nvSpPr>
          <p:spPr>
            <a:xfrm>
              <a:off x="2280794" y="1638956"/>
              <a:ext cx="81286" cy="81286"/>
            </a:xfrm>
            <a:custGeom>
              <a:avLst/>
              <a:gdLst>
                <a:gd name="connsiteX0" fmla="*/ 40653 w 81286"/>
                <a:gd name="connsiteY0" fmla="*/ 0 h 81286"/>
                <a:gd name="connsiteX1" fmla="*/ 0 w 81286"/>
                <a:gd name="connsiteY1" fmla="*/ 40640 h 81286"/>
                <a:gd name="connsiteX2" fmla="*/ 12268 w 81286"/>
                <a:gd name="connsiteY2" fmla="*/ 69709 h 81286"/>
                <a:gd name="connsiteX3" fmla="*/ 40653 w 81286"/>
                <a:gd name="connsiteY3" fmla="*/ 81286 h 81286"/>
                <a:gd name="connsiteX4" fmla="*/ 69024 w 81286"/>
                <a:gd name="connsiteY4" fmla="*/ 69709 h 81286"/>
                <a:gd name="connsiteX5" fmla="*/ 81286 w 81286"/>
                <a:gd name="connsiteY5" fmla="*/ 40640 h 81286"/>
                <a:gd name="connsiteX6" fmla="*/ 40653 w 81286"/>
                <a:gd name="connsiteY6" fmla="*/ 0 h 8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6" h="81286">
                  <a:moveTo>
                    <a:pt x="40653" y="0"/>
                  </a:moveTo>
                  <a:cubicBezTo>
                    <a:pt x="18202" y="0"/>
                    <a:pt x="0" y="18196"/>
                    <a:pt x="0" y="40640"/>
                  </a:cubicBezTo>
                  <a:cubicBezTo>
                    <a:pt x="0" y="52043"/>
                    <a:pt x="4707" y="62329"/>
                    <a:pt x="12268" y="69709"/>
                  </a:cubicBezTo>
                  <a:cubicBezTo>
                    <a:pt x="19597" y="76863"/>
                    <a:pt x="29605" y="81286"/>
                    <a:pt x="40653" y="81286"/>
                  </a:cubicBezTo>
                  <a:cubicBezTo>
                    <a:pt x="51694" y="81286"/>
                    <a:pt x="61702" y="76863"/>
                    <a:pt x="69024" y="69709"/>
                  </a:cubicBezTo>
                  <a:cubicBezTo>
                    <a:pt x="76579" y="62329"/>
                    <a:pt x="81286" y="52043"/>
                    <a:pt x="81286" y="40640"/>
                  </a:cubicBezTo>
                  <a:cubicBezTo>
                    <a:pt x="81286" y="18196"/>
                    <a:pt x="63097" y="0"/>
                    <a:pt x="40653" y="0"/>
                  </a:cubicBezTo>
                  <a:close/>
                </a:path>
              </a:pathLst>
            </a:custGeom>
            <a:noFill/>
            <a:ln w="22225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B2479C7-5028-4A30-B7AD-05967A9F39C8}"/>
                </a:ext>
              </a:extLst>
            </p:cNvPr>
            <p:cNvSpPr/>
            <p:nvPr/>
          </p:nvSpPr>
          <p:spPr>
            <a:xfrm>
              <a:off x="2603126" y="1731317"/>
              <a:ext cx="103226" cy="303999"/>
            </a:xfrm>
            <a:custGeom>
              <a:avLst/>
              <a:gdLst>
                <a:gd name="connsiteX0" fmla="*/ 77147 w 103226"/>
                <a:gd name="connsiteY0" fmla="*/ 0 h 303998"/>
                <a:gd name="connsiteX1" fmla="*/ 35410 w 103226"/>
                <a:gd name="connsiteY1" fmla="*/ 0 h 303998"/>
                <a:gd name="connsiteX2" fmla="*/ 10325 w 103226"/>
                <a:gd name="connsiteY2" fmla="*/ 0 h 303998"/>
                <a:gd name="connsiteX3" fmla="*/ 10486 w 103226"/>
                <a:gd name="connsiteY3" fmla="*/ 3319 h 303998"/>
                <a:gd name="connsiteX4" fmla="*/ 10486 w 103226"/>
                <a:gd name="connsiteY4" fmla="*/ 124509 h 303998"/>
                <a:gd name="connsiteX5" fmla="*/ 0 w 103226"/>
                <a:gd name="connsiteY5" fmla="*/ 157084 h 303998"/>
                <a:gd name="connsiteX6" fmla="*/ 0 w 103226"/>
                <a:gd name="connsiteY6" fmla="*/ 283885 h 303998"/>
                <a:gd name="connsiteX7" fmla="*/ 20107 w 103226"/>
                <a:gd name="connsiteY7" fmla="*/ 303998 h 303998"/>
                <a:gd name="connsiteX8" fmla="*/ 50680 w 103226"/>
                <a:gd name="connsiteY8" fmla="*/ 303998 h 303998"/>
                <a:gd name="connsiteX9" fmla="*/ 70800 w 103226"/>
                <a:gd name="connsiteY9" fmla="*/ 283885 h 303998"/>
                <a:gd name="connsiteX10" fmla="*/ 70800 w 103226"/>
                <a:gd name="connsiteY10" fmla="*/ 146449 h 303998"/>
                <a:gd name="connsiteX11" fmla="*/ 77134 w 103226"/>
                <a:gd name="connsiteY11" fmla="*/ 146449 h 303998"/>
                <a:gd name="connsiteX12" fmla="*/ 103227 w 103226"/>
                <a:gd name="connsiteY12" fmla="*/ 120351 h 303998"/>
                <a:gd name="connsiteX13" fmla="*/ 103227 w 103226"/>
                <a:gd name="connsiteY13" fmla="*/ 26092 h 303998"/>
                <a:gd name="connsiteX14" fmla="*/ 77147 w 103226"/>
                <a:gd name="connsiteY14" fmla="*/ 0 h 303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3226" h="303998">
                  <a:moveTo>
                    <a:pt x="77147" y="0"/>
                  </a:moveTo>
                  <a:lnTo>
                    <a:pt x="35410" y="0"/>
                  </a:lnTo>
                  <a:lnTo>
                    <a:pt x="10325" y="0"/>
                  </a:lnTo>
                  <a:cubicBezTo>
                    <a:pt x="10383" y="1104"/>
                    <a:pt x="10486" y="2195"/>
                    <a:pt x="10486" y="3319"/>
                  </a:cubicBezTo>
                  <a:lnTo>
                    <a:pt x="10486" y="124509"/>
                  </a:lnTo>
                  <a:cubicBezTo>
                    <a:pt x="10486" y="136654"/>
                    <a:pt x="6580" y="147883"/>
                    <a:pt x="0" y="157084"/>
                  </a:cubicBezTo>
                  <a:lnTo>
                    <a:pt x="0" y="283885"/>
                  </a:lnTo>
                  <a:cubicBezTo>
                    <a:pt x="0" y="294991"/>
                    <a:pt x="9001" y="303998"/>
                    <a:pt x="20107" y="303998"/>
                  </a:cubicBezTo>
                  <a:lnTo>
                    <a:pt x="50680" y="303998"/>
                  </a:lnTo>
                  <a:cubicBezTo>
                    <a:pt x="61806" y="303998"/>
                    <a:pt x="70800" y="294984"/>
                    <a:pt x="70800" y="283885"/>
                  </a:cubicBezTo>
                  <a:lnTo>
                    <a:pt x="70800" y="146449"/>
                  </a:lnTo>
                  <a:lnTo>
                    <a:pt x="77134" y="146449"/>
                  </a:lnTo>
                  <a:cubicBezTo>
                    <a:pt x="91540" y="146449"/>
                    <a:pt x="103227" y="134756"/>
                    <a:pt x="103227" y="120351"/>
                  </a:cubicBezTo>
                  <a:lnTo>
                    <a:pt x="103227" y="26092"/>
                  </a:lnTo>
                  <a:cubicBezTo>
                    <a:pt x="103240" y="11674"/>
                    <a:pt x="91553" y="0"/>
                    <a:pt x="77147" y="0"/>
                  </a:cubicBezTo>
                  <a:close/>
                </a:path>
              </a:pathLst>
            </a:custGeom>
            <a:noFill/>
            <a:ln w="22225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68BBDED-ADD7-42EB-BF8F-7B6944FF86BD}"/>
                </a:ext>
              </a:extLst>
            </p:cNvPr>
            <p:cNvSpPr/>
            <p:nvPr/>
          </p:nvSpPr>
          <p:spPr>
            <a:xfrm>
              <a:off x="2394370" y="1701085"/>
              <a:ext cx="174414" cy="390850"/>
            </a:xfrm>
            <a:custGeom>
              <a:avLst/>
              <a:gdLst>
                <a:gd name="connsiteX0" fmla="*/ 140877 w 174414"/>
                <a:gd name="connsiteY0" fmla="*/ 0 h 390850"/>
                <a:gd name="connsiteX1" fmla="*/ 87207 w 174414"/>
                <a:gd name="connsiteY1" fmla="*/ 0 h 390850"/>
                <a:gd name="connsiteX2" fmla="*/ 33544 w 174414"/>
                <a:gd name="connsiteY2" fmla="*/ 0 h 390850"/>
                <a:gd name="connsiteX3" fmla="*/ 0 w 174414"/>
                <a:gd name="connsiteY3" fmla="*/ 33550 h 390850"/>
                <a:gd name="connsiteX4" fmla="*/ 0 w 174414"/>
                <a:gd name="connsiteY4" fmla="*/ 154740 h 390850"/>
                <a:gd name="connsiteX5" fmla="*/ 33531 w 174414"/>
                <a:gd name="connsiteY5" fmla="*/ 188284 h 390850"/>
                <a:gd name="connsiteX6" fmla="*/ 41679 w 174414"/>
                <a:gd name="connsiteY6" fmla="*/ 188284 h 390850"/>
                <a:gd name="connsiteX7" fmla="*/ 41679 w 174414"/>
                <a:gd name="connsiteY7" fmla="*/ 364984 h 390850"/>
                <a:gd name="connsiteX8" fmla="*/ 67539 w 174414"/>
                <a:gd name="connsiteY8" fmla="*/ 390850 h 390850"/>
                <a:gd name="connsiteX9" fmla="*/ 106856 w 174414"/>
                <a:gd name="connsiteY9" fmla="*/ 390850 h 390850"/>
                <a:gd name="connsiteX10" fmla="*/ 132722 w 174414"/>
                <a:gd name="connsiteY10" fmla="*/ 364984 h 390850"/>
                <a:gd name="connsiteX11" fmla="*/ 132722 w 174414"/>
                <a:gd name="connsiteY11" fmla="*/ 188284 h 390850"/>
                <a:gd name="connsiteX12" fmla="*/ 140877 w 174414"/>
                <a:gd name="connsiteY12" fmla="*/ 188284 h 390850"/>
                <a:gd name="connsiteX13" fmla="*/ 174414 w 174414"/>
                <a:gd name="connsiteY13" fmla="*/ 154740 h 390850"/>
                <a:gd name="connsiteX14" fmla="*/ 174414 w 174414"/>
                <a:gd name="connsiteY14" fmla="*/ 33544 h 390850"/>
                <a:gd name="connsiteX15" fmla="*/ 140877 w 174414"/>
                <a:gd name="connsiteY15" fmla="*/ 0 h 390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4414" h="390850">
                  <a:moveTo>
                    <a:pt x="140877" y="0"/>
                  </a:moveTo>
                  <a:lnTo>
                    <a:pt x="87207" y="0"/>
                  </a:lnTo>
                  <a:lnTo>
                    <a:pt x="33544" y="0"/>
                  </a:lnTo>
                  <a:cubicBezTo>
                    <a:pt x="15019" y="0"/>
                    <a:pt x="0" y="15019"/>
                    <a:pt x="0" y="33550"/>
                  </a:cubicBezTo>
                  <a:lnTo>
                    <a:pt x="0" y="154740"/>
                  </a:lnTo>
                  <a:cubicBezTo>
                    <a:pt x="0" y="173259"/>
                    <a:pt x="15019" y="188284"/>
                    <a:pt x="33531" y="188284"/>
                  </a:cubicBezTo>
                  <a:lnTo>
                    <a:pt x="41679" y="188284"/>
                  </a:lnTo>
                  <a:lnTo>
                    <a:pt x="41679" y="364984"/>
                  </a:lnTo>
                  <a:cubicBezTo>
                    <a:pt x="41679" y="379267"/>
                    <a:pt x="53250" y="390850"/>
                    <a:pt x="67539" y="390850"/>
                  </a:cubicBezTo>
                  <a:lnTo>
                    <a:pt x="106856" y="390850"/>
                  </a:lnTo>
                  <a:cubicBezTo>
                    <a:pt x="121151" y="390850"/>
                    <a:pt x="132722" y="379267"/>
                    <a:pt x="132722" y="364984"/>
                  </a:cubicBezTo>
                  <a:lnTo>
                    <a:pt x="132722" y="188284"/>
                  </a:lnTo>
                  <a:lnTo>
                    <a:pt x="140877" y="188284"/>
                  </a:lnTo>
                  <a:cubicBezTo>
                    <a:pt x="159389" y="188284"/>
                    <a:pt x="174414" y="173259"/>
                    <a:pt x="174414" y="154740"/>
                  </a:cubicBezTo>
                  <a:lnTo>
                    <a:pt x="174414" y="33544"/>
                  </a:lnTo>
                  <a:cubicBezTo>
                    <a:pt x="174414" y="15012"/>
                    <a:pt x="159389" y="0"/>
                    <a:pt x="140877" y="0"/>
                  </a:cubicBezTo>
                  <a:close/>
                </a:path>
              </a:pathLst>
            </a:custGeom>
            <a:noFill/>
            <a:ln w="22225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9FF61BC-EA0E-45C9-A545-11BB8DECBFB5}"/>
                </a:ext>
              </a:extLst>
            </p:cNvPr>
            <p:cNvSpPr/>
            <p:nvPr/>
          </p:nvSpPr>
          <p:spPr>
            <a:xfrm>
              <a:off x="2429315" y="1582330"/>
              <a:ext cx="104505" cy="104518"/>
            </a:xfrm>
            <a:custGeom>
              <a:avLst/>
              <a:gdLst>
                <a:gd name="connsiteX0" fmla="*/ 23884 w 104505"/>
                <a:gd name="connsiteY0" fmla="*/ 96105 h 104518"/>
                <a:gd name="connsiteX1" fmla="*/ 52262 w 104505"/>
                <a:gd name="connsiteY1" fmla="*/ 104518 h 104518"/>
                <a:gd name="connsiteX2" fmla="*/ 80634 w 104505"/>
                <a:gd name="connsiteY2" fmla="*/ 96105 h 104518"/>
                <a:gd name="connsiteX3" fmla="*/ 104505 w 104505"/>
                <a:gd name="connsiteY3" fmla="*/ 52256 h 104518"/>
                <a:gd name="connsiteX4" fmla="*/ 52262 w 104505"/>
                <a:gd name="connsiteY4" fmla="*/ 0 h 104518"/>
                <a:gd name="connsiteX5" fmla="*/ 0 w 104505"/>
                <a:gd name="connsiteY5" fmla="*/ 52256 h 104518"/>
                <a:gd name="connsiteX6" fmla="*/ 23884 w 104505"/>
                <a:gd name="connsiteY6" fmla="*/ 96105 h 104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5" h="104518">
                  <a:moveTo>
                    <a:pt x="23884" y="96105"/>
                  </a:moveTo>
                  <a:cubicBezTo>
                    <a:pt x="32065" y="101406"/>
                    <a:pt x="41789" y="104518"/>
                    <a:pt x="52262" y="104518"/>
                  </a:cubicBezTo>
                  <a:cubicBezTo>
                    <a:pt x="62729" y="104518"/>
                    <a:pt x="72460" y="101406"/>
                    <a:pt x="80634" y="96105"/>
                  </a:cubicBezTo>
                  <a:cubicBezTo>
                    <a:pt x="94988" y="86794"/>
                    <a:pt x="104505" y="70645"/>
                    <a:pt x="104505" y="52256"/>
                  </a:cubicBezTo>
                  <a:cubicBezTo>
                    <a:pt x="104505" y="23393"/>
                    <a:pt x="81118" y="0"/>
                    <a:pt x="52262" y="0"/>
                  </a:cubicBezTo>
                  <a:cubicBezTo>
                    <a:pt x="23400" y="0"/>
                    <a:pt x="0" y="23400"/>
                    <a:pt x="0" y="52256"/>
                  </a:cubicBezTo>
                  <a:cubicBezTo>
                    <a:pt x="0" y="70645"/>
                    <a:pt x="9518" y="86787"/>
                    <a:pt x="23884" y="96105"/>
                  </a:cubicBezTo>
                  <a:close/>
                </a:path>
              </a:pathLst>
            </a:custGeom>
            <a:noFill/>
            <a:ln w="22225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BEF6AA1-4D54-4702-A726-D0314461F68C}"/>
                </a:ext>
              </a:extLst>
            </p:cNvPr>
            <p:cNvSpPr/>
            <p:nvPr/>
          </p:nvSpPr>
          <p:spPr>
            <a:xfrm>
              <a:off x="2597884" y="1638956"/>
              <a:ext cx="81287" cy="81286"/>
            </a:xfrm>
            <a:custGeom>
              <a:avLst/>
              <a:gdLst>
                <a:gd name="connsiteX0" fmla="*/ 40653 w 81286"/>
                <a:gd name="connsiteY0" fmla="*/ 81286 h 81286"/>
                <a:gd name="connsiteX1" fmla="*/ 69024 w 81286"/>
                <a:gd name="connsiteY1" fmla="*/ 69709 h 81286"/>
                <a:gd name="connsiteX2" fmla="*/ 81286 w 81286"/>
                <a:gd name="connsiteY2" fmla="*/ 40640 h 81286"/>
                <a:gd name="connsiteX3" fmla="*/ 40653 w 81286"/>
                <a:gd name="connsiteY3" fmla="*/ 0 h 81286"/>
                <a:gd name="connsiteX4" fmla="*/ 0 w 81286"/>
                <a:gd name="connsiteY4" fmla="*/ 40640 h 81286"/>
                <a:gd name="connsiteX5" fmla="*/ 12268 w 81286"/>
                <a:gd name="connsiteY5" fmla="*/ 69709 h 81286"/>
                <a:gd name="connsiteX6" fmla="*/ 40653 w 81286"/>
                <a:gd name="connsiteY6" fmla="*/ 81286 h 8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286" h="81286">
                  <a:moveTo>
                    <a:pt x="40653" y="81286"/>
                  </a:moveTo>
                  <a:cubicBezTo>
                    <a:pt x="51701" y="81286"/>
                    <a:pt x="61702" y="76863"/>
                    <a:pt x="69024" y="69709"/>
                  </a:cubicBezTo>
                  <a:cubicBezTo>
                    <a:pt x="76586" y="62329"/>
                    <a:pt x="81286" y="52043"/>
                    <a:pt x="81286" y="40640"/>
                  </a:cubicBezTo>
                  <a:cubicBezTo>
                    <a:pt x="81286" y="18196"/>
                    <a:pt x="63097" y="0"/>
                    <a:pt x="40653" y="0"/>
                  </a:cubicBezTo>
                  <a:cubicBezTo>
                    <a:pt x="18202" y="0"/>
                    <a:pt x="0" y="18196"/>
                    <a:pt x="0" y="40640"/>
                  </a:cubicBezTo>
                  <a:cubicBezTo>
                    <a:pt x="0" y="52043"/>
                    <a:pt x="4707" y="62329"/>
                    <a:pt x="12268" y="69709"/>
                  </a:cubicBezTo>
                  <a:cubicBezTo>
                    <a:pt x="19597" y="76863"/>
                    <a:pt x="29605" y="81286"/>
                    <a:pt x="40653" y="81286"/>
                  </a:cubicBezTo>
                  <a:close/>
                </a:path>
              </a:pathLst>
            </a:custGeom>
            <a:noFill/>
            <a:ln w="22225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pic>
        <p:nvPicPr>
          <p:cNvPr id="86" name="Graphic 85">
            <a:extLst>
              <a:ext uri="{FF2B5EF4-FFF2-40B4-BE49-F238E27FC236}">
                <a16:creationId xmlns:a16="http://schemas.microsoft.com/office/drawing/2014/main" id="{2D505CD8-48CC-447B-AB4F-24ED6E97B4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04002" y="1147551"/>
            <a:ext cx="471699" cy="471699"/>
          </a:xfrm>
          <a:prstGeom prst="rect">
            <a:avLst/>
          </a:prstGeom>
        </p:spPr>
      </p:pic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07FE1AF0-DFCC-4E89-A78B-B2781552B8CC}"/>
              </a:ext>
            </a:extLst>
          </p:cNvPr>
          <p:cNvSpPr/>
          <p:nvPr/>
        </p:nvSpPr>
        <p:spPr>
          <a:xfrm>
            <a:off x="2928733" y="995959"/>
            <a:ext cx="1607909" cy="2206067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836D355E-435F-4D8A-B6AF-DC640F163367}"/>
              </a:ext>
            </a:extLst>
          </p:cNvPr>
          <p:cNvSpPr/>
          <p:nvPr/>
        </p:nvSpPr>
        <p:spPr>
          <a:xfrm>
            <a:off x="4613872" y="995959"/>
            <a:ext cx="1607909" cy="2206067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D01AE95A-69BE-4AA4-BFE6-9E1F20C084B9}"/>
              </a:ext>
            </a:extLst>
          </p:cNvPr>
          <p:cNvSpPr/>
          <p:nvPr/>
        </p:nvSpPr>
        <p:spPr>
          <a:xfrm>
            <a:off x="6297841" y="995959"/>
            <a:ext cx="1607909" cy="2206067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56BBDFF-3A9A-40D4-A7E3-E67BCA35F0E3}"/>
              </a:ext>
            </a:extLst>
          </p:cNvPr>
          <p:cNvGrpSpPr/>
          <p:nvPr/>
        </p:nvGrpSpPr>
        <p:grpSpPr>
          <a:xfrm>
            <a:off x="219076" y="2937434"/>
            <a:ext cx="8705849" cy="2206067"/>
            <a:chOff x="292101" y="3916578"/>
            <a:chExt cx="11607798" cy="2941423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172ABD1-7D64-46FE-95FC-5EB21E1A7B1A}"/>
                </a:ext>
              </a:extLst>
            </p:cNvPr>
            <p:cNvSpPr/>
            <p:nvPr/>
          </p:nvSpPr>
          <p:spPr>
            <a:xfrm>
              <a:off x="292101" y="3916578"/>
              <a:ext cx="11607798" cy="2941423"/>
            </a:xfrm>
            <a:custGeom>
              <a:avLst/>
              <a:gdLst>
                <a:gd name="connsiteX0" fmla="*/ 96567 w 11607798"/>
                <a:gd name="connsiteY0" fmla="*/ 0 h 2941423"/>
                <a:gd name="connsiteX1" fmla="*/ 11511231 w 11607798"/>
                <a:gd name="connsiteY1" fmla="*/ 0 h 2941423"/>
                <a:gd name="connsiteX2" fmla="*/ 11607798 w 11607798"/>
                <a:gd name="connsiteY2" fmla="*/ 96567 h 2941423"/>
                <a:gd name="connsiteX3" fmla="*/ 11607798 w 11607798"/>
                <a:gd name="connsiteY3" fmla="*/ 2667531 h 2941423"/>
                <a:gd name="connsiteX4" fmla="*/ 11607798 w 11607798"/>
                <a:gd name="connsiteY4" fmla="*/ 2844855 h 2941423"/>
                <a:gd name="connsiteX5" fmla="*/ 11607798 w 11607798"/>
                <a:gd name="connsiteY5" fmla="*/ 2941423 h 2941423"/>
                <a:gd name="connsiteX6" fmla="*/ 0 w 11607798"/>
                <a:gd name="connsiteY6" fmla="*/ 2941423 h 2941423"/>
                <a:gd name="connsiteX7" fmla="*/ 0 w 11607798"/>
                <a:gd name="connsiteY7" fmla="*/ 2844855 h 2941423"/>
                <a:gd name="connsiteX8" fmla="*/ 0 w 11607798"/>
                <a:gd name="connsiteY8" fmla="*/ 2667531 h 2941423"/>
                <a:gd name="connsiteX9" fmla="*/ 0 w 11607798"/>
                <a:gd name="connsiteY9" fmla="*/ 96567 h 2941423"/>
                <a:gd name="connsiteX10" fmla="*/ 96567 w 11607798"/>
                <a:gd name="connsiteY10" fmla="*/ 0 h 294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07798" h="2941423">
                  <a:moveTo>
                    <a:pt x="96567" y="0"/>
                  </a:moveTo>
                  <a:lnTo>
                    <a:pt x="11511231" y="0"/>
                  </a:lnTo>
                  <a:cubicBezTo>
                    <a:pt x="11564563" y="0"/>
                    <a:pt x="11607798" y="43235"/>
                    <a:pt x="11607798" y="96567"/>
                  </a:cubicBezTo>
                  <a:lnTo>
                    <a:pt x="11607798" y="2667531"/>
                  </a:lnTo>
                  <a:lnTo>
                    <a:pt x="11607798" y="2844855"/>
                  </a:lnTo>
                  <a:lnTo>
                    <a:pt x="11607798" y="2941423"/>
                  </a:lnTo>
                  <a:lnTo>
                    <a:pt x="0" y="2941423"/>
                  </a:lnTo>
                  <a:lnTo>
                    <a:pt x="0" y="2844855"/>
                  </a:lnTo>
                  <a:lnTo>
                    <a:pt x="0" y="2667531"/>
                  </a:lnTo>
                  <a:lnTo>
                    <a:pt x="0" y="96567"/>
                  </a:lnTo>
                  <a:cubicBezTo>
                    <a:pt x="0" y="43235"/>
                    <a:pt x="43235" y="0"/>
                    <a:pt x="96567" y="0"/>
                  </a:cubicBezTo>
                  <a:close/>
                </a:path>
              </a:pathLst>
            </a:custGeom>
            <a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431800" dist="127000" dir="15840000" sx="87000" sy="87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 dirty="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3CBF735-51E8-4A49-8212-11A097A4401A}"/>
                </a:ext>
              </a:extLst>
            </p:cNvPr>
            <p:cNvSpPr/>
            <p:nvPr/>
          </p:nvSpPr>
          <p:spPr>
            <a:xfrm>
              <a:off x="292101" y="3916578"/>
              <a:ext cx="11607798" cy="2941423"/>
            </a:xfrm>
            <a:custGeom>
              <a:avLst/>
              <a:gdLst>
                <a:gd name="connsiteX0" fmla="*/ 96567 w 11607798"/>
                <a:gd name="connsiteY0" fmla="*/ 0 h 2941423"/>
                <a:gd name="connsiteX1" fmla="*/ 11511231 w 11607798"/>
                <a:gd name="connsiteY1" fmla="*/ 0 h 2941423"/>
                <a:gd name="connsiteX2" fmla="*/ 11607798 w 11607798"/>
                <a:gd name="connsiteY2" fmla="*/ 96567 h 2941423"/>
                <a:gd name="connsiteX3" fmla="*/ 11607798 w 11607798"/>
                <a:gd name="connsiteY3" fmla="*/ 2667531 h 2941423"/>
                <a:gd name="connsiteX4" fmla="*/ 11607798 w 11607798"/>
                <a:gd name="connsiteY4" fmla="*/ 2844855 h 2941423"/>
                <a:gd name="connsiteX5" fmla="*/ 11607798 w 11607798"/>
                <a:gd name="connsiteY5" fmla="*/ 2941423 h 2941423"/>
                <a:gd name="connsiteX6" fmla="*/ 0 w 11607798"/>
                <a:gd name="connsiteY6" fmla="*/ 2941423 h 2941423"/>
                <a:gd name="connsiteX7" fmla="*/ 0 w 11607798"/>
                <a:gd name="connsiteY7" fmla="*/ 2844855 h 2941423"/>
                <a:gd name="connsiteX8" fmla="*/ 0 w 11607798"/>
                <a:gd name="connsiteY8" fmla="*/ 2667531 h 2941423"/>
                <a:gd name="connsiteX9" fmla="*/ 0 w 11607798"/>
                <a:gd name="connsiteY9" fmla="*/ 96567 h 2941423"/>
                <a:gd name="connsiteX10" fmla="*/ 96567 w 11607798"/>
                <a:gd name="connsiteY10" fmla="*/ 0 h 294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07798" h="2941423">
                  <a:moveTo>
                    <a:pt x="96567" y="0"/>
                  </a:moveTo>
                  <a:lnTo>
                    <a:pt x="11511231" y="0"/>
                  </a:lnTo>
                  <a:cubicBezTo>
                    <a:pt x="11564563" y="0"/>
                    <a:pt x="11607798" y="43235"/>
                    <a:pt x="11607798" y="96567"/>
                  </a:cubicBezTo>
                  <a:lnTo>
                    <a:pt x="11607798" y="2667531"/>
                  </a:lnTo>
                  <a:lnTo>
                    <a:pt x="11607798" y="2844855"/>
                  </a:lnTo>
                  <a:lnTo>
                    <a:pt x="11607798" y="2941423"/>
                  </a:lnTo>
                  <a:lnTo>
                    <a:pt x="0" y="2941423"/>
                  </a:lnTo>
                  <a:lnTo>
                    <a:pt x="0" y="2844855"/>
                  </a:lnTo>
                  <a:lnTo>
                    <a:pt x="0" y="2667531"/>
                  </a:lnTo>
                  <a:lnTo>
                    <a:pt x="0" y="96567"/>
                  </a:lnTo>
                  <a:cubicBezTo>
                    <a:pt x="0" y="43235"/>
                    <a:pt x="43235" y="0"/>
                    <a:pt x="96567" y="0"/>
                  </a:cubicBezTo>
                  <a:close/>
                </a:path>
              </a:pathLst>
            </a:custGeom>
            <a:solidFill>
              <a:srgbClr val="00305C">
                <a:alpha val="1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 dirty="0">
                <a:latin typeface="Arial" panose="020B0604020202020204" pitchFamily="34" charset="0"/>
              </a:endParaRPr>
            </a:p>
          </p:txBody>
        </p:sp>
      </p:grpSp>
      <p:sp>
        <p:nvSpPr>
          <p:cNvPr id="52" name="ZoneTexte 12">
            <a:extLst>
              <a:ext uri="{FF2B5EF4-FFF2-40B4-BE49-F238E27FC236}">
                <a16:creationId xmlns:a16="http://schemas.microsoft.com/office/drawing/2014/main" id="{6C999D03-7E1C-4372-BD4A-F9EA2679BADD}"/>
              </a:ext>
            </a:extLst>
          </p:cNvPr>
          <p:cNvSpPr txBox="1"/>
          <p:nvPr/>
        </p:nvSpPr>
        <p:spPr>
          <a:xfrm>
            <a:off x="1619049" y="3092430"/>
            <a:ext cx="5905701" cy="281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fr-FR" sz="1500" b="1" cap="all" dirty="0">
                <a:solidFill>
                  <a:schemeClr val="bg1"/>
                </a:solidFill>
                <a:latin typeface="Arial Black" panose="020B0A04020102020204" pitchFamily="34" charset="0"/>
                <a:cs typeface="DIN Pro Cond Black" panose="020B0A06020101010102" pitchFamily="34" charset="0"/>
              </a:rPr>
              <a:t>8 FIELDS OF STUDY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C82E74FF-EEED-402A-AE81-52404B7CB988}"/>
              </a:ext>
            </a:extLst>
          </p:cNvPr>
          <p:cNvSpPr/>
          <p:nvPr/>
        </p:nvSpPr>
        <p:spPr>
          <a:xfrm>
            <a:off x="315345" y="3502817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ACCOUNTING AND MANAGEMENT CONTROL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092DB30E-C50E-4FA7-B84B-FC341960F468}"/>
              </a:ext>
            </a:extLst>
          </p:cNvPr>
          <p:cNvSpPr/>
          <p:nvPr/>
        </p:nvSpPr>
        <p:spPr>
          <a:xfrm>
            <a:off x="2501042" y="3502816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ECONOMICS AND DECISION SCIENCES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2CCDA11D-0CD6-4526-9D09-89A5F0BB5E10}"/>
              </a:ext>
            </a:extLst>
          </p:cNvPr>
          <p:cNvSpPr/>
          <p:nvPr/>
        </p:nvSpPr>
        <p:spPr>
          <a:xfrm>
            <a:off x="4676701" y="3502815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FINANCE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370F201B-6E14-4834-95B1-E1109C864821}"/>
              </a:ext>
            </a:extLst>
          </p:cNvPr>
          <p:cNvSpPr/>
          <p:nvPr/>
        </p:nvSpPr>
        <p:spPr>
          <a:xfrm>
            <a:off x="2498102" y="3952800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MARKETING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79370714-FAD7-4482-8077-FDEC4F15ADEC}"/>
              </a:ext>
            </a:extLst>
          </p:cNvPr>
          <p:cNvSpPr/>
          <p:nvPr/>
        </p:nvSpPr>
        <p:spPr>
          <a:xfrm>
            <a:off x="315345" y="3953637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MANAGEMENT AND HUMAN RESOURCES 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2E9E56CE-A7C4-4904-8687-0924D071E641}"/>
              </a:ext>
            </a:extLst>
          </p:cNvPr>
          <p:cNvSpPr/>
          <p:nvPr/>
        </p:nvSpPr>
        <p:spPr>
          <a:xfrm>
            <a:off x="6781009" y="3502815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INFORMATION SYSTEMS &amp; OPERATIONS MANAGEMENT 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919BF13-6391-48E2-878B-EAC8F86F9D5A}"/>
              </a:ext>
            </a:extLst>
          </p:cNvPr>
          <p:cNvSpPr/>
          <p:nvPr/>
        </p:nvSpPr>
        <p:spPr>
          <a:xfrm>
            <a:off x="6788194" y="3953637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STRATEGY AND BUSINESS POLICY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A51962E0-50CE-45B1-B26F-5474A8C2AF6A}"/>
              </a:ext>
            </a:extLst>
          </p:cNvPr>
          <p:cNvCxnSpPr>
            <a:cxnSpLocks/>
          </p:cNvCxnSpPr>
          <p:nvPr/>
        </p:nvCxnSpPr>
        <p:spPr>
          <a:xfrm flipH="1">
            <a:off x="4463143" y="2966009"/>
            <a:ext cx="217715" cy="0"/>
          </a:xfrm>
          <a:prstGeom prst="line">
            <a:avLst/>
          </a:prstGeom>
          <a:ln w="76200">
            <a:solidFill>
              <a:srgbClr val="B997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3F917AA-9DDF-4472-BEE8-AF8772F560BD}"/>
              </a:ext>
            </a:extLst>
          </p:cNvPr>
          <p:cNvSpPr/>
          <p:nvPr/>
        </p:nvSpPr>
        <p:spPr>
          <a:xfrm>
            <a:off x="583503" y="4496041"/>
            <a:ext cx="7976994" cy="451099"/>
          </a:xfrm>
          <a:prstGeom prst="roundRect">
            <a:avLst>
              <a:gd name="adj" fmla="val 8698"/>
            </a:avLst>
          </a:prstGeom>
          <a:solidFill>
            <a:srgbClr val="B9975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Arial" panose="020B0604020202020204" pitchFamily="34" charset="0"/>
              </a:rPr>
              <a:t>Placed in the best institutions worldwide: Harvard, MIT Sloan, Princeton, Wharton, LSE, LBS…</a:t>
            </a:r>
          </a:p>
        </p:txBody>
      </p:sp>
      <p:sp>
        <p:nvSpPr>
          <p:cNvPr id="36" name="Rectangle: Rounded Corners 75">
            <a:extLst>
              <a:ext uri="{FF2B5EF4-FFF2-40B4-BE49-F238E27FC236}">
                <a16:creationId xmlns:a16="http://schemas.microsoft.com/office/drawing/2014/main" id="{370F201B-6E14-4834-95B1-E1109C864821}"/>
              </a:ext>
            </a:extLst>
          </p:cNvPr>
          <p:cNvSpPr/>
          <p:nvPr/>
        </p:nvSpPr>
        <p:spPr>
          <a:xfrm>
            <a:off x="4680858" y="3953651"/>
            <a:ext cx="1998000" cy="343861"/>
          </a:xfrm>
          <a:prstGeom prst="roundRect">
            <a:avLst>
              <a:gd name="adj" fmla="val 9965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>
                <a:latin typeface="Arial" panose="020B0604020202020204" pitchFamily="34" charset="0"/>
              </a:rPr>
              <a:t>LAW AND REGULATION</a:t>
            </a:r>
          </a:p>
        </p:txBody>
      </p:sp>
    </p:spTree>
    <p:extLst>
      <p:ext uri="{BB962C8B-B14F-4D97-AF65-F5344CB8AC3E}">
        <p14:creationId xmlns:p14="http://schemas.microsoft.com/office/powerpoint/2010/main" val="338795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9" presetClass="entr" presetSubtype="0" decel="100000" fill="hold" nodeType="withEffect">
                                  <p:stCondLst>
                                    <p:cond delay="5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mph" presetSubtype="0" decel="100000" fill="hold" nodeType="withEffect">
                                  <p:stCondLst>
                                    <p:cond delay="5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9" presetID="49" presetClass="entr" presetSubtype="0" decel="10000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8" presetClass="emph" presetSubtype="0" decel="100000" fill="hold" grpId="1" nodeType="withEffect">
                                  <p:stCondLst>
                                    <p:cond delay="650"/>
                                  </p:stCondLst>
                                  <p:childTnLst>
                                    <p:animRot by="21600000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49" presetClass="entr" presetSubtype="0" decel="100000" fill="hold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5" presetID="49" presetClass="entr" presetSubtype="0" decel="100000" fill="hold" grpId="0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8" presetClass="emph" presetSubtype="0" decel="100000" fill="hold" grpId="1" nodeType="withEffect">
                                  <p:stCondLst>
                                    <p:cond delay="850"/>
                                  </p:stCondLst>
                                  <p:childTnLst>
                                    <p:animRot by="21600000">
                                      <p:cBhvr>
                                        <p:cTn id="6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49" presetClass="entr" presetSubtype="0" decel="100000" fill="hold" nodeType="withEffect">
                                  <p:stCondLst>
                                    <p:cond delay="9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8" presetClass="emph" presetSubtype="0" decel="100000" fill="hold" nodeType="withEffect">
                                  <p:stCondLst>
                                    <p:cond delay="9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70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1" presetID="49" presetClass="entr" presetSubtype="0" decel="10000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8" presetClass="emph" presetSubtype="0" decel="10000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Rot by="21600000">
                                      <p:cBhvr>
                                        <p:cTn id="7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9" presetID="49" presetClass="entr" presetSubtype="0" decel="100000" fill="hold" nodeType="withEffect">
                                  <p:stCondLst>
                                    <p:cond delay="11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8" presetClass="emph" presetSubtype="0" decel="100000" fill="hold" nodeType="withEffect">
                                  <p:stCondLst>
                                    <p:cond delay="11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8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7" presetID="49" presetClass="entr" presetSubtype="0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8" presetClass="emp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Rot by="21600000">
                                      <p:cBhvr>
                                        <p:cTn id="9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63" presetClass="path" presetSubtype="0" accel="22000" decel="78000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animMotion origin="layout" path="M 0 2.59259E-6 L 0.0026 0.14166 " pathEditMode="relative" rAng="0" ptsTypes="AA">
                                      <p:cBhvr>
                                        <p:cTn id="102" dur="1250" spd="-100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" y="7083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49" presetClass="entr" presetSubtype="0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8" presetClass="emp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Rot by="21600000">
                                      <p:cBhvr>
                                        <p:cTn id="11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1" presetID="49" presetClass="entr" presetSubtype="0" decel="10000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8" presetClass="emph" presetSubtype="0" decel="10000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animRot by="21600000">
                                      <p:cBhvr>
                                        <p:cTn id="11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9" presetID="49" presetClass="entr" presetSubtype="0" decel="10000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8" presetClass="emph" presetSubtype="0" decel="100000" fill="hold" grpId="1" nodeType="withEffect">
                                  <p:stCondLst>
                                    <p:cond delay="1700"/>
                                  </p:stCondLst>
                                  <p:childTnLst>
                                    <p:animRot by="21600000">
                                      <p:cBhvr>
                                        <p:cTn id="12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7" presetID="49" presetClass="entr" presetSubtype="0" decel="10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8" presetClass="emph" presetSubtype="0" decel="10000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animRot by="21600000">
                                      <p:cBhvr>
                                        <p:cTn id="13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5" presetID="49" presetClass="entr" presetSubtype="0" decel="100000" fill="hold" grpId="0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8" presetClass="emph" presetSubtype="0" decel="100000" fill="hold" grpId="1" nodeType="withEffect">
                                  <p:stCondLst>
                                    <p:cond delay="1850"/>
                                  </p:stCondLst>
                                  <p:childTnLst>
                                    <p:animRot by="21600000">
                                      <p:cBhvr>
                                        <p:cTn id="14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3" presetID="49" presetClass="entr" presetSubtype="0" decel="10000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8" presetClass="emph" presetSubtype="0" decel="100000" fill="hold" grpId="1" nodeType="withEffect">
                                  <p:stCondLst>
                                    <p:cond delay="1900"/>
                                  </p:stCondLst>
                                  <p:childTnLst>
                                    <p:animRot by="21600000">
                                      <p:cBhvr>
                                        <p:cTn id="150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1" presetID="49" presetClass="entr" presetSubtype="0" decel="100000" fill="hold" grpId="0" nodeType="withEffect">
                                  <p:stCondLst>
                                    <p:cond delay="195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8" presetClass="emph" presetSubtype="0" decel="100000" fill="hold" grpId="1" nodeType="withEffect">
                                  <p:stCondLst>
                                    <p:cond delay="1950"/>
                                  </p:stCondLst>
                                  <p:childTnLst>
                                    <p:animRot by="21600000">
                                      <p:cBhvr>
                                        <p:cTn id="15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9" presetID="49" presetClass="entr" presetSubtype="0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4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8" presetClass="emph" presetSubtype="0" decel="10000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21600000">
                                      <p:cBhvr>
                                        <p:cTn id="166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7" presetID="49" presetClass="entr" presetSubtype="0" decel="10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8" presetClass="emph" presetSubtype="0" decel="10000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animRot by="21600000">
                                      <p:cBhvr>
                                        <p:cTn id="17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  <p:bldP spid="43" grpId="0"/>
      <p:bldP spid="43" grpId="1"/>
      <p:bldP spid="44" grpId="0"/>
      <p:bldP spid="44" grpId="1"/>
      <p:bldP spid="45" grpId="0"/>
      <p:bldP spid="45" grpId="1"/>
      <p:bldP spid="46" grpId="0"/>
      <p:bldP spid="46" grpId="1"/>
      <p:bldP spid="88" grpId="0" animBg="1"/>
      <p:bldP spid="89" grpId="0" animBg="1"/>
      <p:bldP spid="90" grpId="0" animBg="1"/>
      <p:bldP spid="52" grpId="0"/>
      <p:bldP spid="52" grpId="1"/>
      <p:bldP spid="55" grpId="0" animBg="1"/>
      <p:bldP spid="55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  <p:bldP spid="79" grpId="0" animBg="1"/>
      <p:bldP spid="79" grpId="1" animBg="1"/>
      <p:bldP spid="82" grpId="0" animBg="1"/>
      <p:bldP spid="82" grpId="1" animBg="1"/>
      <p:bldP spid="36" grpId="0" animBg="1"/>
      <p:bldP spid="36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2D27512F-B82F-44F5-84C6-2BCEFE14DD1F}"/>
              </a:ext>
            </a:extLst>
          </p:cNvPr>
          <p:cNvSpPr/>
          <p:nvPr/>
        </p:nvSpPr>
        <p:spPr>
          <a:xfrm>
            <a:off x="1091232" y="347663"/>
            <a:ext cx="1114336" cy="1386143"/>
          </a:xfrm>
          <a:prstGeom prst="roundRect">
            <a:avLst>
              <a:gd name="adj" fmla="val 3494"/>
            </a:avLst>
          </a:prstGeom>
          <a:gradFill flip="none" rotWithShape="1">
            <a:gsLst>
              <a:gs pos="0">
                <a:srgbClr val="003A70">
                  <a:alpha val="59000"/>
                </a:srgbClr>
              </a:gs>
              <a:gs pos="86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533400" dist="393700" dir="12180000" sx="76000" sy="76000" algn="ctr" rotWithShape="0">
              <a:srgbClr val="003A70">
                <a:alpha val="6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128B7AAE-0CB4-4DB0-8AAD-0388E5CE47A1}"/>
              </a:ext>
            </a:extLst>
          </p:cNvPr>
          <p:cNvSpPr/>
          <p:nvPr/>
        </p:nvSpPr>
        <p:spPr>
          <a:xfrm rot="10800000">
            <a:off x="5876674" y="3411767"/>
            <a:ext cx="3267326" cy="973931"/>
          </a:xfrm>
          <a:prstGeom prst="rect">
            <a:avLst/>
          </a:prstGeom>
          <a:gradFill flip="none" rotWithShape="1">
            <a:gsLst>
              <a:gs pos="0">
                <a:srgbClr val="003A70">
                  <a:alpha val="0"/>
                </a:srgbClr>
              </a:gs>
              <a:gs pos="100000">
                <a:srgbClr val="00305C">
                  <a:alpha val="1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259D7D0-A2EF-43C0-8E33-C4CAD973EEF0}"/>
              </a:ext>
            </a:extLst>
          </p:cNvPr>
          <p:cNvSpPr/>
          <p:nvPr/>
        </p:nvSpPr>
        <p:spPr>
          <a:xfrm rot="10800000">
            <a:off x="3713222" y="3411766"/>
            <a:ext cx="2160958" cy="1365674"/>
          </a:xfrm>
          <a:prstGeom prst="rect">
            <a:avLst/>
          </a:prstGeom>
          <a:gradFill flip="none" rotWithShape="1">
            <a:gsLst>
              <a:gs pos="0">
                <a:srgbClr val="003A70">
                  <a:alpha val="0"/>
                </a:srgbClr>
              </a:gs>
              <a:gs pos="69000">
                <a:srgbClr val="00305C">
                  <a:alpha val="1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8734936D-BDBD-493B-B09F-7A29E8D2628C}"/>
              </a:ext>
            </a:extLst>
          </p:cNvPr>
          <p:cNvSpPr/>
          <p:nvPr/>
        </p:nvSpPr>
        <p:spPr>
          <a:xfrm rot="10800000">
            <a:off x="1542399" y="3411769"/>
            <a:ext cx="2171891" cy="973931"/>
          </a:xfrm>
          <a:prstGeom prst="rect">
            <a:avLst/>
          </a:prstGeom>
          <a:gradFill flip="none" rotWithShape="1">
            <a:gsLst>
              <a:gs pos="0">
                <a:srgbClr val="003A70">
                  <a:alpha val="0"/>
                </a:srgbClr>
              </a:gs>
              <a:gs pos="100000">
                <a:srgbClr val="00305C">
                  <a:alpha val="1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D1F17D1-0E2D-45F0-A630-593A22C71171}"/>
              </a:ext>
            </a:extLst>
          </p:cNvPr>
          <p:cNvSpPr/>
          <p:nvPr/>
        </p:nvSpPr>
        <p:spPr>
          <a:xfrm>
            <a:off x="6951428" y="1952593"/>
            <a:ext cx="2192572" cy="1460775"/>
          </a:xfrm>
          <a:prstGeom prst="rect">
            <a:avLst/>
          </a:prstGeom>
          <a:gradFill flip="none" rotWithShape="1">
            <a:gsLst>
              <a:gs pos="0">
                <a:srgbClr val="003A70">
                  <a:alpha val="0"/>
                </a:srgbClr>
              </a:gs>
              <a:gs pos="69000">
                <a:srgbClr val="00305C">
                  <a:alpha val="1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FAC5C95-904A-46B9-9170-F6BDA52ADFE9}"/>
              </a:ext>
            </a:extLst>
          </p:cNvPr>
          <p:cNvSpPr/>
          <p:nvPr/>
        </p:nvSpPr>
        <p:spPr>
          <a:xfrm>
            <a:off x="2630215" y="1952593"/>
            <a:ext cx="2158553" cy="1460775"/>
          </a:xfrm>
          <a:prstGeom prst="rect">
            <a:avLst/>
          </a:prstGeom>
          <a:gradFill flip="none" rotWithShape="1">
            <a:gsLst>
              <a:gs pos="0">
                <a:srgbClr val="003A70">
                  <a:alpha val="0"/>
                </a:srgbClr>
              </a:gs>
              <a:gs pos="69000">
                <a:srgbClr val="00305C">
                  <a:alpha val="1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51A993D-2E7D-491B-AAA9-11EEC39D83FC}"/>
              </a:ext>
            </a:extLst>
          </p:cNvPr>
          <p:cNvSpPr/>
          <p:nvPr/>
        </p:nvSpPr>
        <p:spPr>
          <a:xfrm>
            <a:off x="4792844" y="2439436"/>
            <a:ext cx="2160960" cy="973931"/>
          </a:xfrm>
          <a:prstGeom prst="rect">
            <a:avLst/>
          </a:prstGeom>
          <a:gradFill flip="none" rotWithShape="1">
            <a:gsLst>
              <a:gs pos="0">
                <a:srgbClr val="003A70">
                  <a:alpha val="0"/>
                </a:srgbClr>
              </a:gs>
              <a:gs pos="100000">
                <a:srgbClr val="00305C">
                  <a:alpha val="1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866F42B-B04D-4584-AC10-52798AE373FC}"/>
              </a:ext>
            </a:extLst>
          </p:cNvPr>
          <p:cNvSpPr/>
          <p:nvPr/>
        </p:nvSpPr>
        <p:spPr>
          <a:xfrm>
            <a:off x="464440" y="2439436"/>
            <a:ext cx="2160960" cy="973931"/>
          </a:xfrm>
          <a:prstGeom prst="rect">
            <a:avLst/>
          </a:prstGeom>
          <a:gradFill flip="none" rotWithShape="1">
            <a:gsLst>
              <a:gs pos="0">
                <a:srgbClr val="003A70">
                  <a:alpha val="0"/>
                </a:srgbClr>
              </a:gs>
              <a:gs pos="100000">
                <a:srgbClr val="00305C">
                  <a:alpha val="11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13441DB-7408-45E1-906E-6E2DB261393B}"/>
              </a:ext>
            </a:extLst>
          </p:cNvPr>
          <p:cNvCxnSpPr>
            <a:cxnSpLocks/>
            <a:stCxn id="9" idx="6"/>
          </p:cNvCxnSpPr>
          <p:nvPr/>
        </p:nvCxnSpPr>
        <p:spPr>
          <a:xfrm flipV="1">
            <a:off x="540512" y="3411766"/>
            <a:ext cx="8317364" cy="1601"/>
          </a:xfrm>
          <a:prstGeom prst="line">
            <a:avLst/>
          </a:prstGeom>
          <a:ln>
            <a:solidFill>
              <a:srgbClr val="00305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249ECD4-CEE4-4418-9A95-731544A8159E}"/>
              </a:ext>
            </a:extLst>
          </p:cNvPr>
          <p:cNvSpPr txBox="1"/>
          <p:nvPr/>
        </p:nvSpPr>
        <p:spPr>
          <a:xfrm>
            <a:off x="2425656" y="590880"/>
            <a:ext cx="4292688" cy="6324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5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AN AMBITION BUILT UP OVER </a:t>
            </a:r>
          </a:p>
          <a:p>
            <a:pPr algn="ctr">
              <a:lnSpc>
                <a:spcPct val="90000"/>
              </a:lnSpc>
            </a:pPr>
            <a:r>
              <a:rPr lang="fr-FR" sz="24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140 YEAR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D0E09E8-D261-440E-96A5-49BCE121CA36}"/>
              </a:ext>
            </a:extLst>
          </p:cNvPr>
          <p:cNvGrpSpPr/>
          <p:nvPr/>
        </p:nvGrpSpPr>
        <p:grpSpPr>
          <a:xfrm>
            <a:off x="388367" y="3337295"/>
            <a:ext cx="152145" cy="152145"/>
            <a:chOff x="5994570" y="1309234"/>
            <a:chExt cx="202860" cy="20286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3FC55917-CA27-4CC1-939A-52E1FFD47A50}"/>
                </a:ext>
              </a:extLst>
            </p:cNvPr>
            <p:cNvSpPr/>
            <p:nvPr/>
          </p:nvSpPr>
          <p:spPr>
            <a:xfrm>
              <a:off x="6036951" y="1351615"/>
              <a:ext cx="118098" cy="118098"/>
            </a:xfrm>
            <a:prstGeom prst="ellipse">
              <a:avLst/>
            </a:prstGeom>
            <a:solidFill>
              <a:srgbClr val="00305C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3D1E6EE-BE0E-4C17-BD19-AAEFD2E85497}"/>
                </a:ext>
              </a:extLst>
            </p:cNvPr>
            <p:cNvSpPr/>
            <p:nvPr/>
          </p:nvSpPr>
          <p:spPr>
            <a:xfrm>
              <a:off x="5994570" y="1309234"/>
              <a:ext cx="202860" cy="202860"/>
            </a:xfrm>
            <a:prstGeom prst="ellipse">
              <a:avLst/>
            </a:prstGeom>
            <a:noFill/>
            <a:ln w="6350">
              <a:solidFill>
                <a:srgbClr val="B997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6B78FD-204E-4D9A-A28E-C714A997C9C3}"/>
              </a:ext>
            </a:extLst>
          </p:cNvPr>
          <p:cNvGrpSpPr/>
          <p:nvPr/>
        </p:nvGrpSpPr>
        <p:grpSpPr>
          <a:xfrm>
            <a:off x="1470468" y="3337295"/>
            <a:ext cx="152145" cy="152145"/>
            <a:chOff x="5994570" y="1309234"/>
            <a:chExt cx="202860" cy="20286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33328DA-31C2-4653-8A1D-30CC2EB2CF31}"/>
                </a:ext>
              </a:extLst>
            </p:cNvPr>
            <p:cNvSpPr/>
            <p:nvPr/>
          </p:nvSpPr>
          <p:spPr>
            <a:xfrm>
              <a:off x="6036951" y="1351615"/>
              <a:ext cx="118098" cy="118098"/>
            </a:xfrm>
            <a:prstGeom prst="ellipse">
              <a:avLst/>
            </a:prstGeom>
            <a:solidFill>
              <a:srgbClr val="00305C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E03838A-2725-40FA-B236-5DF61C7CFB65}"/>
                </a:ext>
              </a:extLst>
            </p:cNvPr>
            <p:cNvSpPr/>
            <p:nvPr/>
          </p:nvSpPr>
          <p:spPr>
            <a:xfrm>
              <a:off x="5994570" y="1309234"/>
              <a:ext cx="202860" cy="202860"/>
            </a:xfrm>
            <a:prstGeom prst="ellipse">
              <a:avLst/>
            </a:prstGeom>
            <a:noFill/>
            <a:ln w="6350">
              <a:solidFill>
                <a:srgbClr val="B997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637FE05-BF07-479C-B831-059765390A71}"/>
              </a:ext>
            </a:extLst>
          </p:cNvPr>
          <p:cNvGrpSpPr/>
          <p:nvPr/>
        </p:nvGrpSpPr>
        <p:grpSpPr>
          <a:xfrm>
            <a:off x="2552569" y="3337295"/>
            <a:ext cx="152145" cy="152145"/>
            <a:chOff x="5994570" y="1309234"/>
            <a:chExt cx="202860" cy="20286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29FB2DE-818E-422F-9243-FE0FB4D0C9B2}"/>
                </a:ext>
              </a:extLst>
            </p:cNvPr>
            <p:cNvSpPr/>
            <p:nvPr/>
          </p:nvSpPr>
          <p:spPr>
            <a:xfrm>
              <a:off x="6036951" y="1351615"/>
              <a:ext cx="118098" cy="118098"/>
            </a:xfrm>
            <a:prstGeom prst="ellipse">
              <a:avLst/>
            </a:prstGeom>
            <a:solidFill>
              <a:srgbClr val="00305C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3A9B1CD-F4C1-43A8-A440-A143A95DE7D8}"/>
                </a:ext>
              </a:extLst>
            </p:cNvPr>
            <p:cNvSpPr/>
            <p:nvPr/>
          </p:nvSpPr>
          <p:spPr>
            <a:xfrm>
              <a:off x="5994570" y="1309234"/>
              <a:ext cx="202860" cy="202860"/>
            </a:xfrm>
            <a:prstGeom prst="ellipse">
              <a:avLst/>
            </a:prstGeom>
            <a:noFill/>
            <a:ln w="6350">
              <a:solidFill>
                <a:srgbClr val="B997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2AC3AF0-D54F-4437-9AC4-F0913935CB41}"/>
              </a:ext>
            </a:extLst>
          </p:cNvPr>
          <p:cNvGrpSpPr/>
          <p:nvPr/>
        </p:nvGrpSpPr>
        <p:grpSpPr>
          <a:xfrm>
            <a:off x="3634670" y="3337295"/>
            <a:ext cx="152145" cy="152145"/>
            <a:chOff x="5994570" y="1309234"/>
            <a:chExt cx="202860" cy="20286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40A1644-2CB0-4F04-BF94-46C2D60A5FAA}"/>
                </a:ext>
              </a:extLst>
            </p:cNvPr>
            <p:cNvSpPr/>
            <p:nvPr/>
          </p:nvSpPr>
          <p:spPr>
            <a:xfrm>
              <a:off x="6036951" y="1351615"/>
              <a:ext cx="118098" cy="118098"/>
            </a:xfrm>
            <a:prstGeom prst="ellipse">
              <a:avLst/>
            </a:prstGeom>
            <a:solidFill>
              <a:srgbClr val="00305C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F1D3089-3011-4CCC-8E10-16FE79E8A5D8}"/>
                </a:ext>
              </a:extLst>
            </p:cNvPr>
            <p:cNvSpPr/>
            <p:nvPr/>
          </p:nvSpPr>
          <p:spPr>
            <a:xfrm>
              <a:off x="5994570" y="1309234"/>
              <a:ext cx="202860" cy="202860"/>
            </a:xfrm>
            <a:prstGeom prst="ellipse">
              <a:avLst/>
            </a:prstGeom>
            <a:noFill/>
            <a:ln w="6350">
              <a:solidFill>
                <a:srgbClr val="B997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57DD1D9-C04B-4B1B-8E73-C78C82811057}"/>
              </a:ext>
            </a:extLst>
          </p:cNvPr>
          <p:cNvGrpSpPr/>
          <p:nvPr/>
        </p:nvGrpSpPr>
        <p:grpSpPr>
          <a:xfrm>
            <a:off x="4716770" y="3337295"/>
            <a:ext cx="152145" cy="152145"/>
            <a:chOff x="5994570" y="1309234"/>
            <a:chExt cx="202860" cy="20286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3D4A925-E64D-4CD3-AB7B-DD0C77E4D89E}"/>
                </a:ext>
              </a:extLst>
            </p:cNvPr>
            <p:cNvSpPr/>
            <p:nvPr/>
          </p:nvSpPr>
          <p:spPr>
            <a:xfrm>
              <a:off x="6036951" y="1351615"/>
              <a:ext cx="118098" cy="118098"/>
            </a:xfrm>
            <a:prstGeom prst="ellipse">
              <a:avLst/>
            </a:prstGeom>
            <a:solidFill>
              <a:srgbClr val="00305C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7772CC2-494A-4D5A-AC4D-4702AE341405}"/>
                </a:ext>
              </a:extLst>
            </p:cNvPr>
            <p:cNvSpPr/>
            <p:nvPr/>
          </p:nvSpPr>
          <p:spPr>
            <a:xfrm>
              <a:off x="5994570" y="1309234"/>
              <a:ext cx="202860" cy="202860"/>
            </a:xfrm>
            <a:prstGeom prst="ellipse">
              <a:avLst/>
            </a:prstGeom>
            <a:noFill/>
            <a:ln w="6350">
              <a:solidFill>
                <a:srgbClr val="B997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79DDED8-B949-434C-BED7-5E33B5D364D8}"/>
              </a:ext>
            </a:extLst>
          </p:cNvPr>
          <p:cNvGrpSpPr/>
          <p:nvPr/>
        </p:nvGrpSpPr>
        <p:grpSpPr>
          <a:xfrm>
            <a:off x="5798871" y="3337295"/>
            <a:ext cx="152145" cy="152145"/>
            <a:chOff x="5994570" y="1309234"/>
            <a:chExt cx="202860" cy="20286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2E588E5-55BD-4EE4-AE84-3A6263B0112E}"/>
                </a:ext>
              </a:extLst>
            </p:cNvPr>
            <p:cNvSpPr/>
            <p:nvPr/>
          </p:nvSpPr>
          <p:spPr>
            <a:xfrm>
              <a:off x="6036951" y="1351615"/>
              <a:ext cx="118098" cy="118098"/>
            </a:xfrm>
            <a:prstGeom prst="ellipse">
              <a:avLst/>
            </a:prstGeom>
            <a:solidFill>
              <a:srgbClr val="00305C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C8CD3B4C-3597-49DE-96EB-5245D0C208A2}"/>
                </a:ext>
              </a:extLst>
            </p:cNvPr>
            <p:cNvSpPr/>
            <p:nvPr/>
          </p:nvSpPr>
          <p:spPr>
            <a:xfrm>
              <a:off x="5994570" y="1309234"/>
              <a:ext cx="202860" cy="202860"/>
            </a:xfrm>
            <a:prstGeom prst="ellipse">
              <a:avLst/>
            </a:prstGeom>
            <a:noFill/>
            <a:ln w="6350">
              <a:solidFill>
                <a:srgbClr val="B997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9DA78E7-E121-41A3-8718-2891607ADB85}"/>
              </a:ext>
            </a:extLst>
          </p:cNvPr>
          <p:cNvGrpSpPr/>
          <p:nvPr/>
        </p:nvGrpSpPr>
        <p:grpSpPr>
          <a:xfrm>
            <a:off x="6880973" y="3337295"/>
            <a:ext cx="152145" cy="152145"/>
            <a:chOff x="5994570" y="1309234"/>
            <a:chExt cx="202860" cy="20286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36DEFCB-E3B5-4A54-8C8E-CC2D6EEBC607}"/>
                </a:ext>
              </a:extLst>
            </p:cNvPr>
            <p:cNvSpPr/>
            <p:nvPr/>
          </p:nvSpPr>
          <p:spPr>
            <a:xfrm>
              <a:off x="6036951" y="1351615"/>
              <a:ext cx="118098" cy="118098"/>
            </a:xfrm>
            <a:prstGeom prst="ellipse">
              <a:avLst/>
            </a:prstGeom>
            <a:solidFill>
              <a:srgbClr val="00305C"/>
            </a:solidFill>
            <a:ln w="793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09C6D96-7D8E-4A08-9F66-0E59A88E3233}"/>
                </a:ext>
              </a:extLst>
            </p:cNvPr>
            <p:cNvSpPr/>
            <p:nvPr/>
          </p:nvSpPr>
          <p:spPr>
            <a:xfrm>
              <a:off x="5994570" y="1309234"/>
              <a:ext cx="202860" cy="202860"/>
            </a:xfrm>
            <a:prstGeom prst="ellipse">
              <a:avLst/>
            </a:prstGeom>
            <a:noFill/>
            <a:ln w="6350">
              <a:solidFill>
                <a:srgbClr val="B9975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E810416-CA20-475F-94AE-11A237349786}"/>
              </a:ext>
            </a:extLst>
          </p:cNvPr>
          <p:cNvCxnSpPr>
            <a:cxnSpLocks/>
            <a:stCxn id="78" idx="2"/>
          </p:cNvCxnSpPr>
          <p:nvPr/>
        </p:nvCxnSpPr>
        <p:spPr>
          <a:xfrm flipV="1">
            <a:off x="8047714" y="3411767"/>
            <a:ext cx="1096286" cy="1601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02DBF7C0-C3BC-4DF1-9D99-75E7919C3271}"/>
              </a:ext>
            </a:extLst>
          </p:cNvPr>
          <p:cNvSpPr txBox="1"/>
          <p:nvPr/>
        </p:nvSpPr>
        <p:spPr>
          <a:xfrm>
            <a:off x="1695734" y="3994528"/>
            <a:ext cx="185429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Jouy-en-Josas campus </a:t>
            </a:r>
            <a:r>
              <a:rPr lang="fr-FR" sz="900" dirty="0" err="1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inaugurated</a:t>
            </a:r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 by Charles de Gaulle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472B90B-ADBF-4C88-8382-82F9D3E9EC1A}"/>
              </a:ext>
            </a:extLst>
          </p:cNvPr>
          <p:cNvSpPr txBox="1"/>
          <p:nvPr/>
        </p:nvSpPr>
        <p:spPr>
          <a:xfrm>
            <a:off x="3857777" y="3992264"/>
            <a:ext cx="1306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Creation of the HEC Foundation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6BB0D5B-CDE2-4891-963F-AD625A3A56B4}"/>
              </a:ext>
            </a:extLst>
          </p:cNvPr>
          <p:cNvSpPr txBox="1"/>
          <p:nvPr/>
        </p:nvSpPr>
        <p:spPr>
          <a:xfrm>
            <a:off x="6042772" y="3992264"/>
            <a:ext cx="185429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Campus extension </a:t>
            </a:r>
            <a:b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</a:br>
            <a: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(Designed by architect </a:t>
            </a:r>
            <a:b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</a:br>
            <a: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David Chipperfield) 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EC1CB6D-2540-4D10-BA49-9C26526663CE}"/>
              </a:ext>
            </a:extLst>
          </p:cNvPr>
          <p:cNvSpPr txBox="1"/>
          <p:nvPr/>
        </p:nvSpPr>
        <p:spPr>
          <a:xfrm>
            <a:off x="642690" y="2671746"/>
            <a:ext cx="185429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‘École des Hautes Études Commerciales’ (HEC Business </a:t>
            </a:r>
            <a:r>
              <a:rPr lang="fr-FR" sz="900" dirty="0" err="1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School</a:t>
            </a:r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) </a:t>
            </a:r>
            <a:r>
              <a:rPr lang="fr-FR" sz="900" dirty="0" err="1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is</a:t>
            </a:r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 </a:t>
            </a:r>
            <a:r>
              <a:rPr lang="fr-FR" sz="900" dirty="0" err="1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founded</a:t>
            </a:r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75225E6-37CE-4E1A-A1C6-224F2D5453CC}"/>
              </a:ext>
            </a:extLst>
          </p:cNvPr>
          <p:cNvSpPr txBox="1"/>
          <p:nvPr/>
        </p:nvSpPr>
        <p:spPr>
          <a:xfrm>
            <a:off x="2781300" y="2673001"/>
            <a:ext cx="185429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Launch of the </a:t>
            </a:r>
            <a:b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</a:br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‘Institut Supérieur des Affaires’ (</a:t>
            </a:r>
            <a:r>
              <a:rPr lang="fr-FR" sz="900" dirty="0" err="1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current</a:t>
            </a:r>
            <a:r>
              <a:rPr lang="fr-FR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 MBA program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EAFB143-94CD-43A3-9FC3-48C5474805C3}"/>
              </a:ext>
            </a:extLst>
          </p:cNvPr>
          <p:cNvSpPr txBox="1"/>
          <p:nvPr/>
        </p:nvSpPr>
        <p:spPr>
          <a:xfrm>
            <a:off x="4919910" y="2856413"/>
            <a:ext cx="191214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Creation of the PhD Program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FDD9857-68C0-4F48-AA3E-9539FE142C06}"/>
              </a:ext>
            </a:extLst>
          </p:cNvPr>
          <p:cNvSpPr txBox="1"/>
          <p:nvPr/>
        </p:nvSpPr>
        <p:spPr>
          <a:xfrm>
            <a:off x="7116370" y="2861492"/>
            <a:ext cx="18542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The first fully online Masters program is launched 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53C33FC1-019E-49B0-9727-DF01EC969644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464440" y="2439436"/>
            <a:ext cx="0" cy="897859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404C155-D9D8-40FF-A5BF-331ACDD790EE}"/>
              </a:ext>
            </a:extLst>
          </p:cNvPr>
          <p:cNvCxnSpPr>
            <a:cxnSpLocks/>
          </p:cNvCxnSpPr>
          <p:nvPr/>
        </p:nvCxnSpPr>
        <p:spPr>
          <a:xfrm>
            <a:off x="2627807" y="2439436"/>
            <a:ext cx="0" cy="897859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B2A1BE5-1C05-43B8-AC15-4F415D84D5D9}"/>
              </a:ext>
            </a:extLst>
          </p:cNvPr>
          <p:cNvCxnSpPr>
            <a:cxnSpLocks/>
          </p:cNvCxnSpPr>
          <p:nvPr/>
        </p:nvCxnSpPr>
        <p:spPr>
          <a:xfrm>
            <a:off x="1545706" y="3495719"/>
            <a:ext cx="0" cy="897859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529D3A1-F2E5-403B-88A2-6940C8D08034}"/>
              </a:ext>
            </a:extLst>
          </p:cNvPr>
          <p:cNvCxnSpPr>
            <a:cxnSpLocks/>
          </p:cNvCxnSpPr>
          <p:nvPr/>
        </p:nvCxnSpPr>
        <p:spPr>
          <a:xfrm>
            <a:off x="4789601" y="2622642"/>
            <a:ext cx="0" cy="714653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C6B9EE8-CC14-4981-B24A-442B4FEF46C5}"/>
              </a:ext>
            </a:extLst>
          </p:cNvPr>
          <p:cNvCxnSpPr>
            <a:cxnSpLocks/>
          </p:cNvCxnSpPr>
          <p:nvPr/>
        </p:nvCxnSpPr>
        <p:spPr>
          <a:xfrm>
            <a:off x="5870867" y="3495719"/>
            <a:ext cx="0" cy="897859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6459BAC-F58C-4B65-91F9-63B771AB0A6D}"/>
              </a:ext>
            </a:extLst>
          </p:cNvPr>
          <p:cNvCxnSpPr>
            <a:cxnSpLocks/>
          </p:cNvCxnSpPr>
          <p:nvPr/>
        </p:nvCxnSpPr>
        <p:spPr>
          <a:xfrm>
            <a:off x="3714290" y="3495719"/>
            <a:ext cx="0" cy="841345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5DDBF44-1565-4711-B8EE-9AF7476030C1}"/>
              </a:ext>
            </a:extLst>
          </p:cNvPr>
          <p:cNvCxnSpPr>
            <a:cxnSpLocks/>
          </p:cNvCxnSpPr>
          <p:nvPr/>
        </p:nvCxnSpPr>
        <p:spPr>
          <a:xfrm>
            <a:off x="6953804" y="2622642"/>
            <a:ext cx="0" cy="714653"/>
          </a:xfrm>
          <a:prstGeom prst="line">
            <a:avLst/>
          </a:prstGeom>
          <a:ln>
            <a:solidFill>
              <a:srgbClr val="00305C">
                <a:alpha val="48000"/>
              </a:srgb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AD33391A-B19B-421D-A63C-661CF2572BE3}"/>
              </a:ext>
            </a:extLst>
          </p:cNvPr>
          <p:cNvSpPr txBox="1"/>
          <p:nvPr/>
        </p:nvSpPr>
        <p:spPr>
          <a:xfrm>
            <a:off x="1987092" y="2649828"/>
            <a:ext cx="794208" cy="904863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80000"/>
              </a:lnSpc>
            </a:pPr>
            <a:r>
              <a:rPr lang="fr-FR" sz="3300" dirty="0">
                <a:solidFill>
                  <a:srgbClr val="163C6B">
                    <a:alpha val="4000"/>
                  </a:srgbClr>
                </a:solidFill>
                <a:latin typeface="Arial" panose="020B0604020202020204" pitchFamily="34" charset="0"/>
                <a:cs typeface="DIN Pro Black" panose="020B0A04020101010102" pitchFamily="34" charset="0"/>
              </a:rPr>
              <a:t>1881</a:t>
            </a:r>
            <a:endParaRPr lang="fr-FR" sz="3300" dirty="0">
              <a:solidFill>
                <a:schemeClr val="tx1">
                  <a:alpha val="4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E1E553F-02A9-4231-A4D8-B9DD24F85B7B}"/>
              </a:ext>
            </a:extLst>
          </p:cNvPr>
          <p:cNvSpPr txBox="1"/>
          <p:nvPr/>
        </p:nvSpPr>
        <p:spPr>
          <a:xfrm>
            <a:off x="4125702" y="2649828"/>
            <a:ext cx="794208" cy="904863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80000"/>
              </a:lnSpc>
            </a:pPr>
            <a:r>
              <a:rPr lang="fr-FR" sz="3300" dirty="0">
                <a:solidFill>
                  <a:srgbClr val="163C6B">
                    <a:alpha val="4000"/>
                  </a:srgbClr>
                </a:solidFill>
                <a:latin typeface="Arial" panose="020B0604020202020204" pitchFamily="34" charset="0"/>
                <a:cs typeface="DIN Pro Black" panose="020B0A04020101010102" pitchFamily="34" charset="0"/>
              </a:rPr>
              <a:t>1969</a:t>
            </a:r>
            <a:endParaRPr lang="fr-FR" sz="3300" dirty="0">
              <a:solidFill>
                <a:schemeClr val="tx1">
                  <a:alpha val="4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446B30A-B385-43D9-A984-A17135D20828}"/>
              </a:ext>
            </a:extLst>
          </p:cNvPr>
          <p:cNvSpPr txBox="1"/>
          <p:nvPr/>
        </p:nvSpPr>
        <p:spPr>
          <a:xfrm>
            <a:off x="6264312" y="2649828"/>
            <a:ext cx="794208" cy="904863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80000"/>
              </a:lnSpc>
            </a:pPr>
            <a:r>
              <a:rPr lang="fr-FR" sz="3300" dirty="0">
                <a:solidFill>
                  <a:srgbClr val="163C6B">
                    <a:alpha val="4000"/>
                  </a:srgbClr>
                </a:solidFill>
                <a:latin typeface="Arial" panose="020B0604020202020204" pitchFamily="34" charset="0"/>
                <a:cs typeface="DIN Pro Black" panose="020B0A04020101010102" pitchFamily="34" charset="0"/>
              </a:rPr>
              <a:t>1975</a:t>
            </a:r>
            <a:endParaRPr lang="fr-FR" sz="3300" dirty="0">
              <a:solidFill>
                <a:schemeClr val="tx1">
                  <a:alpha val="4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2F45935-71BB-45D0-97E5-CAE1BC2D7EFD}"/>
              </a:ext>
            </a:extLst>
          </p:cNvPr>
          <p:cNvSpPr txBox="1"/>
          <p:nvPr/>
        </p:nvSpPr>
        <p:spPr>
          <a:xfrm>
            <a:off x="8460772" y="2649828"/>
            <a:ext cx="794208" cy="904863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80000"/>
              </a:lnSpc>
            </a:pPr>
            <a:r>
              <a:rPr lang="fr-FR" sz="3300" dirty="0">
                <a:solidFill>
                  <a:srgbClr val="163C6B">
                    <a:alpha val="4000"/>
                  </a:srgbClr>
                </a:solidFill>
                <a:latin typeface="Arial" panose="020B0604020202020204" pitchFamily="34" charset="0"/>
                <a:cs typeface="DIN Pro Black" panose="020B0A04020101010102" pitchFamily="34" charset="0"/>
              </a:rPr>
              <a:t>2018</a:t>
            </a:r>
            <a:endParaRPr lang="fr-FR" sz="3300" dirty="0">
              <a:solidFill>
                <a:schemeClr val="tx1">
                  <a:alpha val="4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C0E612F-04E3-4ADD-897F-B22D936336A4}"/>
              </a:ext>
            </a:extLst>
          </p:cNvPr>
          <p:cNvSpPr txBox="1"/>
          <p:nvPr/>
        </p:nvSpPr>
        <p:spPr>
          <a:xfrm>
            <a:off x="2994392" y="3343539"/>
            <a:ext cx="794208" cy="904863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80000"/>
              </a:lnSpc>
            </a:pPr>
            <a:r>
              <a:rPr lang="fr-FR" sz="3300" dirty="0">
                <a:solidFill>
                  <a:srgbClr val="163C6B">
                    <a:alpha val="4000"/>
                  </a:srgbClr>
                </a:solidFill>
                <a:latin typeface="Arial" panose="020B0604020202020204" pitchFamily="34" charset="0"/>
                <a:cs typeface="DIN Pro Black" panose="020B0A04020101010102" pitchFamily="34" charset="0"/>
              </a:rPr>
              <a:t>1964</a:t>
            </a:r>
            <a:endParaRPr lang="fr-FR" sz="3300" dirty="0">
              <a:solidFill>
                <a:schemeClr val="tx1">
                  <a:alpha val="4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99D6CC38-4DA3-4CAD-A43B-37A7BAEE4403}"/>
              </a:ext>
            </a:extLst>
          </p:cNvPr>
          <p:cNvSpPr txBox="1"/>
          <p:nvPr/>
        </p:nvSpPr>
        <p:spPr>
          <a:xfrm>
            <a:off x="5201761" y="3343539"/>
            <a:ext cx="794208" cy="904863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80000"/>
              </a:lnSpc>
            </a:pPr>
            <a:r>
              <a:rPr lang="fr-FR" sz="3300" dirty="0">
                <a:solidFill>
                  <a:srgbClr val="163C6B">
                    <a:alpha val="4000"/>
                  </a:srgbClr>
                </a:solidFill>
                <a:latin typeface="Arial" panose="020B0604020202020204" pitchFamily="34" charset="0"/>
                <a:cs typeface="DIN Pro Black" panose="020B0A04020101010102" pitchFamily="34" charset="0"/>
              </a:rPr>
              <a:t>1972</a:t>
            </a:r>
            <a:endParaRPr lang="fr-FR" sz="3300" dirty="0">
              <a:solidFill>
                <a:schemeClr val="tx1">
                  <a:alpha val="4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4B8529C-FE5E-4AE5-9BA1-A4633F7818BB}"/>
              </a:ext>
            </a:extLst>
          </p:cNvPr>
          <p:cNvSpPr txBox="1"/>
          <p:nvPr/>
        </p:nvSpPr>
        <p:spPr>
          <a:xfrm>
            <a:off x="7158053" y="3389745"/>
            <a:ext cx="794208" cy="904863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>
              <a:lnSpc>
                <a:spcPct val="80000"/>
              </a:lnSpc>
            </a:pPr>
            <a:r>
              <a:rPr lang="fr-FR" sz="3300" dirty="0">
                <a:solidFill>
                  <a:srgbClr val="163C6B">
                    <a:alpha val="4000"/>
                  </a:srgbClr>
                </a:solidFill>
                <a:latin typeface="Arial" panose="020B0604020202020204" pitchFamily="34" charset="0"/>
                <a:cs typeface="DIN Pro Black" panose="020B0A04020101010102" pitchFamily="34" charset="0"/>
              </a:rPr>
              <a:t>2012</a:t>
            </a:r>
            <a:endParaRPr lang="fr-FR" sz="3300" dirty="0">
              <a:solidFill>
                <a:schemeClr val="tx1">
                  <a:alpha val="4000"/>
                </a:schemeClr>
              </a:solidFill>
              <a:latin typeface="Arial" panose="020B0604020202020204" pitchFamily="34" charset="0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AF374556-BCCD-4400-A8F0-E2F80EBEBC19}"/>
              </a:ext>
            </a:extLst>
          </p:cNvPr>
          <p:cNvCxnSpPr>
            <a:cxnSpLocks/>
          </p:cNvCxnSpPr>
          <p:nvPr/>
        </p:nvCxnSpPr>
        <p:spPr>
          <a:xfrm flipH="1">
            <a:off x="4463143" y="1458004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907BC905-7C94-40E1-870E-D4D0EA2720B2}"/>
              </a:ext>
            </a:extLst>
          </p:cNvPr>
          <p:cNvSpPr/>
          <p:nvPr/>
        </p:nvSpPr>
        <p:spPr>
          <a:xfrm>
            <a:off x="464654" y="438375"/>
            <a:ext cx="1638180" cy="1173232"/>
          </a:xfrm>
          <a:prstGeom prst="roundRect">
            <a:avLst>
              <a:gd name="adj" fmla="val 2659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368300" dist="165100" dir="5400000" sx="88000" sy="88000" algn="ctr" rotWithShape="0">
              <a:srgbClr val="00305C">
                <a:alpha val="3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73BA67E-6E36-460D-896C-3C6009B44C6F}"/>
              </a:ext>
            </a:extLst>
          </p:cNvPr>
          <p:cNvGrpSpPr/>
          <p:nvPr/>
        </p:nvGrpSpPr>
        <p:grpSpPr>
          <a:xfrm>
            <a:off x="4990104" y="2292301"/>
            <a:ext cx="551590" cy="318491"/>
            <a:chOff x="6633087" y="3297224"/>
            <a:chExt cx="735453" cy="424655"/>
          </a:xfrm>
        </p:grpSpPr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C5911E2F-91B6-486F-8DDD-1A46DDC6D5FA}"/>
                </a:ext>
              </a:extLst>
            </p:cNvPr>
            <p:cNvSpPr/>
            <p:nvPr/>
          </p:nvSpPr>
          <p:spPr>
            <a:xfrm>
              <a:off x="6633087" y="3297224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0BCE6ED-3E33-43C1-935E-8730750D9ABA}"/>
                </a:ext>
              </a:extLst>
            </p:cNvPr>
            <p:cNvSpPr txBox="1"/>
            <p:nvPr/>
          </p:nvSpPr>
          <p:spPr>
            <a:xfrm>
              <a:off x="6647926" y="3340273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1985</a:t>
              </a:r>
              <a:endParaRPr lang="fr-FR" sz="12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F0FABC1-B88F-4DFA-B956-22E4E80A6420}"/>
              </a:ext>
            </a:extLst>
          </p:cNvPr>
          <p:cNvGrpSpPr/>
          <p:nvPr/>
        </p:nvGrpSpPr>
        <p:grpSpPr>
          <a:xfrm>
            <a:off x="7182676" y="2292301"/>
            <a:ext cx="551590" cy="318491"/>
            <a:chOff x="9576901" y="3297224"/>
            <a:chExt cx="735453" cy="424655"/>
          </a:xfrm>
        </p:grpSpPr>
        <p:sp>
          <p:nvSpPr>
            <p:cNvPr id="109" name="Rectangle: Rounded Corners 108">
              <a:extLst>
                <a:ext uri="{FF2B5EF4-FFF2-40B4-BE49-F238E27FC236}">
                  <a16:creationId xmlns:a16="http://schemas.microsoft.com/office/drawing/2014/main" id="{F1C6CE8A-B70E-4D3A-A21A-29B52B9A2B51}"/>
                </a:ext>
              </a:extLst>
            </p:cNvPr>
            <p:cNvSpPr/>
            <p:nvPr/>
          </p:nvSpPr>
          <p:spPr>
            <a:xfrm>
              <a:off x="9576901" y="3297224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58FA7C9E-D598-4D06-B9D1-E74649DBBC93}"/>
                </a:ext>
              </a:extLst>
            </p:cNvPr>
            <p:cNvSpPr txBox="1"/>
            <p:nvPr/>
          </p:nvSpPr>
          <p:spPr>
            <a:xfrm>
              <a:off x="9591740" y="3340273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2018</a:t>
              </a:r>
              <a:endParaRPr lang="fr-FR" sz="12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338A330-C98C-4D1C-B1F7-8B1CE5EE3630}"/>
              </a:ext>
            </a:extLst>
          </p:cNvPr>
          <p:cNvGrpSpPr/>
          <p:nvPr/>
        </p:nvGrpSpPr>
        <p:grpSpPr>
          <a:xfrm>
            <a:off x="6118693" y="3594142"/>
            <a:ext cx="551590" cy="318491"/>
            <a:chOff x="8158257" y="4792189"/>
            <a:chExt cx="735453" cy="424655"/>
          </a:xfrm>
        </p:grpSpPr>
        <p:sp>
          <p:nvSpPr>
            <p:cNvPr id="113" name="Rectangle: Rounded Corners 112">
              <a:extLst>
                <a:ext uri="{FF2B5EF4-FFF2-40B4-BE49-F238E27FC236}">
                  <a16:creationId xmlns:a16="http://schemas.microsoft.com/office/drawing/2014/main" id="{F18374A9-3371-4117-8205-3277C1321E14}"/>
                </a:ext>
              </a:extLst>
            </p:cNvPr>
            <p:cNvSpPr/>
            <p:nvPr/>
          </p:nvSpPr>
          <p:spPr>
            <a:xfrm>
              <a:off x="8158257" y="4792189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E5DC247C-41C3-4C4A-8575-11B88321EA68}"/>
                </a:ext>
              </a:extLst>
            </p:cNvPr>
            <p:cNvSpPr txBox="1"/>
            <p:nvPr/>
          </p:nvSpPr>
          <p:spPr>
            <a:xfrm>
              <a:off x="8173096" y="4831894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2012</a:t>
              </a:r>
              <a:endParaRPr lang="fr-FR" sz="12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5D4F652-2046-479A-BDF2-119E3487F968}"/>
              </a:ext>
            </a:extLst>
          </p:cNvPr>
          <p:cNvGrpSpPr/>
          <p:nvPr/>
        </p:nvGrpSpPr>
        <p:grpSpPr>
          <a:xfrm>
            <a:off x="3943499" y="3593191"/>
            <a:ext cx="551590" cy="318491"/>
            <a:chOff x="5257998" y="4790920"/>
            <a:chExt cx="735453" cy="424655"/>
          </a:xfrm>
        </p:grpSpPr>
        <p:sp>
          <p:nvSpPr>
            <p:cNvPr id="121" name="Rectangle: Rounded Corners 120">
              <a:extLst>
                <a:ext uri="{FF2B5EF4-FFF2-40B4-BE49-F238E27FC236}">
                  <a16:creationId xmlns:a16="http://schemas.microsoft.com/office/drawing/2014/main" id="{E7F37A29-14A7-499C-9E0B-BC68B97331B4}"/>
                </a:ext>
              </a:extLst>
            </p:cNvPr>
            <p:cNvSpPr/>
            <p:nvPr/>
          </p:nvSpPr>
          <p:spPr>
            <a:xfrm>
              <a:off x="5257998" y="4790920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C0C562CA-B607-45C8-8479-12780E77A705}"/>
                </a:ext>
              </a:extLst>
            </p:cNvPr>
            <p:cNvSpPr txBox="1"/>
            <p:nvPr/>
          </p:nvSpPr>
          <p:spPr>
            <a:xfrm>
              <a:off x="5272837" y="4830625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1972</a:t>
              </a:r>
              <a:endParaRPr lang="fr-FR" sz="12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EFFFE9A-15D7-4198-BB1C-4D5A345F70B5}"/>
              </a:ext>
            </a:extLst>
          </p:cNvPr>
          <p:cNvGrpSpPr/>
          <p:nvPr/>
        </p:nvGrpSpPr>
        <p:grpSpPr>
          <a:xfrm>
            <a:off x="1769799" y="3593191"/>
            <a:ext cx="551590" cy="318491"/>
            <a:chOff x="2359731" y="4790920"/>
            <a:chExt cx="735453" cy="424655"/>
          </a:xfrm>
        </p:grpSpPr>
        <p:sp>
          <p:nvSpPr>
            <p:cNvPr id="125" name="Rectangle: Rounded Corners 124">
              <a:extLst>
                <a:ext uri="{FF2B5EF4-FFF2-40B4-BE49-F238E27FC236}">
                  <a16:creationId xmlns:a16="http://schemas.microsoft.com/office/drawing/2014/main" id="{FC6020CB-C89A-498F-88C1-71F2E0A0D81C}"/>
                </a:ext>
              </a:extLst>
            </p:cNvPr>
            <p:cNvSpPr/>
            <p:nvPr/>
          </p:nvSpPr>
          <p:spPr>
            <a:xfrm>
              <a:off x="2359731" y="4790920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87AABA0D-19BA-428E-A40F-3278BDF9AC5B}"/>
                </a:ext>
              </a:extLst>
            </p:cNvPr>
            <p:cNvSpPr txBox="1"/>
            <p:nvPr/>
          </p:nvSpPr>
          <p:spPr>
            <a:xfrm>
              <a:off x="2374570" y="4830625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1964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4629ECC-D356-4E68-9268-3AEBAA143385}"/>
              </a:ext>
            </a:extLst>
          </p:cNvPr>
          <p:cNvGrpSpPr/>
          <p:nvPr/>
        </p:nvGrpSpPr>
        <p:grpSpPr>
          <a:xfrm>
            <a:off x="732154" y="2293039"/>
            <a:ext cx="551590" cy="318491"/>
            <a:chOff x="976205" y="3057385"/>
            <a:chExt cx="735453" cy="424655"/>
          </a:xfrm>
        </p:grpSpPr>
        <p:sp>
          <p:nvSpPr>
            <p:cNvPr id="128" name="Rectangle: Rounded Corners 127">
              <a:extLst>
                <a:ext uri="{FF2B5EF4-FFF2-40B4-BE49-F238E27FC236}">
                  <a16:creationId xmlns:a16="http://schemas.microsoft.com/office/drawing/2014/main" id="{A3C027BD-87F4-4A93-850F-9CBDAF917610}"/>
                </a:ext>
              </a:extLst>
            </p:cNvPr>
            <p:cNvSpPr/>
            <p:nvPr/>
          </p:nvSpPr>
          <p:spPr>
            <a:xfrm>
              <a:off x="976205" y="3057385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3303D0A0-461D-4E36-89CA-76682CAFD177}"/>
                </a:ext>
              </a:extLst>
            </p:cNvPr>
            <p:cNvSpPr txBox="1"/>
            <p:nvPr/>
          </p:nvSpPr>
          <p:spPr>
            <a:xfrm>
              <a:off x="991044" y="3097090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1881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46AC2EB-59D4-4ADE-9D28-FC3F3C4EF148}"/>
              </a:ext>
            </a:extLst>
          </p:cNvPr>
          <p:cNvGrpSpPr/>
          <p:nvPr/>
        </p:nvGrpSpPr>
        <p:grpSpPr>
          <a:xfrm>
            <a:off x="2847606" y="2293039"/>
            <a:ext cx="551590" cy="318491"/>
            <a:chOff x="3796808" y="3057385"/>
            <a:chExt cx="735453" cy="424655"/>
          </a:xfrm>
        </p:grpSpPr>
        <p:sp>
          <p:nvSpPr>
            <p:cNvPr id="133" name="Rectangle: Rounded Corners 132">
              <a:extLst>
                <a:ext uri="{FF2B5EF4-FFF2-40B4-BE49-F238E27FC236}">
                  <a16:creationId xmlns:a16="http://schemas.microsoft.com/office/drawing/2014/main" id="{7430726A-947A-449E-95E2-408351F72E3D}"/>
                </a:ext>
              </a:extLst>
            </p:cNvPr>
            <p:cNvSpPr/>
            <p:nvPr/>
          </p:nvSpPr>
          <p:spPr>
            <a:xfrm>
              <a:off x="3796808" y="3057385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A90CE26B-4FC9-446A-9FE8-D9A808DEF68A}"/>
                </a:ext>
              </a:extLst>
            </p:cNvPr>
            <p:cNvSpPr txBox="1"/>
            <p:nvPr/>
          </p:nvSpPr>
          <p:spPr>
            <a:xfrm>
              <a:off x="3811647" y="3097090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1969</a:t>
              </a:r>
            </a:p>
          </p:txBody>
        </p:sp>
      </p:grp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BF0433A1-52C5-47B0-8297-EBEC3C0DDF7C}"/>
              </a:ext>
            </a:extLst>
          </p:cNvPr>
          <p:cNvSpPr/>
          <p:nvPr/>
        </p:nvSpPr>
        <p:spPr>
          <a:xfrm>
            <a:off x="6975240" y="347663"/>
            <a:ext cx="1114336" cy="1386143"/>
          </a:xfrm>
          <a:prstGeom prst="roundRect">
            <a:avLst>
              <a:gd name="adj" fmla="val 3494"/>
            </a:avLst>
          </a:prstGeom>
          <a:gradFill flip="none" rotWithShape="1">
            <a:gsLst>
              <a:gs pos="0">
                <a:srgbClr val="003A70">
                  <a:alpha val="59000"/>
                </a:srgbClr>
              </a:gs>
              <a:gs pos="86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533400" dist="393700" dir="12180000" sx="76000" sy="76000" algn="ctr" rotWithShape="0">
              <a:srgbClr val="003A70">
                <a:alpha val="6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15EB0228-D851-4681-ABCB-6621C552A1C5}"/>
              </a:ext>
            </a:extLst>
          </p:cNvPr>
          <p:cNvSpPr/>
          <p:nvPr/>
        </p:nvSpPr>
        <p:spPr>
          <a:xfrm>
            <a:off x="7077975" y="438375"/>
            <a:ext cx="1638179" cy="1173232"/>
          </a:xfrm>
          <a:prstGeom prst="roundRect">
            <a:avLst>
              <a:gd name="adj" fmla="val 2659"/>
            </a:avLst>
          </a:pr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368300" dist="165100" dir="5400000" sx="88000" sy="88000" algn="ctr" rotWithShape="0">
              <a:srgbClr val="00305C">
                <a:alpha val="3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785F47C6-9950-4D11-A5BC-09C067C6D3E3}"/>
              </a:ext>
            </a:extLst>
          </p:cNvPr>
          <p:cNvCxnSpPr>
            <a:cxnSpLocks/>
          </p:cNvCxnSpPr>
          <p:nvPr/>
        </p:nvCxnSpPr>
        <p:spPr>
          <a:xfrm>
            <a:off x="2102833" y="1484793"/>
            <a:ext cx="4955687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10">
            <a:extLst>
              <a:ext uri="{FF2B5EF4-FFF2-40B4-BE49-F238E27FC236}">
                <a16:creationId xmlns:a16="http://schemas.microsoft.com/office/drawing/2014/main" id="{D6A6109A-205D-496C-8010-507800504B5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4403" y="263178"/>
            <a:ext cx="415194" cy="205635"/>
          </a:xfrm>
          <a:prstGeom prst="rect">
            <a:avLst/>
          </a:prstGeom>
        </p:spPr>
      </p:pic>
      <p:grpSp>
        <p:nvGrpSpPr>
          <p:cNvPr id="92" name="Group 32">
            <a:extLst>
              <a:ext uri="{FF2B5EF4-FFF2-40B4-BE49-F238E27FC236}">
                <a16:creationId xmlns:a16="http://schemas.microsoft.com/office/drawing/2014/main" id="{9338A330-C98C-4D1C-B1F7-8B1CE5EE3630}"/>
              </a:ext>
            </a:extLst>
          </p:cNvPr>
          <p:cNvGrpSpPr/>
          <p:nvPr/>
        </p:nvGrpSpPr>
        <p:grpSpPr>
          <a:xfrm>
            <a:off x="8438866" y="3593701"/>
            <a:ext cx="551590" cy="318491"/>
            <a:chOff x="8158257" y="4792189"/>
            <a:chExt cx="735453" cy="424655"/>
          </a:xfrm>
        </p:grpSpPr>
        <p:sp>
          <p:nvSpPr>
            <p:cNvPr id="93" name="Rectangle: Rounded Corners 112">
              <a:extLst>
                <a:ext uri="{FF2B5EF4-FFF2-40B4-BE49-F238E27FC236}">
                  <a16:creationId xmlns:a16="http://schemas.microsoft.com/office/drawing/2014/main" id="{F18374A9-3371-4117-8205-3277C1321E14}"/>
                </a:ext>
              </a:extLst>
            </p:cNvPr>
            <p:cNvSpPr/>
            <p:nvPr/>
          </p:nvSpPr>
          <p:spPr>
            <a:xfrm>
              <a:off x="8158257" y="4792189"/>
              <a:ext cx="735453" cy="424655"/>
            </a:xfrm>
            <a:prstGeom prst="roundRect">
              <a:avLst>
                <a:gd name="adj" fmla="val 7289"/>
              </a:avLst>
            </a:prstGeom>
            <a:solidFill>
              <a:srgbClr val="00305C"/>
            </a:solidFill>
            <a:ln>
              <a:noFill/>
            </a:ln>
            <a:effectLst>
              <a:outerShdw blurRad="342900" dist="152400" dir="5820000" sx="55000" sy="55000" algn="ctr" rotWithShape="0">
                <a:srgbClr val="00305C">
                  <a:alpha val="6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94" name="TextBox 114">
              <a:extLst>
                <a:ext uri="{FF2B5EF4-FFF2-40B4-BE49-F238E27FC236}">
                  <a16:creationId xmlns:a16="http://schemas.microsoft.com/office/drawing/2014/main" id="{E5DC247C-41C3-4C4A-8575-11B88321EA68}"/>
                </a:ext>
              </a:extLst>
            </p:cNvPr>
            <p:cNvSpPr txBox="1"/>
            <p:nvPr/>
          </p:nvSpPr>
          <p:spPr>
            <a:xfrm>
              <a:off x="8173096" y="4831894"/>
              <a:ext cx="7206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200" dirty="0">
                  <a:solidFill>
                    <a:schemeClr val="bg1"/>
                  </a:solidFill>
                  <a:latin typeface="Arial" panose="020B0604020202020204" pitchFamily="34" charset="0"/>
                  <a:cs typeface="DIN Pro Black" panose="020B0A04020101010102" pitchFamily="34" charset="0"/>
                </a:rPr>
                <a:t>2021</a:t>
              </a:r>
              <a:endParaRPr lang="fr-FR" sz="12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95" name="TextBox 41">
            <a:extLst>
              <a:ext uri="{FF2B5EF4-FFF2-40B4-BE49-F238E27FC236}">
                <a16:creationId xmlns:a16="http://schemas.microsoft.com/office/drawing/2014/main" id="{46BB0D5B-CDE2-4891-963F-AD625A3A56B4}"/>
              </a:ext>
            </a:extLst>
          </p:cNvPr>
          <p:cNvSpPr txBox="1"/>
          <p:nvPr/>
        </p:nvSpPr>
        <p:spPr>
          <a:xfrm>
            <a:off x="7890687" y="3995567"/>
            <a:ext cx="1279636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163C6B"/>
                </a:solidFill>
                <a:latin typeface="Arial" panose="020B0604020202020204" pitchFamily="34" charset="0"/>
                <a:cs typeface="DIN Pro Cond Light" panose="020B0506020101010102" pitchFamily="34" charset="0"/>
              </a:rPr>
              <a:t>HEC Paris redefines its values and purpose with the help of its entire community</a:t>
            </a:r>
          </a:p>
        </p:txBody>
      </p:sp>
    </p:spTree>
    <p:extLst>
      <p:ext uri="{BB962C8B-B14F-4D97-AF65-F5344CB8AC3E}">
        <p14:creationId xmlns:p14="http://schemas.microsoft.com/office/powerpoint/2010/main" val="1932995840"/>
      </p:ext>
    </p:extLst>
  </p:cSld>
  <p:clrMapOvr>
    <a:masterClrMapping/>
  </p:clrMapOvr>
  <p:transition spd="med">
    <p:pull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8" presetClass="emph" presetSubtype="0" decel="100000" fill="hold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Rot by="21600000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49" presetClass="entr" presetSubtype="0" decel="100000" fill="hold" grpId="0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8" presetClass="emph" presetSubtype="0" decel="100000" fill="hold" grpId="1" nodeType="withEffect">
                                  <p:stCondLst>
                                    <p:cond delay="12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16" presetClass="entr" presetSubtype="37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37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6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8" presetClass="emph" presetSubtype="0" decel="100000" fill="hold" grpId="1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34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8" presetClass="emph" presetSubtype="0" decel="100000" fill="hold" grpId="1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42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8" presetClass="emph" presetSubtype="0" decel="100000" fill="hold" grpId="1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0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8" presetClass="emph" presetSubtype="0" decel="100000" fill="hold" grpId="1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320"/>
                            </p:stCondLst>
                            <p:childTnLst>
                              <p:par>
                                <p:cTn id="6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3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4" fill="hold" nodeType="withEffect">
                                  <p:stCondLst>
                                    <p:cond delay="55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9" presetClass="entr" presetSubtype="0" decel="100000" fill="hold" nodeType="withEffect">
                                  <p:stCondLst>
                                    <p:cond delay="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8" presetClass="emph" presetSubtype="0" decel="100000" fill="hold" nodeType="withEffect">
                                  <p:stCondLst>
                                    <p:cond delay="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7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55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3" presetClass="path" presetSubtype="0" accel="22000" decel="78000" fill="hold" grpId="1" nodeType="withEffect">
                                  <p:stCondLst>
                                    <p:cond delay="55"/>
                                  </p:stCondLst>
                                  <p:childTnLst>
                                    <p:animMotion origin="layout" path="M -4.58333E-6 4.81481E-6 L 0.04571 4.81481E-6 " pathEditMode="relative" rAng="0" ptsTypes="AA">
                                      <p:cBhvr>
                                        <p:cTn id="84" dur="75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22" presetClass="entr" presetSubtype="4" fill="hold" grpId="0" nodeType="withEffect">
                                  <p:stCondLst>
                                    <p:cond delay="55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9" presetClass="entr" presetSubtype="0" decel="100000" fill="hold" grpId="0" nodeType="withEffect">
                                  <p:stCondLst>
                                    <p:cond delay="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8" presetClass="emph" presetSubtype="0" decel="100000" fill="hold" grpId="1" nodeType="withEffect">
                                  <p:stCondLst>
                                    <p:cond delay="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9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6" presetID="49" presetClass="entr" presetSubtype="0" decel="100000" fill="hold" nodeType="withEffect">
                                  <p:stCondLst>
                                    <p:cond delay="405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1" fill="hold" nodeType="withEffect">
                                  <p:stCondLst>
                                    <p:cond delay="455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49" presetClass="entr" presetSubtype="0" decel="100000" fill="hold" nodeType="withEffect">
                                  <p:stCondLst>
                                    <p:cond delay="4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8" presetClass="emph" presetSubtype="0" decel="100000" fill="hold" nodeType="withEffect">
                                  <p:stCondLst>
                                    <p:cond delay="4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455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63" presetClass="path" presetSubtype="0" accel="22000" decel="78000" fill="hold" grpId="1" nodeType="withEffect">
                                  <p:stCondLst>
                                    <p:cond delay="455"/>
                                  </p:stCondLst>
                                  <p:childTnLst>
                                    <p:animMotion origin="layout" path="M 1.04167E-6 4.81481E-6 L 0.0457 4.81481E-6 " pathEditMode="relative" rAng="0" ptsTypes="AA">
                                      <p:cBhvr>
                                        <p:cTn id="117" dur="75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22" presetClass="entr" presetSubtype="1" fill="hold" grpId="0" nodeType="withEffect">
                                  <p:stCondLst>
                                    <p:cond delay="455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49" presetClass="entr" presetSubtype="0" decel="100000" fill="hold" grpId="0" nodeType="withEffect">
                                  <p:stCondLst>
                                    <p:cond delay="4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8" presetClass="emph" presetSubtype="0" decel="100000" fill="hold" grpId="1" nodeType="withEffect">
                                  <p:stCondLst>
                                    <p:cond delay="4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2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9" presetID="49" presetClass="entr" presetSubtype="0" decel="100000" fill="hold" nodeType="withEffect">
                                  <p:stCondLst>
                                    <p:cond delay="905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4" fill="hold" nodeType="withEffect">
                                  <p:stCondLst>
                                    <p:cond delay="955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49" presetClass="entr" presetSubtype="0" decel="100000" fill="hold" nodeType="withEffect">
                                  <p:stCondLst>
                                    <p:cond delay="9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8" presetClass="emph" presetSubtype="0" decel="100000" fill="hold" nodeType="withEffect">
                                  <p:stCondLst>
                                    <p:cond delay="9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4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955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63" presetClass="path" presetSubtype="0" accel="22000" decel="78000" fill="hold" grpId="1" nodeType="withEffect">
                                  <p:stCondLst>
                                    <p:cond delay="955"/>
                                  </p:stCondLst>
                                  <p:childTnLst>
                                    <p:animMotion origin="layout" path="M 1.25E-6 3.33333E-6 L 0.0457 3.33333E-6 " pathEditMode="relative" rAng="0" ptsTypes="AA">
                                      <p:cBhvr>
                                        <p:cTn id="150" dur="75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51" presetID="22" presetClass="entr" presetSubtype="4" fill="hold" grpId="0" nodeType="withEffect">
                                  <p:stCondLst>
                                    <p:cond delay="955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49" presetClass="entr" presetSubtype="0" decel="100000" fill="hold" grpId="0" nodeType="withEffect">
                                  <p:stCondLst>
                                    <p:cond delay="9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8" presetClass="emph" presetSubtype="0" decel="100000" fill="hold" grpId="1" nodeType="withEffect">
                                  <p:stCondLst>
                                    <p:cond delay="9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6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2" presetID="49" presetClass="entr" presetSubtype="0" decel="100000" fill="hold" nodeType="withEffect">
                                  <p:stCondLst>
                                    <p:cond delay="1355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1" fill="hold" nodeType="withEffect">
                                  <p:stCondLst>
                                    <p:cond delay="1405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49" presetClass="entr" presetSubtype="0" decel="100000" fill="hold" nodeType="withEffect">
                                  <p:stCondLst>
                                    <p:cond delay="14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8" presetClass="emph" presetSubtype="0" decel="100000" fill="hold" nodeType="withEffect">
                                  <p:stCondLst>
                                    <p:cond delay="14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7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grpId="0" nodeType="withEffect">
                                  <p:stCondLst>
                                    <p:cond delay="1405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63" presetClass="path" presetSubtype="0" accel="22000" decel="78000" fill="hold" grpId="1" nodeType="withEffect">
                                  <p:stCondLst>
                                    <p:cond delay="1405"/>
                                  </p:stCondLst>
                                  <p:childTnLst>
                                    <p:animMotion origin="layout" path="M 6.25E-7 -2.22222E-6 L 0.0457 -2.22222E-6 " pathEditMode="relative" rAng="0" ptsTypes="AA">
                                      <p:cBhvr>
                                        <p:cTn id="183" dur="75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84" presetID="22" presetClass="entr" presetSubtype="1" fill="hold" grpId="0" nodeType="withEffect">
                                  <p:stCondLst>
                                    <p:cond delay="1405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6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49" presetClass="entr" presetSubtype="0" decel="100000" fill="hold" grpId="0" nodeType="withEffect">
                                  <p:stCondLst>
                                    <p:cond delay="14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8" presetClass="emph" presetSubtype="0" decel="100000" fill="hold" grpId="1" nodeType="withEffect">
                                  <p:stCondLst>
                                    <p:cond delay="14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19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5" presetID="49" presetClass="entr" presetSubtype="0" decel="100000" fill="hold" nodeType="withEffect">
                                  <p:stCondLst>
                                    <p:cond delay="1805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7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0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22" presetClass="entr" presetSubtype="4" fill="hold" nodeType="withEffect">
                                  <p:stCondLst>
                                    <p:cond delay="1855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49" presetClass="entr" presetSubtype="0" decel="100000" fill="hold" nodeType="withEffect">
                                  <p:stCondLst>
                                    <p:cond delay="18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8" presetClass="emph" presetSubtype="0" decel="100000" fill="hold" nodeType="withEffect">
                                  <p:stCondLst>
                                    <p:cond delay="18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1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2" presetID="10" presetClass="entr" presetSubtype="0" fill="hold" grpId="0" nodeType="withEffect">
                                  <p:stCondLst>
                                    <p:cond delay="1855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63" presetClass="path" presetSubtype="0" accel="22000" decel="78000" fill="hold" grpId="1" nodeType="withEffect">
                                  <p:stCondLst>
                                    <p:cond delay="1855"/>
                                  </p:stCondLst>
                                  <p:childTnLst>
                                    <p:animMotion origin="layout" path="M 1.875E-6 -2.96296E-6 L 0.0457 -2.96296E-6 " pathEditMode="relative" rAng="0" ptsTypes="AA">
                                      <p:cBhvr>
                                        <p:cTn id="216" dur="750" spd="-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217" presetID="22" presetClass="entr" presetSubtype="4" fill="hold" grpId="0" nodeType="withEffect">
                                  <p:stCondLst>
                                    <p:cond delay="1855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0" presetID="49" presetClass="entr" presetSubtype="0" decel="100000" fill="hold" grpId="0" nodeType="withEffect">
                                  <p:stCondLst>
                                    <p:cond delay="18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8" presetClass="emph" presetSubtype="0" decel="100000" fill="hold" grpId="1" nodeType="withEffect">
                                  <p:stCondLst>
                                    <p:cond delay="18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2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28" presetID="49" presetClass="entr" presetSubtype="0" decel="100000" fill="hold" nodeType="withEffect">
                                  <p:stCondLst>
                                    <p:cond delay="2255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0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3" dur="3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22" presetClass="entr" presetSubtype="1" fill="hold" nodeType="withEffect">
                                  <p:stCondLst>
                                    <p:cond delay="2305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49" presetClass="entr" presetSubtype="0" decel="100000" fill="hold" nodeType="withEffect">
                                  <p:stCondLst>
                                    <p:cond delay="23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8" presetClass="emph" presetSubtype="0" decel="100000" fill="hold" nodeType="withEffect">
                                  <p:stCondLst>
                                    <p:cond delay="23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4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45" presetID="10" presetClass="entr" presetSubtype="0" fill="hold" grpId="0" nodeType="withEffect">
                                  <p:stCondLst>
                                    <p:cond delay="2305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8" presetID="63" presetClass="path" presetSubtype="0" accel="22000" decel="78000" fill="hold" grpId="1" nodeType="withEffect">
                                  <p:stCondLst>
                                    <p:cond delay="2305"/>
                                  </p:stCondLst>
                                  <p:childTnLst>
                                    <p:animMotion origin="layout" path="M 4.16667E-7 1.85185E-6 L 0.0457 1.85185E-6 " pathEditMode="relative" rAng="0" ptsTypes="AA">
                                      <p:cBhvr>
                                        <p:cTn id="249" dur="75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250" presetID="22" presetClass="entr" presetSubtype="1" fill="hold" grpId="0" nodeType="withEffect">
                                  <p:stCondLst>
                                    <p:cond delay="2305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49" presetClass="entr" presetSubtype="0" decel="100000" fill="hold" grpId="0" nodeType="withEffect">
                                  <p:stCondLst>
                                    <p:cond delay="23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9" presetID="8" presetClass="emph" presetSubtype="0" decel="100000" fill="hold" grpId="1" nodeType="withEffect">
                                  <p:stCondLst>
                                    <p:cond delay="230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60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1" presetID="49" presetClass="entr" presetSubtype="0" decel="100000" fill="hold" nodeType="withEffect">
                                  <p:stCondLst>
                                    <p:cond delay="2705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3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4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5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6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7" presetID="22" presetClass="entr" presetSubtype="4" fill="hold" nodeType="withEffect">
                                  <p:stCondLst>
                                    <p:cond delay="2755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0" presetID="49" presetClass="entr" presetSubtype="0" decel="100000" fill="hold" nodeType="withEffect">
                                  <p:stCondLst>
                                    <p:cond delay="27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6" presetID="8" presetClass="emph" presetSubtype="0" decel="100000" fill="hold" nodeType="withEffect">
                                  <p:stCondLst>
                                    <p:cond delay="27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7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8" presetID="10" presetClass="entr" presetSubtype="0" fill="hold" grpId="0" nodeType="withEffect">
                                  <p:stCondLst>
                                    <p:cond delay="2755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0" dur="2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1" presetID="63" presetClass="path" presetSubtype="0" accel="22000" decel="78000" fill="hold" grpId="1" nodeType="withEffect">
                                  <p:stCondLst>
                                    <p:cond delay="2755"/>
                                  </p:stCondLst>
                                  <p:childTnLst>
                                    <p:animMotion origin="layout" path="M 2.70833E-6 -4.81481E-6 L 0.0457 -4.81481E-6 " pathEditMode="relative" rAng="0" ptsTypes="AA">
                                      <p:cBhvr>
                                        <p:cTn id="282" dur="750" spd="-100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283" presetID="22" presetClass="entr" presetSubtype="4" fill="hold" grpId="0" nodeType="withEffect">
                                  <p:stCondLst>
                                    <p:cond delay="2755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6" presetID="49" presetClass="entr" presetSubtype="0" decel="100000" fill="hold" grpId="0" nodeType="withEffect">
                                  <p:stCondLst>
                                    <p:cond delay="27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8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2" presetID="8" presetClass="emph" presetSubtype="0" decel="100000" fill="hold" grpId="1" nodeType="withEffect">
                                  <p:stCondLst>
                                    <p:cond delay="27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29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4" presetID="49" presetClass="entr" presetSubtype="0" decel="100000" fill="hold" nodeType="withEffect">
                                  <p:stCondLst>
                                    <p:cond delay="27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6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7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8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0" presetID="8" presetClass="emph" presetSubtype="0" decel="100000" fill="hold" nodeType="withEffect">
                                  <p:stCondLst>
                                    <p:cond delay="2755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30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2" presetID="22" presetClass="entr" presetSubtype="8" fill="hold" nodeType="withEffect">
                                  <p:stCondLst>
                                    <p:cond delay="2755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10" presetClass="entr" presetSubtype="0" fill="hold" grpId="0" nodeType="withEffect">
                                  <p:stCondLst>
                                    <p:cond delay="2305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7" dur="2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63" presetClass="path" presetSubtype="0" accel="22000" decel="78000" fill="hold" grpId="1" nodeType="withEffect">
                                  <p:stCondLst>
                                    <p:cond delay="2305"/>
                                  </p:stCondLst>
                                  <p:childTnLst>
                                    <p:animMotion origin="layout" path="M 4.16667E-7 1.85185E-6 L 0.0457 1.85185E-6 " pathEditMode="relative" rAng="0" ptsTypes="AA">
                                      <p:cBhvr>
                                        <p:cTn id="309" dur="750" spd="-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 animBg="1"/>
      <p:bldP spid="142" grpId="1" animBg="1"/>
      <p:bldP spid="83" grpId="0" animBg="1"/>
      <p:bldP spid="82" grpId="0" animBg="1"/>
      <p:bldP spid="81" grpId="0" animBg="1"/>
      <p:bldP spid="78" grpId="0" animBg="1"/>
      <p:bldP spid="77" grpId="0" animBg="1"/>
      <p:bldP spid="74" grpId="0" animBg="1"/>
      <p:bldP spid="72" grpId="0" animBg="1"/>
      <p:bldP spid="6" grpId="0"/>
      <p:bldP spid="6" grpId="1"/>
      <p:bldP spid="34" grpId="0"/>
      <p:bldP spid="34" grpId="1"/>
      <p:bldP spid="38" grpId="0"/>
      <p:bldP spid="38" grpId="1"/>
      <p:bldP spid="42" grpId="0"/>
      <p:bldP spid="42" grpId="1"/>
      <p:bldP spid="46" grpId="0"/>
      <p:bldP spid="46" grpId="1"/>
      <p:bldP spid="50" grpId="0"/>
      <p:bldP spid="50" grpId="1"/>
      <p:bldP spid="54" grpId="0"/>
      <p:bldP spid="54" grpId="1"/>
      <p:bldP spid="58" grpId="0"/>
      <p:bldP spid="58" grpId="1"/>
      <p:bldP spid="84" grpId="0"/>
      <p:bldP spid="84" grpId="1"/>
      <p:bldP spid="85" grpId="0"/>
      <p:bldP spid="85" grpId="1"/>
      <p:bldP spid="86" grpId="0"/>
      <p:bldP spid="86" grpId="1"/>
      <p:bldP spid="87" grpId="0"/>
      <p:bldP spid="87" grpId="1"/>
      <p:bldP spid="88" grpId="0"/>
      <p:bldP spid="88" grpId="1"/>
      <p:bldP spid="89" grpId="0"/>
      <p:bldP spid="89" grpId="1"/>
      <p:bldP spid="90" grpId="0"/>
      <p:bldP spid="90" grpId="1"/>
      <p:bldP spid="100" grpId="0" animBg="1"/>
      <p:bldP spid="100" grpId="1" animBg="1"/>
      <p:bldP spid="138" grpId="0" animBg="1"/>
      <p:bldP spid="138" grpId="1" animBg="1"/>
      <p:bldP spid="102" grpId="0" animBg="1"/>
      <p:bldP spid="102" grpId="1" animBg="1"/>
      <p:bldP spid="95" grpId="0"/>
      <p:bldP spid="95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C1CF50-4735-4C82-B609-5E08011D5046}"/>
              </a:ext>
            </a:extLst>
          </p:cNvPr>
          <p:cNvSpPr txBox="1"/>
          <p:nvPr/>
        </p:nvSpPr>
        <p:spPr>
          <a:xfrm>
            <a:off x="2450306" y="143709"/>
            <a:ext cx="4243388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MBA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OGRAM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86D19C3-9FBE-42B3-89C3-FAE790B5BBB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4F530B-2312-427C-B05B-DB4CAFA06FF4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32DE799-2062-4A67-A2CE-13657EEB08B3}"/>
              </a:ext>
            </a:extLst>
          </p:cNvPr>
          <p:cNvSpPr/>
          <p:nvPr/>
        </p:nvSpPr>
        <p:spPr>
          <a:xfrm>
            <a:off x="856320" y="961761"/>
            <a:ext cx="2334802" cy="3648047"/>
          </a:xfrm>
          <a:prstGeom prst="roundRect">
            <a:avLst>
              <a:gd name="adj" fmla="val 1263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CC5A441-E0E2-47B5-B5EB-52FBC6F5D014}"/>
              </a:ext>
            </a:extLst>
          </p:cNvPr>
          <p:cNvSpPr/>
          <p:nvPr/>
        </p:nvSpPr>
        <p:spPr>
          <a:xfrm>
            <a:off x="856320" y="961761"/>
            <a:ext cx="2334802" cy="3648048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30000"/>
                </a:srgbClr>
              </a:gs>
              <a:gs pos="32750">
                <a:srgbClr val="003566">
                  <a:alpha val="62000"/>
                </a:srgbClr>
              </a:gs>
              <a:gs pos="62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0C63CFF-369D-440E-9C1C-4C62B818FEA8}"/>
              </a:ext>
            </a:extLst>
          </p:cNvPr>
          <p:cNvSpPr txBox="1"/>
          <p:nvPr/>
        </p:nvSpPr>
        <p:spPr>
          <a:xfrm>
            <a:off x="1213960" y="1246065"/>
            <a:ext cx="158366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MBA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C4B8BE6-DA27-4434-B9F1-66B7291CE4A5}"/>
              </a:ext>
            </a:extLst>
          </p:cNvPr>
          <p:cNvGrpSpPr/>
          <p:nvPr/>
        </p:nvGrpSpPr>
        <p:grpSpPr>
          <a:xfrm>
            <a:off x="1312791" y="2000804"/>
            <a:ext cx="1386008" cy="343861"/>
            <a:chOff x="1457960" y="3177311"/>
            <a:chExt cx="1848009" cy="458481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FD90D510-DB4B-4D8F-A75F-B541FECAC64F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76CD4F4F-2359-4380-A296-29104F0DB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402408-199C-4B61-9DA5-ACF5F1EC051E}"/>
                </a:ext>
              </a:extLst>
            </p:cNvPr>
            <p:cNvSpPr txBox="1"/>
            <p:nvPr/>
          </p:nvSpPr>
          <p:spPr>
            <a:xfrm>
              <a:off x="2053458" y="3271291"/>
              <a:ext cx="1089084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FULL TIME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CA65B49-6A4E-498D-94F7-FF3F39BAC122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C01E072-F3DB-4567-B921-C1E73AF49327}"/>
              </a:ext>
            </a:extLst>
          </p:cNvPr>
          <p:cNvGrpSpPr/>
          <p:nvPr/>
        </p:nvGrpSpPr>
        <p:grpSpPr>
          <a:xfrm>
            <a:off x="1312791" y="2889591"/>
            <a:ext cx="1386008" cy="343861"/>
            <a:chOff x="3432828" y="3177311"/>
            <a:chExt cx="1848009" cy="458481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53B4C3EA-7B98-4EEA-BE91-CD8B3C0A1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14546038-A840-4090-8809-B0AD37B687AE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D21F6D4-B15F-4535-B7B9-B23210F58223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2-16 MONTHS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1635E80-96EE-4A60-B144-A5A541862EE4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A27C160-CCDB-4301-BA99-8354ED18C5BF}"/>
              </a:ext>
            </a:extLst>
          </p:cNvPr>
          <p:cNvGrpSpPr/>
          <p:nvPr/>
        </p:nvGrpSpPr>
        <p:grpSpPr>
          <a:xfrm>
            <a:off x="1312791" y="2445198"/>
            <a:ext cx="1386008" cy="343861"/>
            <a:chOff x="2537398" y="3780872"/>
            <a:chExt cx="1848009" cy="458481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E9E362AB-43F8-43BA-B6CF-C0BBBD3B8927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D90A23F4-7A6B-4BD0-8E63-AB2C5C714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1C57F84-B031-4421-A026-8E134E000660}"/>
                </a:ext>
              </a:extLst>
            </p:cNvPr>
            <p:cNvSpPr txBox="1"/>
            <p:nvPr/>
          </p:nvSpPr>
          <p:spPr>
            <a:xfrm>
              <a:off x="3142541" y="3886111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739092E-C786-49BB-9147-A68B951FBB92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70A203-69CC-47D1-935E-939243F8EC16}"/>
              </a:ext>
            </a:extLst>
          </p:cNvPr>
          <p:cNvGrpSpPr/>
          <p:nvPr/>
        </p:nvGrpSpPr>
        <p:grpSpPr>
          <a:xfrm>
            <a:off x="1245939" y="3333990"/>
            <a:ext cx="1494092" cy="350904"/>
            <a:chOff x="1750388" y="4709585"/>
            <a:chExt cx="1992122" cy="467871"/>
          </a:xfrm>
        </p:grpSpPr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B3CEBD16-3874-4277-847A-1D1D71721B15}"/>
                </a:ext>
              </a:extLst>
            </p:cNvPr>
            <p:cNvGrpSpPr/>
            <p:nvPr/>
          </p:nvGrpSpPr>
          <p:grpSpPr>
            <a:xfrm>
              <a:off x="1750388" y="4709585"/>
              <a:ext cx="1992122" cy="467871"/>
              <a:chOff x="2537398" y="3780872"/>
              <a:chExt cx="1992121" cy="467871"/>
            </a:xfrm>
          </p:grpSpPr>
          <p:sp>
            <p:nvSpPr>
              <p:cNvPr id="105" name="Rectangle: Rounded Corners 104">
                <a:extLst>
                  <a:ext uri="{FF2B5EF4-FFF2-40B4-BE49-F238E27FC236}">
                    <a16:creationId xmlns:a16="http://schemas.microsoft.com/office/drawing/2014/main" id="{86C3E818-431E-4182-9659-9AD011A56294}"/>
                  </a:ext>
                </a:extLst>
              </p:cNvPr>
              <p:cNvSpPr/>
              <p:nvPr/>
            </p:nvSpPr>
            <p:spPr>
              <a:xfrm>
                <a:off x="2537398" y="3780872"/>
                <a:ext cx="1979783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5A5B4E31-6860-4FC9-8069-AA8D54529EBA}"/>
                  </a:ext>
                </a:extLst>
              </p:cNvPr>
              <p:cNvSpPr txBox="1"/>
              <p:nvPr/>
            </p:nvSpPr>
            <p:spPr>
              <a:xfrm>
                <a:off x="3142541" y="3802297"/>
                <a:ext cx="1386978" cy="4464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300 STUDENTS </a:t>
                </a:r>
                <a:b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</a:br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EACH YEAR</a:t>
                </a:r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868F9EF1-FE2A-4D61-B3BC-339C542B75B7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718B09F4-5EE5-4BDE-8B84-96F1CC0FC06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94502" y="4829952"/>
              <a:ext cx="229508" cy="229508"/>
            </a:xfrm>
            <a:prstGeom prst="rect">
              <a:avLst/>
            </a:prstGeom>
          </p:spPr>
        </p:pic>
      </p:grp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BBFF800A-A8AA-4473-B683-839EB015045E}"/>
              </a:ext>
            </a:extLst>
          </p:cNvPr>
          <p:cNvSpPr/>
          <p:nvPr/>
        </p:nvSpPr>
        <p:spPr>
          <a:xfrm>
            <a:off x="3422526" y="961760"/>
            <a:ext cx="2334802" cy="3648047"/>
          </a:xfrm>
          <a:prstGeom prst="roundRect">
            <a:avLst>
              <a:gd name="adj" fmla="val 1263"/>
            </a:avLst>
          </a:pr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DDA1B323-3917-4E56-AAF6-AD1E1E1E69FC}"/>
              </a:ext>
            </a:extLst>
          </p:cNvPr>
          <p:cNvSpPr/>
          <p:nvPr/>
        </p:nvSpPr>
        <p:spPr>
          <a:xfrm rot="10800000">
            <a:off x="3422526" y="961761"/>
            <a:ext cx="2334802" cy="3648048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86000"/>
                </a:srgbClr>
              </a:gs>
              <a:gs pos="82000">
                <a:srgbClr val="003566">
                  <a:alpha val="9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8AC8638-999C-423F-898F-7E95C4D6DF0D}"/>
              </a:ext>
            </a:extLst>
          </p:cNvPr>
          <p:cNvGrpSpPr/>
          <p:nvPr/>
        </p:nvGrpSpPr>
        <p:grpSpPr>
          <a:xfrm>
            <a:off x="1132149" y="3778377"/>
            <a:ext cx="1914946" cy="454536"/>
            <a:chOff x="1750387" y="5301453"/>
            <a:chExt cx="2329723" cy="458481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673C93BF-B097-4477-A1F3-02EF2D9EFB3B}"/>
                </a:ext>
              </a:extLst>
            </p:cNvPr>
            <p:cNvGrpSpPr/>
            <p:nvPr/>
          </p:nvGrpSpPr>
          <p:grpSpPr>
            <a:xfrm>
              <a:off x="1750387" y="5301453"/>
              <a:ext cx="2329723" cy="458481"/>
              <a:chOff x="3432827" y="3177311"/>
              <a:chExt cx="2329722" cy="458481"/>
            </a:xfrm>
          </p:grpSpPr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B66F4F18-4BFA-4506-A5AA-5A894191CBD2}"/>
                  </a:ext>
                </a:extLst>
              </p:cNvPr>
              <p:cNvSpPr/>
              <p:nvPr/>
            </p:nvSpPr>
            <p:spPr>
              <a:xfrm>
                <a:off x="3432827" y="3177311"/>
                <a:ext cx="2329722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D1602D83-A231-49D9-888E-1FE0F1C3E45D}"/>
                  </a:ext>
                </a:extLst>
              </p:cNvPr>
              <p:cNvSpPr txBox="1"/>
              <p:nvPr/>
            </p:nvSpPr>
            <p:spPr>
              <a:xfrm>
                <a:off x="4044427" y="3198802"/>
                <a:ext cx="1634074" cy="3377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93 % INTERNATIONAL INTAKE</a:t>
                </a:r>
              </a:p>
            </p:txBody>
          </p: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520246D7-8B5A-408B-BE3C-52A9CF3628DE}"/>
                  </a:ext>
                </a:extLst>
              </p:cNvPr>
              <p:cNvCxnSpPr/>
              <p:nvPr/>
            </p:nvCxnSpPr>
            <p:spPr>
              <a:xfrm>
                <a:off x="3972169" y="3248027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CD8010E9-A9D8-4ADD-BA73-33A22D6E6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935558" y="5446192"/>
              <a:ext cx="169002" cy="169002"/>
            </a:xfrm>
            <a:prstGeom prst="rect">
              <a:avLst/>
            </a:prstGeom>
          </p:spPr>
        </p:pic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1903F6BA-01A7-4666-9446-0AA11BC9A2D0}"/>
              </a:ext>
            </a:extLst>
          </p:cNvPr>
          <p:cNvSpPr txBox="1"/>
          <p:nvPr/>
        </p:nvSpPr>
        <p:spPr>
          <a:xfrm>
            <a:off x="3599325" y="1142418"/>
            <a:ext cx="198120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EXECUTIVE MBA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0115CBD-6308-4A61-8B1A-D9B4A7BBC679}"/>
              </a:ext>
            </a:extLst>
          </p:cNvPr>
          <p:cNvGrpSpPr/>
          <p:nvPr/>
        </p:nvGrpSpPr>
        <p:grpSpPr>
          <a:xfrm>
            <a:off x="3878996" y="1549937"/>
            <a:ext cx="1439519" cy="343861"/>
            <a:chOff x="1457960" y="3177311"/>
            <a:chExt cx="1919357" cy="458481"/>
          </a:xfrm>
        </p:grpSpPr>
        <p:sp>
          <p:nvSpPr>
            <p:cNvPr id="113" name="Rectangle: Rounded Corners 112">
              <a:extLst>
                <a:ext uri="{FF2B5EF4-FFF2-40B4-BE49-F238E27FC236}">
                  <a16:creationId xmlns:a16="http://schemas.microsoft.com/office/drawing/2014/main" id="{7AF9FF52-D858-46B3-A456-CEC4D45BC292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A77E42AD-0743-46BA-8B5D-F8B4EB7BD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A5AED4EB-5A96-4513-960C-5F852DB48122}"/>
                </a:ext>
              </a:extLst>
            </p:cNvPr>
            <p:cNvSpPr txBox="1"/>
            <p:nvPr/>
          </p:nvSpPr>
          <p:spPr>
            <a:xfrm>
              <a:off x="2053457" y="3271291"/>
              <a:ext cx="1323860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PART TIME</a:t>
              </a:r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8EA817F-0008-4390-AD0D-604A2B042A8A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F0863495-0040-4E5B-8363-35BDF860F2E1}"/>
              </a:ext>
            </a:extLst>
          </p:cNvPr>
          <p:cNvGrpSpPr/>
          <p:nvPr/>
        </p:nvGrpSpPr>
        <p:grpSpPr>
          <a:xfrm>
            <a:off x="3878996" y="2437914"/>
            <a:ext cx="1386008" cy="343861"/>
            <a:chOff x="3432828" y="3177311"/>
            <a:chExt cx="1848009" cy="458481"/>
          </a:xfrm>
        </p:grpSpPr>
        <p:pic>
          <p:nvPicPr>
            <p:cNvPr id="118" name="Graphic 117">
              <a:extLst>
                <a:ext uri="{FF2B5EF4-FFF2-40B4-BE49-F238E27FC236}">
                  <a16:creationId xmlns:a16="http://schemas.microsoft.com/office/drawing/2014/main" id="{1CF8B553-D5CB-456E-98D5-0F0055229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6F9428C7-946D-4E6C-9510-D95B27E76B0E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B5DA0EA0-CFE0-443E-A2DB-62F489AA90EC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5-18 MONTHS</a:t>
              </a:r>
            </a:p>
          </p:txBody>
        </p: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7CFB1E90-E5B1-4E73-B172-61CE7EC56169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263EDF9-7A6F-464B-A936-C339AF079300}"/>
              </a:ext>
            </a:extLst>
          </p:cNvPr>
          <p:cNvGrpSpPr/>
          <p:nvPr/>
        </p:nvGrpSpPr>
        <p:grpSpPr>
          <a:xfrm>
            <a:off x="3878996" y="1993926"/>
            <a:ext cx="1525094" cy="359143"/>
            <a:chOff x="2537398" y="3780872"/>
            <a:chExt cx="2033457" cy="478857"/>
          </a:xfrm>
        </p:grpSpPr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E388E12C-3ED1-404C-97C8-8F195DFB1F83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24" name="Graphic 123">
              <a:extLst>
                <a:ext uri="{FF2B5EF4-FFF2-40B4-BE49-F238E27FC236}">
                  <a16:creationId xmlns:a16="http://schemas.microsoft.com/office/drawing/2014/main" id="{F50C2EDC-18A8-479C-9E29-646F48845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3683168-A00C-4508-8DFE-435B3ED71175}"/>
                </a:ext>
              </a:extLst>
            </p:cNvPr>
            <p:cNvSpPr txBox="1"/>
            <p:nvPr/>
          </p:nvSpPr>
          <p:spPr>
            <a:xfrm>
              <a:off x="3142542" y="3813283"/>
              <a:ext cx="1428313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 AND/</a:t>
              </a:r>
              <a:b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OR FRENCH</a:t>
              </a:r>
            </a:p>
          </p:txBody>
        </p: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85FF3A5F-A186-4CC7-B0CB-95FE81A70152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251D6A94-99DF-4C76-847A-BF55AD4C46B5}"/>
              </a:ext>
            </a:extLst>
          </p:cNvPr>
          <p:cNvSpPr/>
          <p:nvPr/>
        </p:nvSpPr>
        <p:spPr>
          <a:xfrm>
            <a:off x="5987948" y="1049971"/>
            <a:ext cx="2334802" cy="3648047"/>
          </a:xfrm>
          <a:prstGeom prst="roundRect">
            <a:avLst>
              <a:gd name="adj" fmla="val 1263"/>
            </a:avLst>
          </a:prstGeom>
          <a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CDF8934B-C959-4C69-97B2-B5D08D6E525B}"/>
              </a:ext>
            </a:extLst>
          </p:cNvPr>
          <p:cNvSpPr/>
          <p:nvPr/>
        </p:nvSpPr>
        <p:spPr>
          <a:xfrm>
            <a:off x="5987948" y="1049971"/>
            <a:ext cx="2334802" cy="3648049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30000"/>
                </a:srgbClr>
              </a:gs>
              <a:gs pos="32750">
                <a:srgbClr val="003566">
                  <a:alpha val="62000"/>
                </a:srgbClr>
              </a:gs>
              <a:gs pos="62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D2A3C597-F2BF-46B1-9051-8595AB4EDAE1}"/>
              </a:ext>
            </a:extLst>
          </p:cNvPr>
          <p:cNvSpPr txBox="1"/>
          <p:nvPr/>
        </p:nvSpPr>
        <p:spPr>
          <a:xfrm>
            <a:off x="6345588" y="1246065"/>
            <a:ext cx="158366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TRIUM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E5E73E83-A649-4437-B90B-72341E08551D}"/>
              </a:ext>
            </a:extLst>
          </p:cNvPr>
          <p:cNvGrpSpPr/>
          <p:nvPr/>
        </p:nvGrpSpPr>
        <p:grpSpPr>
          <a:xfrm>
            <a:off x="6444419" y="1963734"/>
            <a:ext cx="1457814" cy="343861"/>
            <a:chOff x="1457960" y="3177311"/>
            <a:chExt cx="1943751" cy="458481"/>
          </a:xfrm>
        </p:grpSpPr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A85D5FBC-6860-4F13-9BDF-23DCE46DD3F4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42" name="Graphic 141">
              <a:extLst>
                <a:ext uri="{FF2B5EF4-FFF2-40B4-BE49-F238E27FC236}">
                  <a16:creationId xmlns:a16="http://schemas.microsoft.com/office/drawing/2014/main" id="{2CFEE164-68A4-4E06-B1AB-EE31DC41B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0AE0C6D-3B4C-4DE6-A9C7-3EE116A26B16}"/>
                </a:ext>
              </a:extLst>
            </p:cNvPr>
            <p:cNvSpPr txBox="1"/>
            <p:nvPr/>
          </p:nvSpPr>
          <p:spPr>
            <a:xfrm>
              <a:off x="2053457" y="3271291"/>
              <a:ext cx="1348254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PART TIME</a:t>
              </a:r>
            </a:p>
          </p:txBody>
        </p: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BE8C9463-5385-4169-9056-ECA55C618C2B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6E5E671-2CF5-4E07-82B3-B60C49606FAD}"/>
              </a:ext>
            </a:extLst>
          </p:cNvPr>
          <p:cNvGrpSpPr/>
          <p:nvPr/>
        </p:nvGrpSpPr>
        <p:grpSpPr>
          <a:xfrm>
            <a:off x="6444418" y="2852850"/>
            <a:ext cx="1386008" cy="343861"/>
            <a:chOff x="3432828" y="3177311"/>
            <a:chExt cx="1848009" cy="458481"/>
          </a:xfrm>
        </p:grpSpPr>
        <p:pic>
          <p:nvPicPr>
            <p:cNvPr id="146" name="Graphic 145">
              <a:extLst>
                <a:ext uri="{FF2B5EF4-FFF2-40B4-BE49-F238E27FC236}">
                  <a16:creationId xmlns:a16="http://schemas.microsoft.com/office/drawing/2014/main" id="{F04D9639-9B55-47FB-81A3-F920BCD83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09380158-07BC-46B7-B9CB-27C1A6231655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256B0F19-6A12-44D0-B867-5C2641933E95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8 MONTHS</a:t>
              </a:r>
            </a:p>
          </p:txBody>
        </p: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D23B640-66BF-4138-B38A-E232FBC26BB2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436A23A-1564-4B16-B3E1-CB9C1E445715}"/>
              </a:ext>
            </a:extLst>
          </p:cNvPr>
          <p:cNvGrpSpPr/>
          <p:nvPr/>
        </p:nvGrpSpPr>
        <p:grpSpPr>
          <a:xfrm>
            <a:off x="6444418" y="2408292"/>
            <a:ext cx="1386008" cy="343861"/>
            <a:chOff x="2537398" y="3780872"/>
            <a:chExt cx="1848009" cy="458481"/>
          </a:xfrm>
        </p:grpSpPr>
        <p:sp>
          <p:nvSpPr>
            <p:cNvPr id="151" name="Rectangle: Rounded Corners 150">
              <a:extLst>
                <a:ext uri="{FF2B5EF4-FFF2-40B4-BE49-F238E27FC236}">
                  <a16:creationId xmlns:a16="http://schemas.microsoft.com/office/drawing/2014/main" id="{52C4981D-42F4-4B5C-B007-8C3DF0A6E245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52" name="Graphic 151">
              <a:extLst>
                <a:ext uri="{FF2B5EF4-FFF2-40B4-BE49-F238E27FC236}">
                  <a16:creationId xmlns:a16="http://schemas.microsoft.com/office/drawing/2014/main" id="{59BF37E8-FF76-4A10-87D8-A96AFF100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76D97500-2A3A-44D0-BB2A-7485527DB49D}"/>
                </a:ext>
              </a:extLst>
            </p:cNvPr>
            <p:cNvSpPr txBox="1"/>
            <p:nvPr/>
          </p:nvSpPr>
          <p:spPr>
            <a:xfrm>
              <a:off x="3142541" y="3886111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</a:t>
              </a:r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29CCDA05-EE39-4ED0-9971-0D9E459B44F7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3AD7F8-2C99-4F72-A0ED-E75F4A6A33ED}"/>
              </a:ext>
            </a:extLst>
          </p:cNvPr>
          <p:cNvGrpSpPr/>
          <p:nvPr/>
        </p:nvGrpSpPr>
        <p:grpSpPr>
          <a:xfrm>
            <a:off x="6396793" y="3297400"/>
            <a:ext cx="1665031" cy="374344"/>
            <a:chOff x="8592558" y="4709585"/>
            <a:chExt cx="2007256" cy="458481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B71088D8-E6A6-490E-AEDD-E3F278EE78E2}"/>
                </a:ext>
              </a:extLst>
            </p:cNvPr>
            <p:cNvGrpSpPr/>
            <p:nvPr/>
          </p:nvGrpSpPr>
          <p:grpSpPr>
            <a:xfrm>
              <a:off x="8592558" y="4709585"/>
              <a:ext cx="2007256" cy="458481"/>
              <a:chOff x="2537398" y="3780872"/>
              <a:chExt cx="2007255" cy="458481"/>
            </a:xfrm>
          </p:grpSpPr>
          <p:sp>
            <p:nvSpPr>
              <p:cNvPr id="160" name="Rectangle: Rounded Corners 159">
                <a:extLst>
                  <a:ext uri="{FF2B5EF4-FFF2-40B4-BE49-F238E27FC236}">
                    <a16:creationId xmlns:a16="http://schemas.microsoft.com/office/drawing/2014/main" id="{AE3C3C17-6D24-4AB4-8857-8C92AFBDC593}"/>
                  </a:ext>
                </a:extLst>
              </p:cNvPr>
              <p:cNvSpPr/>
              <p:nvPr/>
            </p:nvSpPr>
            <p:spPr>
              <a:xfrm>
                <a:off x="2537398" y="3780872"/>
                <a:ext cx="1979783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31F7F169-A934-4064-8AD0-E8D5E860A7E0}"/>
                  </a:ext>
                </a:extLst>
              </p:cNvPr>
              <p:cNvSpPr txBox="1"/>
              <p:nvPr/>
            </p:nvSpPr>
            <p:spPr>
              <a:xfrm>
                <a:off x="3142540" y="3802297"/>
                <a:ext cx="1402113" cy="41009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41 PARTICIPANTS EACH YEAR</a:t>
                </a:r>
              </a:p>
            </p:txBody>
          </p: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30EE2738-564E-41F2-8F77-46C2DF4DB2DE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63" name="Graphic 162">
              <a:extLst>
                <a:ext uri="{FF2B5EF4-FFF2-40B4-BE49-F238E27FC236}">
                  <a16:creationId xmlns:a16="http://schemas.microsoft.com/office/drawing/2014/main" id="{D902E004-DC37-4057-8AF3-5F8BCC6EA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736672" y="4829952"/>
              <a:ext cx="229508" cy="229508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1F61167-EB86-420A-9443-C5C36B38C180}"/>
              </a:ext>
            </a:extLst>
          </p:cNvPr>
          <p:cNvGrpSpPr/>
          <p:nvPr/>
        </p:nvGrpSpPr>
        <p:grpSpPr>
          <a:xfrm>
            <a:off x="3662579" y="4162593"/>
            <a:ext cx="1782000" cy="343861"/>
            <a:chOff x="4985039" y="5849156"/>
            <a:chExt cx="2376000" cy="458481"/>
          </a:xfrm>
        </p:grpSpPr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DAC4E183-D6D2-44C3-AA7E-8F3B145ACBC6}"/>
                </a:ext>
              </a:extLst>
            </p:cNvPr>
            <p:cNvGrpSpPr/>
            <p:nvPr/>
          </p:nvGrpSpPr>
          <p:grpSpPr>
            <a:xfrm>
              <a:off x="4985039" y="5849156"/>
              <a:ext cx="2376000" cy="458481"/>
              <a:chOff x="3432827" y="3177311"/>
              <a:chExt cx="2375999" cy="458481"/>
            </a:xfrm>
          </p:grpSpPr>
          <p:sp>
            <p:nvSpPr>
              <p:cNvPr id="168" name="Rectangle: Rounded Corners 167">
                <a:extLst>
                  <a:ext uri="{FF2B5EF4-FFF2-40B4-BE49-F238E27FC236}">
                    <a16:creationId xmlns:a16="http://schemas.microsoft.com/office/drawing/2014/main" id="{B00F8813-08DF-45CC-A9C7-44E2B8DE491E}"/>
                  </a:ext>
                </a:extLst>
              </p:cNvPr>
              <p:cNvSpPr/>
              <p:nvPr/>
            </p:nvSpPr>
            <p:spPr>
              <a:xfrm>
                <a:off x="3432827" y="3177311"/>
                <a:ext cx="2375998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546C6581-C1D9-47FA-9AC0-E09FF0852CF4}"/>
                  </a:ext>
                </a:extLst>
              </p:cNvPr>
              <p:cNvSpPr txBox="1"/>
              <p:nvPr/>
            </p:nvSpPr>
            <p:spPr>
              <a:xfrm>
                <a:off x="4044428" y="3198802"/>
                <a:ext cx="1764398" cy="2847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50 NATIONALITIES</a:t>
                </a:r>
              </a:p>
            </p:txBody>
          </p: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B44DA6E2-BEC2-46BD-BFEB-F2B79E5F7588}"/>
                  </a:ext>
                </a:extLst>
              </p:cNvPr>
              <p:cNvCxnSpPr/>
              <p:nvPr/>
            </p:nvCxnSpPr>
            <p:spPr>
              <a:xfrm>
                <a:off x="3972169" y="3248027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76" name="Graphic 175">
              <a:extLst>
                <a:ext uri="{FF2B5EF4-FFF2-40B4-BE49-F238E27FC236}">
                  <a16:creationId xmlns:a16="http://schemas.microsoft.com/office/drawing/2014/main" id="{12BFFEFF-F9B3-4613-9C68-E3AE1B87DB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170210" y="5993895"/>
              <a:ext cx="169002" cy="169002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56159F5-4B55-4C61-83F7-4071F71CFE4A}"/>
              </a:ext>
            </a:extLst>
          </p:cNvPr>
          <p:cNvGrpSpPr/>
          <p:nvPr/>
        </p:nvGrpSpPr>
        <p:grpSpPr>
          <a:xfrm>
            <a:off x="3878996" y="2881903"/>
            <a:ext cx="1530894" cy="343861"/>
            <a:chOff x="5171995" y="4075477"/>
            <a:chExt cx="2041192" cy="458481"/>
          </a:xfrm>
        </p:grpSpPr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1F51B6B-BFDD-4863-A040-25E3A2DC64F1}"/>
                </a:ext>
              </a:extLst>
            </p:cNvPr>
            <p:cNvGrpSpPr/>
            <p:nvPr/>
          </p:nvGrpSpPr>
          <p:grpSpPr>
            <a:xfrm>
              <a:off x="5171995" y="4075477"/>
              <a:ext cx="2041192" cy="458481"/>
              <a:chOff x="2537398" y="3780872"/>
              <a:chExt cx="2041191" cy="458481"/>
            </a:xfrm>
          </p:grpSpPr>
          <p:sp>
            <p:nvSpPr>
              <p:cNvPr id="132" name="Rectangle: Rounded Corners 131">
                <a:extLst>
                  <a:ext uri="{FF2B5EF4-FFF2-40B4-BE49-F238E27FC236}">
                    <a16:creationId xmlns:a16="http://schemas.microsoft.com/office/drawing/2014/main" id="{AA5ED6A9-04A3-43E9-B538-379F1B41747F}"/>
                  </a:ext>
                </a:extLst>
              </p:cNvPr>
              <p:cNvSpPr/>
              <p:nvPr/>
            </p:nvSpPr>
            <p:spPr>
              <a:xfrm>
                <a:off x="2537398" y="3780872"/>
                <a:ext cx="1848009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503606E0-9B0A-469B-9884-40EA0493D8C3}"/>
                  </a:ext>
                </a:extLst>
              </p:cNvPr>
              <p:cNvSpPr txBox="1"/>
              <p:nvPr/>
            </p:nvSpPr>
            <p:spPr>
              <a:xfrm>
                <a:off x="3142540" y="3891759"/>
                <a:ext cx="1436049" cy="2847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2 PROGRAMS</a:t>
                </a:r>
              </a:p>
            </p:txBody>
          </p: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F73CA955-D082-410E-8785-3B05CACAD5C8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8E3175BF-2FF5-476F-8ED2-BFC67D25B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20617372">
              <a:off x="5303894" y="4175301"/>
              <a:ext cx="262628" cy="262628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362F09C-6889-48E2-8D7A-EAFC5577196F}"/>
              </a:ext>
            </a:extLst>
          </p:cNvPr>
          <p:cNvGrpSpPr/>
          <p:nvPr/>
        </p:nvGrpSpPr>
        <p:grpSpPr>
          <a:xfrm>
            <a:off x="3878996" y="3325892"/>
            <a:ext cx="1386008" cy="343861"/>
            <a:chOff x="5171995" y="4667345"/>
            <a:chExt cx="1848010" cy="458481"/>
          </a:xfrm>
        </p:grpSpPr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DCC640F5-B5D1-419F-87B4-51FE26A6D08E}"/>
                </a:ext>
              </a:extLst>
            </p:cNvPr>
            <p:cNvGrpSpPr/>
            <p:nvPr/>
          </p:nvGrpSpPr>
          <p:grpSpPr>
            <a:xfrm>
              <a:off x="5171995" y="4667345"/>
              <a:ext cx="1848010" cy="458481"/>
              <a:chOff x="3432828" y="3177311"/>
              <a:chExt cx="1848009" cy="458481"/>
            </a:xfrm>
          </p:grpSpPr>
          <p:sp>
            <p:nvSpPr>
              <p:cNvPr id="128" name="Rectangle: Rounded Corners 127">
                <a:extLst>
                  <a:ext uri="{FF2B5EF4-FFF2-40B4-BE49-F238E27FC236}">
                    <a16:creationId xmlns:a16="http://schemas.microsoft.com/office/drawing/2014/main" id="{1C64F100-2145-4CF6-BAF0-20E58547CA2C}"/>
                  </a:ext>
                </a:extLst>
              </p:cNvPr>
              <p:cNvSpPr/>
              <p:nvPr/>
            </p:nvSpPr>
            <p:spPr>
              <a:xfrm>
                <a:off x="3432828" y="3177311"/>
                <a:ext cx="1848009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B6340609-4B1C-4C0A-A9C3-E8662931AD29}"/>
                  </a:ext>
                </a:extLst>
              </p:cNvPr>
              <p:cNvSpPr txBox="1"/>
              <p:nvPr/>
            </p:nvSpPr>
            <p:spPr>
              <a:xfrm>
                <a:off x="4044429" y="3279594"/>
                <a:ext cx="1236402" cy="2847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4 INTAKES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B98E8F08-5218-4729-A3FA-0F23BAC54102}"/>
                  </a:ext>
                </a:extLst>
              </p:cNvPr>
              <p:cNvCxnSpPr/>
              <p:nvPr/>
            </p:nvCxnSpPr>
            <p:spPr>
              <a:xfrm>
                <a:off x="3972169" y="3248027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DE4A9947-C4E6-4B67-A787-A4E4D329A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353560" y="4801918"/>
              <a:ext cx="176212" cy="176212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794A144-B368-457F-9050-889D282437E7}"/>
              </a:ext>
            </a:extLst>
          </p:cNvPr>
          <p:cNvGrpSpPr/>
          <p:nvPr/>
        </p:nvGrpSpPr>
        <p:grpSpPr>
          <a:xfrm>
            <a:off x="3738780" y="3735703"/>
            <a:ext cx="1643123" cy="350904"/>
            <a:chOff x="4985040" y="5257288"/>
            <a:chExt cx="2190830" cy="467871"/>
          </a:xfrm>
        </p:grpSpPr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1B27940B-4AEB-42E6-A23D-C968BBD7BF71}"/>
                </a:ext>
              </a:extLst>
            </p:cNvPr>
            <p:cNvGrpSpPr/>
            <p:nvPr/>
          </p:nvGrpSpPr>
          <p:grpSpPr>
            <a:xfrm>
              <a:off x="4985040" y="5257288"/>
              <a:ext cx="2190830" cy="467871"/>
              <a:chOff x="2537398" y="3780872"/>
              <a:chExt cx="2190829" cy="467871"/>
            </a:xfrm>
          </p:grpSpPr>
          <p:sp>
            <p:nvSpPr>
              <p:cNvPr id="172" name="Rectangle: Rounded Corners 171">
                <a:extLst>
                  <a:ext uri="{FF2B5EF4-FFF2-40B4-BE49-F238E27FC236}">
                    <a16:creationId xmlns:a16="http://schemas.microsoft.com/office/drawing/2014/main" id="{CB13B13D-CFED-46C5-AB7F-65B3D6A93F6F}"/>
                  </a:ext>
                </a:extLst>
              </p:cNvPr>
              <p:cNvSpPr/>
              <p:nvPr/>
            </p:nvSpPr>
            <p:spPr>
              <a:xfrm>
                <a:off x="2537398" y="3780872"/>
                <a:ext cx="2190829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297F7C33-EEBC-4FB8-B0FB-C8799A8DB362}"/>
                  </a:ext>
                </a:extLst>
              </p:cNvPr>
              <p:cNvSpPr txBox="1"/>
              <p:nvPr/>
            </p:nvSpPr>
            <p:spPr>
              <a:xfrm>
                <a:off x="3161778" y="3802297"/>
                <a:ext cx="1566443" cy="4464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7 MAJORS / 15 SPECIALIZATIONS</a:t>
                </a:r>
              </a:p>
            </p:txBody>
          </p: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8B40B7D6-4C41-4C81-9755-FF1C75A37107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A54CF90D-F6F2-484E-860B-3EF632E80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127792" y="5361356"/>
              <a:ext cx="253838" cy="253838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D26ED98-C18D-4FBA-B028-17F3CA3C77EB}"/>
              </a:ext>
            </a:extLst>
          </p:cNvPr>
          <p:cNvGrpSpPr/>
          <p:nvPr/>
        </p:nvGrpSpPr>
        <p:grpSpPr>
          <a:xfrm>
            <a:off x="6589308" y="3786373"/>
            <a:ext cx="1138376" cy="531951"/>
            <a:chOff x="8592551" y="5294891"/>
            <a:chExt cx="1848010" cy="928907"/>
          </a:xfrm>
        </p:grpSpPr>
        <p:sp>
          <p:nvSpPr>
            <p:cNvPr id="177" name="Rectangle: Rounded Corners 176">
              <a:extLst>
                <a:ext uri="{FF2B5EF4-FFF2-40B4-BE49-F238E27FC236}">
                  <a16:creationId xmlns:a16="http://schemas.microsoft.com/office/drawing/2014/main" id="{F0F4D266-CDBD-437D-80F3-5E6134842EB7}"/>
                </a:ext>
              </a:extLst>
            </p:cNvPr>
            <p:cNvSpPr/>
            <p:nvPr/>
          </p:nvSpPr>
          <p:spPr>
            <a:xfrm>
              <a:off x="8592551" y="5294891"/>
              <a:ext cx="1848010" cy="928907"/>
            </a:xfrm>
            <a:prstGeom prst="roundRect">
              <a:avLst>
                <a:gd name="adj" fmla="val 401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78" name="Image 11">
              <a:extLst>
                <a:ext uri="{FF2B5EF4-FFF2-40B4-BE49-F238E27FC236}">
                  <a16:creationId xmlns:a16="http://schemas.microsoft.com/office/drawing/2014/main" id="{EE27ABCF-5B84-451C-AAC1-637F0B93D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75696" y="5384979"/>
              <a:ext cx="1081720" cy="7487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43672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decel="10000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decel="10000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decel="10000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decel="100000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1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decel="100000" fill="hold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1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1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decel="100000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decel="10000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5" grpId="0"/>
      <p:bldP spid="109" grpId="0" animBg="1"/>
      <p:bldP spid="110" grpId="0" animBg="1"/>
      <p:bldP spid="111" grpId="0"/>
      <p:bldP spid="137" grpId="0" animBg="1"/>
      <p:bldP spid="138" grpId="0" animBg="1"/>
      <p:bldP spid="13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C1CF50-4735-4C82-B609-5E08011D5046}"/>
              </a:ext>
            </a:extLst>
          </p:cNvPr>
          <p:cNvSpPr txBox="1"/>
          <p:nvPr/>
        </p:nvSpPr>
        <p:spPr>
          <a:xfrm>
            <a:off x="856321" y="143709"/>
            <a:ext cx="7466429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EXECUTIVE ONLINE </a:t>
            </a: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OGRAMS </a:t>
            </a:r>
            <a:endParaRPr lang="fr-FR" sz="2100" b="1" dirty="0">
              <a:solidFill>
                <a:srgbClr val="163C6B"/>
              </a:solidFill>
              <a:latin typeface="Arial" panose="020B0604020202020204" pitchFamily="34" charset="0"/>
              <a:cs typeface="DIN Pro Cond Black" panose="020B0A06020101010102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86D19C3-9FBE-42B3-89C3-FAE790B5BBB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4F530B-2312-427C-B05B-DB4CAFA06FF4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tangle: Rounded Corners 178">
            <a:extLst>
              <a:ext uri="{FF2B5EF4-FFF2-40B4-BE49-F238E27FC236}">
                <a16:creationId xmlns:a16="http://schemas.microsoft.com/office/drawing/2014/main" id="{9F2749FC-F69F-4085-B36A-A928C5F5C4BB}"/>
              </a:ext>
            </a:extLst>
          </p:cNvPr>
          <p:cNvSpPr/>
          <p:nvPr/>
        </p:nvSpPr>
        <p:spPr>
          <a:xfrm>
            <a:off x="856320" y="962051"/>
            <a:ext cx="2334802" cy="3648047"/>
          </a:xfrm>
          <a:prstGeom prst="roundRect">
            <a:avLst>
              <a:gd name="adj" fmla="val 1263"/>
            </a:avLst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80" name="Rectangle: Rounded Corners 179">
            <a:extLst>
              <a:ext uri="{FF2B5EF4-FFF2-40B4-BE49-F238E27FC236}">
                <a16:creationId xmlns:a16="http://schemas.microsoft.com/office/drawing/2014/main" id="{30708C3D-E5C0-418E-BFC1-0BE7E60E35C5}"/>
              </a:ext>
            </a:extLst>
          </p:cNvPr>
          <p:cNvSpPr/>
          <p:nvPr/>
        </p:nvSpPr>
        <p:spPr>
          <a:xfrm>
            <a:off x="856320" y="962051"/>
            <a:ext cx="2334802" cy="3648049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88000"/>
                </a:srgbClr>
              </a:gs>
              <a:gs pos="59000">
                <a:srgbClr val="003566">
                  <a:alpha val="77000"/>
                </a:srgbClr>
              </a:gs>
              <a:gs pos="100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C778D491-B861-49E2-9651-160BADDBFE70}"/>
              </a:ext>
            </a:extLst>
          </p:cNvPr>
          <p:cNvSpPr txBox="1"/>
          <p:nvPr/>
        </p:nvSpPr>
        <p:spPr>
          <a:xfrm>
            <a:off x="811189" y="1282448"/>
            <a:ext cx="2389211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35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MSC IN INNOVATION &amp; ENTREPRENEURSHIP</a:t>
            </a: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149E6FEA-5290-469C-B34C-1F5E8C6552AE}"/>
              </a:ext>
            </a:extLst>
          </p:cNvPr>
          <p:cNvGrpSpPr/>
          <p:nvPr/>
        </p:nvGrpSpPr>
        <p:grpSpPr>
          <a:xfrm>
            <a:off x="1312791" y="2969545"/>
            <a:ext cx="1386008" cy="405320"/>
            <a:chOff x="1457960" y="3177311"/>
            <a:chExt cx="1848009" cy="540426"/>
          </a:xfrm>
        </p:grpSpPr>
        <p:sp>
          <p:nvSpPr>
            <p:cNvPr id="183" name="Rectangle: Rounded Corners 182">
              <a:extLst>
                <a:ext uri="{FF2B5EF4-FFF2-40B4-BE49-F238E27FC236}">
                  <a16:creationId xmlns:a16="http://schemas.microsoft.com/office/drawing/2014/main" id="{3EF33002-ED22-4484-94A0-AD5723814AAB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84" name="Graphic 183">
              <a:extLst>
                <a:ext uri="{FF2B5EF4-FFF2-40B4-BE49-F238E27FC236}">
                  <a16:creationId xmlns:a16="http://schemas.microsoft.com/office/drawing/2014/main" id="{1A257627-BD43-402B-B1F7-28E600CA2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FD34A322-6B38-407D-AA13-729280A342FF}"/>
                </a:ext>
              </a:extLst>
            </p:cNvPr>
            <p:cNvSpPr txBox="1"/>
            <p:nvPr/>
          </p:nvSpPr>
          <p:spPr>
            <a:xfrm>
              <a:off x="2053458" y="3271291"/>
              <a:ext cx="1089084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20 MODULES</a:t>
              </a:r>
            </a:p>
          </p:txBody>
        </p: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3560B3C-04B7-4625-978A-D171DAB906B9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B466201A-7DD1-4C99-BDFC-4E609A817317}"/>
              </a:ext>
            </a:extLst>
          </p:cNvPr>
          <p:cNvGrpSpPr/>
          <p:nvPr/>
        </p:nvGrpSpPr>
        <p:grpSpPr>
          <a:xfrm>
            <a:off x="1312791" y="2107636"/>
            <a:ext cx="1386008" cy="343861"/>
            <a:chOff x="3432828" y="3177311"/>
            <a:chExt cx="1848009" cy="458481"/>
          </a:xfrm>
        </p:grpSpPr>
        <p:pic>
          <p:nvPicPr>
            <p:cNvPr id="188" name="Graphic 187">
              <a:extLst>
                <a:ext uri="{FF2B5EF4-FFF2-40B4-BE49-F238E27FC236}">
                  <a16:creationId xmlns:a16="http://schemas.microsoft.com/office/drawing/2014/main" id="{FB0A1275-23A5-41E1-B368-A8191AC37F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189" name="Rectangle: Rounded Corners 188">
              <a:extLst>
                <a:ext uri="{FF2B5EF4-FFF2-40B4-BE49-F238E27FC236}">
                  <a16:creationId xmlns:a16="http://schemas.microsoft.com/office/drawing/2014/main" id="{F7FB6D3B-D23F-4259-93E4-EC01275C82F9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35DC9BF1-19C8-4F2B-93E1-123BA65E2999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8 MONTHS</a:t>
              </a:r>
            </a:p>
          </p:txBody>
        </p: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94EB7705-15F4-4863-A289-79BE667C2199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06FAC2BF-9183-4F2C-8320-8A4E8447FB58}"/>
              </a:ext>
            </a:extLst>
          </p:cNvPr>
          <p:cNvGrpSpPr/>
          <p:nvPr/>
        </p:nvGrpSpPr>
        <p:grpSpPr>
          <a:xfrm>
            <a:off x="1312791" y="2529756"/>
            <a:ext cx="1386008" cy="343861"/>
            <a:chOff x="2537398" y="3780872"/>
            <a:chExt cx="1848009" cy="458481"/>
          </a:xfrm>
        </p:grpSpPr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2D3794E8-6282-49AB-91B5-107E4362137F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94" name="Graphic 193">
              <a:extLst>
                <a:ext uri="{FF2B5EF4-FFF2-40B4-BE49-F238E27FC236}">
                  <a16:creationId xmlns:a16="http://schemas.microsoft.com/office/drawing/2014/main" id="{5BB903C2-9EB6-4D78-8FCF-AE0D8E95F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B442DE95-5788-4B47-9991-B19C6F886881}"/>
                </a:ext>
              </a:extLst>
            </p:cNvPr>
            <p:cNvSpPr txBox="1"/>
            <p:nvPr/>
          </p:nvSpPr>
          <p:spPr>
            <a:xfrm>
              <a:off x="3142541" y="3886111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</a:t>
              </a:r>
            </a:p>
          </p:txBody>
        </p: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8E20DF21-0232-427E-BC26-1C112BD79DC4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FEF678F-9EC6-4494-A217-7D9C08AADA06}"/>
              </a:ext>
            </a:extLst>
          </p:cNvPr>
          <p:cNvGrpSpPr/>
          <p:nvPr/>
        </p:nvGrpSpPr>
        <p:grpSpPr>
          <a:xfrm>
            <a:off x="1312791" y="3410239"/>
            <a:ext cx="1386008" cy="350904"/>
            <a:chOff x="1750388" y="4662310"/>
            <a:chExt cx="1848010" cy="467871"/>
          </a:xfrm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EB5F746A-296F-437B-BF4E-C72502DAFAD7}"/>
                </a:ext>
              </a:extLst>
            </p:cNvPr>
            <p:cNvGrpSpPr/>
            <p:nvPr/>
          </p:nvGrpSpPr>
          <p:grpSpPr>
            <a:xfrm>
              <a:off x="1750388" y="4662310"/>
              <a:ext cx="1848010" cy="467871"/>
              <a:chOff x="2537398" y="3780872"/>
              <a:chExt cx="1848009" cy="467871"/>
            </a:xfrm>
          </p:grpSpPr>
          <p:sp>
            <p:nvSpPr>
              <p:cNvPr id="202" name="Rectangle: Rounded Corners 201">
                <a:extLst>
                  <a:ext uri="{FF2B5EF4-FFF2-40B4-BE49-F238E27FC236}">
                    <a16:creationId xmlns:a16="http://schemas.microsoft.com/office/drawing/2014/main" id="{601E0191-1367-4103-9BF7-0CD3C8807931}"/>
                  </a:ext>
                </a:extLst>
              </p:cNvPr>
              <p:cNvSpPr/>
              <p:nvPr/>
            </p:nvSpPr>
            <p:spPr>
              <a:xfrm>
                <a:off x="2537398" y="3780872"/>
                <a:ext cx="1848009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03" name="TextBox 202">
                <a:extLst>
                  <a:ext uri="{FF2B5EF4-FFF2-40B4-BE49-F238E27FC236}">
                    <a16:creationId xmlns:a16="http://schemas.microsoft.com/office/drawing/2014/main" id="{D0101FC0-6E1A-4B50-A40E-090FBE716939}"/>
                  </a:ext>
                </a:extLst>
              </p:cNvPr>
              <p:cNvSpPr txBox="1"/>
              <p:nvPr/>
            </p:nvSpPr>
            <p:spPr>
              <a:xfrm>
                <a:off x="3142541" y="3802297"/>
                <a:ext cx="1236402" cy="4464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2 SESSIONS EACH YEAR</a:t>
                </a:r>
              </a:p>
            </p:txBody>
          </p: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729D2376-CAF5-4A81-9B5F-12ED023F2FA3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05" name="Graphic 204">
              <a:extLst>
                <a:ext uri="{FF2B5EF4-FFF2-40B4-BE49-F238E27FC236}">
                  <a16:creationId xmlns:a16="http://schemas.microsoft.com/office/drawing/2014/main" id="{12FA7F90-891E-484B-B1B7-CE80CCE823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94502" y="4776530"/>
              <a:ext cx="229508" cy="229508"/>
            </a:xfrm>
            <a:prstGeom prst="rect">
              <a:avLst/>
            </a:prstGeom>
          </p:spPr>
        </p:pic>
      </p:grp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DA4313F6-F064-41FE-80A8-16C25B3A6B7B}"/>
              </a:ext>
            </a:extLst>
          </p:cNvPr>
          <p:cNvSpPr/>
          <p:nvPr/>
        </p:nvSpPr>
        <p:spPr>
          <a:xfrm>
            <a:off x="3422526" y="1409344"/>
            <a:ext cx="2334802" cy="3077676"/>
          </a:xfrm>
          <a:prstGeom prst="roundRect">
            <a:avLst>
              <a:gd name="adj" fmla="val 1263"/>
            </a:avLst>
          </a:pr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207" name="Rectangle: Rounded Corners 206">
            <a:extLst>
              <a:ext uri="{FF2B5EF4-FFF2-40B4-BE49-F238E27FC236}">
                <a16:creationId xmlns:a16="http://schemas.microsoft.com/office/drawing/2014/main" id="{8B3AD6B7-6F86-4A58-9AC3-DEEACE52A558}"/>
              </a:ext>
            </a:extLst>
          </p:cNvPr>
          <p:cNvSpPr/>
          <p:nvPr/>
        </p:nvSpPr>
        <p:spPr>
          <a:xfrm rot="10800000">
            <a:off x="3422522" y="1409344"/>
            <a:ext cx="2334802" cy="3093844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86000"/>
                </a:srgbClr>
              </a:gs>
              <a:gs pos="44000">
                <a:srgbClr val="003566">
                  <a:alpha val="62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BF468A31-3D04-4798-B27F-22836C900D87}"/>
              </a:ext>
            </a:extLst>
          </p:cNvPr>
          <p:cNvSpPr txBox="1"/>
          <p:nvPr/>
        </p:nvSpPr>
        <p:spPr>
          <a:xfrm>
            <a:off x="3407701" y="1578861"/>
            <a:ext cx="2364449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35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CERTIFICATE </a:t>
            </a:r>
          </a:p>
          <a:p>
            <a:pPr algn="ctr"/>
            <a:r>
              <a:rPr lang="fr-FR" sz="135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IN INNOVATION &amp; ENTREPRENEURSHIP</a:t>
            </a:r>
          </a:p>
        </p:txBody>
      </p:sp>
      <p:sp>
        <p:nvSpPr>
          <p:cNvPr id="233" name="Rectangle: Rounded Corners 232">
            <a:extLst>
              <a:ext uri="{FF2B5EF4-FFF2-40B4-BE49-F238E27FC236}">
                <a16:creationId xmlns:a16="http://schemas.microsoft.com/office/drawing/2014/main" id="{E37B2B05-86E2-4794-A7A1-E54178ADFB40}"/>
              </a:ext>
            </a:extLst>
          </p:cNvPr>
          <p:cNvSpPr/>
          <p:nvPr/>
        </p:nvSpPr>
        <p:spPr>
          <a:xfrm>
            <a:off x="5987948" y="974751"/>
            <a:ext cx="2334802" cy="3648047"/>
          </a:xfrm>
          <a:prstGeom prst="roundRect">
            <a:avLst>
              <a:gd name="adj" fmla="val 1263"/>
            </a:avLst>
          </a:prstGeom>
          <a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6BD678FD-709D-475D-B4DA-4D5B6AFD7EF0}"/>
              </a:ext>
            </a:extLst>
          </p:cNvPr>
          <p:cNvSpPr/>
          <p:nvPr/>
        </p:nvSpPr>
        <p:spPr>
          <a:xfrm>
            <a:off x="5987948" y="974751"/>
            <a:ext cx="2334802" cy="3648048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73000"/>
                </a:srgbClr>
              </a:gs>
              <a:gs pos="59000">
                <a:srgbClr val="003566">
                  <a:alpha val="77000"/>
                </a:srgbClr>
              </a:gs>
              <a:gs pos="100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E7E53D58-9E0B-4492-8961-A05AA94439FC}"/>
              </a:ext>
            </a:extLst>
          </p:cNvPr>
          <p:cNvSpPr txBox="1"/>
          <p:nvPr/>
        </p:nvSpPr>
        <p:spPr>
          <a:xfrm>
            <a:off x="6088107" y="1455446"/>
            <a:ext cx="2098631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35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EXECUTIVE ONLINE CERTIFICAT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D3E51AD-1818-4792-B5BF-19AF1D29487D}"/>
              </a:ext>
            </a:extLst>
          </p:cNvPr>
          <p:cNvGrpSpPr/>
          <p:nvPr/>
        </p:nvGrpSpPr>
        <p:grpSpPr>
          <a:xfrm>
            <a:off x="1243695" y="3854141"/>
            <a:ext cx="1593297" cy="350904"/>
            <a:chOff x="1750387" y="5254178"/>
            <a:chExt cx="2124396" cy="467871"/>
          </a:xfrm>
        </p:grpSpPr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C8909A6D-FA88-4344-A61E-6D5BB22169A7}"/>
                </a:ext>
              </a:extLst>
            </p:cNvPr>
            <p:cNvGrpSpPr/>
            <p:nvPr/>
          </p:nvGrpSpPr>
          <p:grpSpPr>
            <a:xfrm>
              <a:off x="1750387" y="5254178"/>
              <a:ext cx="2124396" cy="467871"/>
              <a:chOff x="2537397" y="3780872"/>
              <a:chExt cx="2124395" cy="467871"/>
            </a:xfrm>
          </p:grpSpPr>
          <p:sp>
            <p:nvSpPr>
              <p:cNvPr id="272" name="Rectangle: Rounded Corners 271">
                <a:extLst>
                  <a:ext uri="{FF2B5EF4-FFF2-40B4-BE49-F238E27FC236}">
                    <a16:creationId xmlns:a16="http://schemas.microsoft.com/office/drawing/2014/main" id="{0C4698CA-18D9-4A8F-B4BC-D102D5E52853}"/>
                  </a:ext>
                </a:extLst>
              </p:cNvPr>
              <p:cNvSpPr/>
              <p:nvPr/>
            </p:nvSpPr>
            <p:spPr>
              <a:xfrm>
                <a:off x="2537397" y="3780872"/>
                <a:ext cx="2007330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273" name="TextBox 272">
                <a:extLst>
                  <a:ext uri="{FF2B5EF4-FFF2-40B4-BE49-F238E27FC236}">
                    <a16:creationId xmlns:a16="http://schemas.microsoft.com/office/drawing/2014/main" id="{661F5010-2FE6-4DEF-9A7C-22F0CFDDB266}"/>
                  </a:ext>
                </a:extLst>
              </p:cNvPr>
              <p:cNvSpPr txBox="1"/>
              <p:nvPr/>
            </p:nvSpPr>
            <p:spPr>
              <a:xfrm>
                <a:off x="3142541" y="3802297"/>
                <a:ext cx="1519251" cy="4464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125 PARTICIPANTS </a:t>
                </a:r>
                <a:b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</a:br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PER SESSION </a:t>
                </a:r>
              </a:p>
            </p:txBody>
          </p: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7AB9653F-3EAD-4341-86DB-63B01E5923FB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78" name="Graphic 277">
              <a:extLst>
                <a:ext uri="{FF2B5EF4-FFF2-40B4-BE49-F238E27FC236}">
                  <a16:creationId xmlns:a16="http://schemas.microsoft.com/office/drawing/2014/main" id="{10E49F90-2AD6-471C-BCB2-7A2A5451D0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94502" y="5375506"/>
              <a:ext cx="229508" cy="229508"/>
            </a:xfrm>
            <a:prstGeom prst="rect">
              <a:avLst/>
            </a:prstGeom>
          </p:spPr>
        </p:pic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B4241124-243F-4A82-B99B-DB31A2B64C9E}"/>
              </a:ext>
            </a:extLst>
          </p:cNvPr>
          <p:cNvGrpSpPr/>
          <p:nvPr/>
        </p:nvGrpSpPr>
        <p:grpSpPr>
          <a:xfrm>
            <a:off x="3873970" y="3270887"/>
            <a:ext cx="1386008" cy="405320"/>
            <a:chOff x="1457960" y="3177311"/>
            <a:chExt cx="1848009" cy="540426"/>
          </a:xfrm>
        </p:grpSpPr>
        <p:sp>
          <p:nvSpPr>
            <p:cNvPr id="305" name="Rectangle: Rounded Corners 304">
              <a:extLst>
                <a:ext uri="{FF2B5EF4-FFF2-40B4-BE49-F238E27FC236}">
                  <a16:creationId xmlns:a16="http://schemas.microsoft.com/office/drawing/2014/main" id="{89219CC0-0A74-44BD-AABE-C5ED9D471A6C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306" name="Graphic 305">
              <a:extLst>
                <a:ext uri="{FF2B5EF4-FFF2-40B4-BE49-F238E27FC236}">
                  <a16:creationId xmlns:a16="http://schemas.microsoft.com/office/drawing/2014/main" id="{598A2E4F-EF10-4654-9010-3ADC5E497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E3C4A9E6-6F58-4419-9BE5-8C5B2D7409D7}"/>
                </a:ext>
              </a:extLst>
            </p:cNvPr>
            <p:cNvSpPr txBox="1"/>
            <p:nvPr/>
          </p:nvSpPr>
          <p:spPr>
            <a:xfrm>
              <a:off x="2053458" y="3271291"/>
              <a:ext cx="1089084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0 MODULES</a:t>
              </a:r>
            </a:p>
          </p:txBody>
        </p:sp>
        <p:cxnSp>
          <p:nvCxnSpPr>
            <p:cNvPr id="308" name="Straight Connector 307">
              <a:extLst>
                <a:ext uri="{FF2B5EF4-FFF2-40B4-BE49-F238E27FC236}">
                  <a16:creationId xmlns:a16="http://schemas.microsoft.com/office/drawing/2014/main" id="{219659A4-BD8E-4318-A552-E8DDEE15D2DF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9" name="Group 308">
            <a:extLst>
              <a:ext uri="{FF2B5EF4-FFF2-40B4-BE49-F238E27FC236}">
                <a16:creationId xmlns:a16="http://schemas.microsoft.com/office/drawing/2014/main" id="{9C17644E-6A7B-45FB-9F82-4A6030721EED}"/>
              </a:ext>
            </a:extLst>
          </p:cNvPr>
          <p:cNvGrpSpPr/>
          <p:nvPr/>
        </p:nvGrpSpPr>
        <p:grpSpPr>
          <a:xfrm>
            <a:off x="3873970" y="2408978"/>
            <a:ext cx="1386008" cy="343861"/>
            <a:chOff x="3432828" y="3177311"/>
            <a:chExt cx="1848009" cy="458481"/>
          </a:xfrm>
        </p:grpSpPr>
        <p:pic>
          <p:nvPicPr>
            <p:cNvPr id="310" name="Graphic 309">
              <a:extLst>
                <a:ext uri="{FF2B5EF4-FFF2-40B4-BE49-F238E27FC236}">
                  <a16:creationId xmlns:a16="http://schemas.microsoft.com/office/drawing/2014/main" id="{CD744D76-6EF7-46CE-8715-1426A7586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311" name="Rectangle: Rounded Corners 310">
              <a:extLst>
                <a:ext uri="{FF2B5EF4-FFF2-40B4-BE49-F238E27FC236}">
                  <a16:creationId xmlns:a16="http://schemas.microsoft.com/office/drawing/2014/main" id="{829BBF16-6F91-48DC-BE69-F5CC83C69519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A7D3CFF4-F857-422C-AABC-FB53BF70C40B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6 MONTHS</a:t>
              </a:r>
            </a:p>
          </p:txBody>
        </p:sp>
        <p:cxnSp>
          <p:nvCxnSpPr>
            <p:cNvPr id="313" name="Straight Connector 312">
              <a:extLst>
                <a:ext uri="{FF2B5EF4-FFF2-40B4-BE49-F238E27FC236}">
                  <a16:creationId xmlns:a16="http://schemas.microsoft.com/office/drawing/2014/main" id="{5D1DF0F6-6A59-41DE-B188-B72DC8F7520F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B3CD6A8C-514D-4DEB-830C-BE5DF8CCA948}"/>
              </a:ext>
            </a:extLst>
          </p:cNvPr>
          <p:cNvGrpSpPr/>
          <p:nvPr/>
        </p:nvGrpSpPr>
        <p:grpSpPr>
          <a:xfrm>
            <a:off x="3873970" y="2831098"/>
            <a:ext cx="1386008" cy="343861"/>
            <a:chOff x="2537398" y="3780872"/>
            <a:chExt cx="1848009" cy="458481"/>
          </a:xfrm>
        </p:grpSpPr>
        <p:sp>
          <p:nvSpPr>
            <p:cNvPr id="315" name="Rectangle: Rounded Corners 314">
              <a:extLst>
                <a:ext uri="{FF2B5EF4-FFF2-40B4-BE49-F238E27FC236}">
                  <a16:creationId xmlns:a16="http://schemas.microsoft.com/office/drawing/2014/main" id="{69AD775B-62D8-4363-AD8F-818B2DBC100D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316" name="Graphic 315">
              <a:extLst>
                <a:ext uri="{FF2B5EF4-FFF2-40B4-BE49-F238E27FC236}">
                  <a16:creationId xmlns:a16="http://schemas.microsoft.com/office/drawing/2014/main" id="{EB297392-ABC1-46B2-904D-00C06D6AC5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354DA13B-4F2F-48E6-9FCE-9781EE8189A0}"/>
                </a:ext>
              </a:extLst>
            </p:cNvPr>
            <p:cNvSpPr txBox="1"/>
            <p:nvPr/>
          </p:nvSpPr>
          <p:spPr>
            <a:xfrm>
              <a:off x="3142541" y="3886111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</a:t>
              </a:r>
            </a:p>
          </p:txBody>
        </p:sp>
        <p:cxnSp>
          <p:nvCxnSpPr>
            <p:cNvPr id="318" name="Straight Connector 317">
              <a:extLst>
                <a:ext uri="{FF2B5EF4-FFF2-40B4-BE49-F238E27FC236}">
                  <a16:creationId xmlns:a16="http://schemas.microsoft.com/office/drawing/2014/main" id="{0E7FE339-2C4F-4D15-B9AD-63F152359ED4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9CFAD43-898F-45DE-96F5-C927FF9AA07D}"/>
              </a:ext>
            </a:extLst>
          </p:cNvPr>
          <p:cNvGrpSpPr/>
          <p:nvPr/>
        </p:nvGrpSpPr>
        <p:grpSpPr>
          <a:xfrm>
            <a:off x="3827249" y="3711574"/>
            <a:ext cx="1663528" cy="563793"/>
            <a:chOff x="5102998" y="5254178"/>
            <a:chExt cx="2058261" cy="629541"/>
          </a:xfrm>
        </p:grpSpPr>
        <p:grpSp>
          <p:nvGrpSpPr>
            <p:cNvPr id="324" name="Group 323">
              <a:extLst>
                <a:ext uri="{FF2B5EF4-FFF2-40B4-BE49-F238E27FC236}">
                  <a16:creationId xmlns:a16="http://schemas.microsoft.com/office/drawing/2014/main" id="{5ED412FC-2F30-47E1-9E03-66CA636E5D84}"/>
                </a:ext>
              </a:extLst>
            </p:cNvPr>
            <p:cNvGrpSpPr/>
            <p:nvPr/>
          </p:nvGrpSpPr>
          <p:grpSpPr>
            <a:xfrm>
              <a:off x="5102998" y="5254178"/>
              <a:ext cx="2058261" cy="629541"/>
              <a:chOff x="2537397" y="3780872"/>
              <a:chExt cx="2058260" cy="629541"/>
            </a:xfrm>
          </p:grpSpPr>
          <p:sp>
            <p:nvSpPr>
              <p:cNvPr id="325" name="Rectangle: Rounded Corners 324">
                <a:extLst>
                  <a:ext uri="{FF2B5EF4-FFF2-40B4-BE49-F238E27FC236}">
                    <a16:creationId xmlns:a16="http://schemas.microsoft.com/office/drawing/2014/main" id="{D4252944-FB0D-4184-A19F-7A1472542796}"/>
                  </a:ext>
                </a:extLst>
              </p:cNvPr>
              <p:cNvSpPr/>
              <p:nvPr/>
            </p:nvSpPr>
            <p:spPr>
              <a:xfrm>
                <a:off x="2537397" y="3780872"/>
                <a:ext cx="1986004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326" name="TextBox 325">
                <a:extLst>
                  <a:ext uri="{FF2B5EF4-FFF2-40B4-BE49-F238E27FC236}">
                    <a16:creationId xmlns:a16="http://schemas.microsoft.com/office/drawing/2014/main" id="{C02E9E32-B83F-4527-AB5C-1F8437445767}"/>
                  </a:ext>
                </a:extLst>
              </p:cNvPr>
              <p:cNvSpPr txBox="1"/>
              <p:nvPr/>
            </p:nvSpPr>
            <p:spPr>
              <a:xfrm>
                <a:off x="3142541" y="3802297"/>
                <a:ext cx="1453116" cy="6081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100 PARTICIPANTS </a:t>
                </a:r>
                <a:b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</a:br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EACH YEAR</a:t>
                </a:r>
              </a:p>
            </p:txBody>
          </p:sp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FECAC0A8-1D53-4677-BE88-638B7AD68A62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28" name="Graphic 327">
              <a:extLst>
                <a:ext uri="{FF2B5EF4-FFF2-40B4-BE49-F238E27FC236}">
                  <a16:creationId xmlns:a16="http://schemas.microsoft.com/office/drawing/2014/main" id="{A2B93CBC-3588-44FB-BD6A-B376EE278F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47113" y="5375506"/>
              <a:ext cx="229508" cy="229508"/>
            </a:xfrm>
            <a:prstGeom prst="rect">
              <a:avLst/>
            </a:prstGeom>
          </p:spPr>
        </p:pic>
      </p:grpSp>
      <p:grpSp>
        <p:nvGrpSpPr>
          <p:cNvPr id="329" name="Group 328">
            <a:extLst>
              <a:ext uri="{FF2B5EF4-FFF2-40B4-BE49-F238E27FC236}">
                <a16:creationId xmlns:a16="http://schemas.microsoft.com/office/drawing/2014/main" id="{5616286A-A2B4-4DB2-BB1F-76B6C03320D2}"/>
              </a:ext>
            </a:extLst>
          </p:cNvPr>
          <p:cNvGrpSpPr/>
          <p:nvPr/>
        </p:nvGrpSpPr>
        <p:grpSpPr>
          <a:xfrm>
            <a:off x="6333045" y="3052193"/>
            <a:ext cx="1718909" cy="485162"/>
            <a:chOff x="1457959" y="3177311"/>
            <a:chExt cx="2291877" cy="646883"/>
          </a:xfrm>
        </p:grpSpPr>
        <p:sp>
          <p:nvSpPr>
            <p:cNvPr id="330" name="Rectangle: Rounded Corners 329">
              <a:extLst>
                <a:ext uri="{FF2B5EF4-FFF2-40B4-BE49-F238E27FC236}">
                  <a16:creationId xmlns:a16="http://schemas.microsoft.com/office/drawing/2014/main" id="{9974CE24-08D8-4E6A-BE2F-4037A2FBDBC6}"/>
                </a:ext>
              </a:extLst>
            </p:cNvPr>
            <p:cNvSpPr/>
            <p:nvPr/>
          </p:nvSpPr>
          <p:spPr>
            <a:xfrm>
              <a:off x="1457959" y="3177311"/>
              <a:ext cx="2192808" cy="646883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331" name="Graphic 330">
              <a:extLst>
                <a:ext uri="{FF2B5EF4-FFF2-40B4-BE49-F238E27FC236}">
                  <a16:creationId xmlns:a16="http://schemas.microsoft.com/office/drawing/2014/main" id="{B43CE157-AC45-43B1-A206-A95A7EF3B0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8508" y="3396519"/>
              <a:ext cx="197240" cy="197240"/>
            </a:xfrm>
            <a:prstGeom prst="rect">
              <a:avLst/>
            </a:prstGeom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72DA663B-6287-4B57-90FE-ED9FDB57DDA8}"/>
                </a:ext>
              </a:extLst>
            </p:cNvPr>
            <p:cNvSpPr txBox="1"/>
            <p:nvPr/>
          </p:nvSpPr>
          <p:spPr>
            <a:xfrm>
              <a:off x="2053459" y="3209240"/>
              <a:ext cx="1696377" cy="6081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CORPORATE FINANCE, STRATEGY, ADVANCED FINANCE</a:t>
              </a:r>
            </a:p>
          </p:txBody>
        </p:sp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F8686979-E36A-47ED-8E71-4CC5C273EE79}"/>
                </a:ext>
              </a:extLst>
            </p:cNvPr>
            <p:cNvCxnSpPr>
              <a:cxnSpLocks/>
            </p:cNvCxnSpPr>
            <p:nvPr/>
          </p:nvCxnSpPr>
          <p:spPr>
            <a:xfrm>
              <a:off x="1981197" y="3243264"/>
              <a:ext cx="0" cy="47577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0E39EA9A-1A6A-48CB-B39B-56BCE2D15CB0}"/>
              </a:ext>
            </a:extLst>
          </p:cNvPr>
          <p:cNvGrpSpPr/>
          <p:nvPr/>
        </p:nvGrpSpPr>
        <p:grpSpPr>
          <a:xfrm>
            <a:off x="6462344" y="2190285"/>
            <a:ext cx="1386008" cy="343861"/>
            <a:chOff x="3432828" y="3177311"/>
            <a:chExt cx="1848009" cy="458481"/>
          </a:xfrm>
        </p:grpSpPr>
        <p:pic>
          <p:nvPicPr>
            <p:cNvPr id="335" name="Graphic 334">
              <a:extLst>
                <a:ext uri="{FF2B5EF4-FFF2-40B4-BE49-F238E27FC236}">
                  <a16:creationId xmlns:a16="http://schemas.microsoft.com/office/drawing/2014/main" id="{EB2161E9-F276-4F31-841E-6D9DC94D2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336" name="Rectangle: Rounded Corners 335">
              <a:extLst>
                <a:ext uri="{FF2B5EF4-FFF2-40B4-BE49-F238E27FC236}">
                  <a16:creationId xmlns:a16="http://schemas.microsoft.com/office/drawing/2014/main" id="{67853BF2-393C-4809-8905-6B983F96017C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BF8B65C2-01CE-45BB-9DCE-316C3D5C473C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6 MONTHS</a:t>
              </a:r>
            </a:p>
          </p:txBody>
        </p:sp>
        <p:cxnSp>
          <p:nvCxnSpPr>
            <p:cNvPr id="338" name="Straight Connector 337">
              <a:extLst>
                <a:ext uri="{FF2B5EF4-FFF2-40B4-BE49-F238E27FC236}">
                  <a16:creationId xmlns:a16="http://schemas.microsoft.com/office/drawing/2014/main" id="{652076BD-3B75-4276-AA7D-D5D9C179D79D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6D89247D-1D54-4EB0-B03F-9EB45AC86E81}"/>
              </a:ext>
            </a:extLst>
          </p:cNvPr>
          <p:cNvGrpSpPr/>
          <p:nvPr/>
        </p:nvGrpSpPr>
        <p:grpSpPr>
          <a:xfrm>
            <a:off x="6462344" y="2612409"/>
            <a:ext cx="1386008" cy="350904"/>
            <a:chOff x="2537398" y="3780872"/>
            <a:chExt cx="1848009" cy="467871"/>
          </a:xfrm>
        </p:grpSpPr>
        <p:sp>
          <p:nvSpPr>
            <p:cNvPr id="340" name="Rectangle: Rounded Corners 339">
              <a:extLst>
                <a:ext uri="{FF2B5EF4-FFF2-40B4-BE49-F238E27FC236}">
                  <a16:creationId xmlns:a16="http://schemas.microsoft.com/office/drawing/2014/main" id="{844391E2-AFCE-498D-B1F7-DFCA10C69F4F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341" name="Graphic 340">
              <a:extLst>
                <a:ext uri="{FF2B5EF4-FFF2-40B4-BE49-F238E27FC236}">
                  <a16:creationId xmlns:a16="http://schemas.microsoft.com/office/drawing/2014/main" id="{99FA7D61-8E6D-494F-9039-EA2D9666E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id="{A92BEF1F-723E-4AF8-AA42-BB42DA3542B3}"/>
                </a:ext>
              </a:extLst>
            </p:cNvPr>
            <p:cNvSpPr txBox="1"/>
            <p:nvPr/>
          </p:nvSpPr>
          <p:spPr>
            <a:xfrm>
              <a:off x="3142541" y="3802297"/>
              <a:ext cx="1236402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 &amp; FRENCH</a:t>
              </a:r>
            </a:p>
          </p:txBody>
        </p:sp>
        <p:cxnSp>
          <p:nvCxnSpPr>
            <p:cNvPr id="343" name="Straight Connector 342">
              <a:extLst>
                <a:ext uri="{FF2B5EF4-FFF2-40B4-BE49-F238E27FC236}">
                  <a16:creationId xmlns:a16="http://schemas.microsoft.com/office/drawing/2014/main" id="{FBF348C1-BF2D-4FDD-81DD-7A2749BFD529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4" name="Group 343">
            <a:extLst>
              <a:ext uri="{FF2B5EF4-FFF2-40B4-BE49-F238E27FC236}">
                <a16:creationId xmlns:a16="http://schemas.microsoft.com/office/drawing/2014/main" id="{24EE819D-06DE-41F2-9987-B9347572C751}"/>
              </a:ext>
            </a:extLst>
          </p:cNvPr>
          <p:cNvGrpSpPr/>
          <p:nvPr/>
        </p:nvGrpSpPr>
        <p:grpSpPr>
          <a:xfrm>
            <a:off x="6273324" y="3635611"/>
            <a:ext cx="1764049" cy="350904"/>
            <a:chOff x="5141911" y="5254178"/>
            <a:chExt cx="2352065" cy="467871"/>
          </a:xfrm>
        </p:grpSpPr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C8CBFBF1-CC7D-4151-B51F-532CC01B0E83}"/>
                </a:ext>
              </a:extLst>
            </p:cNvPr>
            <p:cNvGrpSpPr/>
            <p:nvPr/>
          </p:nvGrpSpPr>
          <p:grpSpPr>
            <a:xfrm>
              <a:off x="5141911" y="5254178"/>
              <a:ext cx="2352065" cy="467871"/>
              <a:chOff x="2576310" y="3780872"/>
              <a:chExt cx="2352064" cy="467871"/>
            </a:xfrm>
          </p:grpSpPr>
          <p:sp>
            <p:nvSpPr>
              <p:cNvPr id="347" name="Rectangle: Rounded Corners 346">
                <a:extLst>
                  <a:ext uri="{FF2B5EF4-FFF2-40B4-BE49-F238E27FC236}">
                    <a16:creationId xmlns:a16="http://schemas.microsoft.com/office/drawing/2014/main" id="{0A31BBA7-4993-4C63-AE4A-75DC772F437D}"/>
                  </a:ext>
                </a:extLst>
              </p:cNvPr>
              <p:cNvSpPr/>
              <p:nvPr/>
            </p:nvSpPr>
            <p:spPr>
              <a:xfrm>
                <a:off x="2576310" y="3780872"/>
                <a:ext cx="2291877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348" name="TextBox 347">
                <a:extLst>
                  <a:ext uri="{FF2B5EF4-FFF2-40B4-BE49-F238E27FC236}">
                    <a16:creationId xmlns:a16="http://schemas.microsoft.com/office/drawing/2014/main" id="{107AEFCB-B78F-4954-ADEF-DC9D34269AB1}"/>
                  </a:ext>
                </a:extLst>
              </p:cNvPr>
              <p:cNvSpPr txBox="1"/>
              <p:nvPr/>
            </p:nvSpPr>
            <p:spPr>
              <a:xfrm>
                <a:off x="3142540" y="3802297"/>
                <a:ext cx="1785834" cy="4464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1000+ PARTICIPANTS EACH YEAR</a:t>
                </a:r>
              </a:p>
            </p:txBody>
          </p: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EEB6D447-142F-4B9B-A610-C65B9DB12258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46" name="Graphic 345">
              <a:extLst>
                <a:ext uri="{FF2B5EF4-FFF2-40B4-BE49-F238E27FC236}">
                  <a16:creationId xmlns:a16="http://schemas.microsoft.com/office/drawing/2014/main" id="{D9A4D30A-1CB4-4F4A-8F4E-A8BC537CCF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47113" y="5375506"/>
              <a:ext cx="229508" cy="229508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C1732B1-6A2F-40E2-BEB5-F85F6B20A940}"/>
              </a:ext>
            </a:extLst>
          </p:cNvPr>
          <p:cNvGrpSpPr/>
          <p:nvPr/>
        </p:nvGrpSpPr>
        <p:grpSpPr>
          <a:xfrm>
            <a:off x="6481053" y="4383318"/>
            <a:ext cx="1468863" cy="334835"/>
            <a:chOff x="8433236" y="5996823"/>
            <a:chExt cx="2166653" cy="589565"/>
          </a:xfrm>
        </p:grpSpPr>
        <p:sp>
          <p:nvSpPr>
            <p:cNvPr id="352" name="Rectangle: Rounded Corners 351">
              <a:extLst>
                <a:ext uri="{FF2B5EF4-FFF2-40B4-BE49-F238E27FC236}">
                  <a16:creationId xmlns:a16="http://schemas.microsoft.com/office/drawing/2014/main" id="{1CC79074-4670-4AF1-BC8C-5D834F6A7BB2}"/>
                </a:ext>
              </a:extLst>
            </p:cNvPr>
            <p:cNvSpPr/>
            <p:nvPr/>
          </p:nvSpPr>
          <p:spPr>
            <a:xfrm>
              <a:off x="8433236" y="5996823"/>
              <a:ext cx="2166653" cy="589565"/>
            </a:xfrm>
            <a:prstGeom prst="roundRect">
              <a:avLst>
                <a:gd name="adj" fmla="val 530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pic>
          <p:nvPicPr>
            <p:cNvPr id="353" name="Image 11">
              <a:extLst>
                <a:ext uri="{FF2B5EF4-FFF2-40B4-BE49-F238E27FC236}">
                  <a16:creationId xmlns:a16="http://schemas.microsoft.com/office/drawing/2014/main" id="{3FE0CECB-4B0F-412A-A167-8454E19789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67992" y="6090486"/>
              <a:ext cx="697140" cy="39683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6490AF3-BA74-4219-8A26-EACD0A5FA69E}"/>
              </a:ext>
            </a:extLst>
          </p:cNvPr>
          <p:cNvGrpSpPr/>
          <p:nvPr/>
        </p:nvGrpSpPr>
        <p:grpSpPr>
          <a:xfrm>
            <a:off x="1346536" y="4395581"/>
            <a:ext cx="1352258" cy="337845"/>
            <a:chOff x="1591066" y="5996823"/>
            <a:chExt cx="2166653" cy="589565"/>
          </a:xfrm>
        </p:grpSpPr>
        <p:sp>
          <p:nvSpPr>
            <p:cNvPr id="350" name="Rectangle: Rounded Corners 349">
              <a:extLst>
                <a:ext uri="{FF2B5EF4-FFF2-40B4-BE49-F238E27FC236}">
                  <a16:creationId xmlns:a16="http://schemas.microsoft.com/office/drawing/2014/main" id="{A4DDD42A-0C29-4D92-9D03-91AEEFAA8990}"/>
                </a:ext>
              </a:extLst>
            </p:cNvPr>
            <p:cNvSpPr/>
            <p:nvPr/>
          </p:nvSpPr>
          <p:spPr>
            <a:xfrm>
              <a:off x="1591066" y="5996823"/>
              <a:ext cx="2166653" cy="589565"/>
            </a:xfrm>
            <a:prstGeom prst="roundRect">
              <a:avLst>
                <a:gd name="adj" fmla="val 530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pic>
          <p:nvPicPr>
            <p:cNvPr id="355" name="Image 13">
              <a:extLst>
                <a:ext uri="{FF2B5EF4-FFF2-40B4-BE49-F238E27FC236}">
                  <a16:creationId xmlns:a16="http://schemas.microsoft.com/office/drawing/2014/main" id="{60934019-10CA-42D1-98F0-485450489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27966" y="6199658"/>
              <a:ext cx="1466110" cy="207450"/>
            </a:xfrm>
            <a:prstGeom prst="rect">
              <a:avLst/>
            </a:prstGeom>
          </p:spPr>
        </p:pic>
      </p:grpSp>
      <p:grpSp>
        <p:nvGrpSpPr>
          <p:cNvPr id="92" name="Group 7">
            <a:extLst>
              <a:ext uri="{FF2B5EF4-FFF2-40B4-BE49-F238E27FC236}">
                <a16:creationId xmlns:a16="http://schemas.microsoft.com/office/drawing/2014/main" id="{66864087-C0BC-4AFA-846D-5511A95C9201}"/>
              </a:ext>
            </a:extLst>
          </p:cNvPr>
          <p:cNvGrpSpPr/>
          <p:nvPr/>
        </p:nvGrpSpPr>
        <p:grpSpPr>
          <a:xfrm>
            <a:off x="3913406" y="4319950"/>
            <a:ext cx="1352258" cy="337845"/>
            <a:chOff x="1591066" y="5996823"/>
            <a:chExt cx="2166653" cy="589565"/>
          </a:xfrm>
        </p:grpSpPr>
        <p:sp>
          <p:nvSpPr>
            <p:cNvPr id="93" name="Rectangle: Rounded Corners 349">
              <a:extLst>
                <a:ext uri="{FF2B5EF4-FFF2-40B4-BE49-F238E27FC236}">
                  <a16:creationId xmlns:a16="http://schemas.microsoft.com/office/drawing/2014/main" id="{BB2B1869-3ACF-4146-959F-9E4BC8F0241A}"/>
                </a:ext>
              </a:extLst>
            </p:cNvPr>
            <p:cNvSpPr/>
            <p:nvPr/>
          </p:nvSpPr>
          <p:spPr>
            <a:xfrm>
              <a:off x="1591066" y="5996823"/>
              <a:ext cx="2166653" cy="589565"/>
            </a:xfrm>
            <a:prstGeom prst="roundRect">
              <a:avLst>
                <a:gd name="adj" fmla="val 530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 dirty="0">
                <a:latin typeface="Arial" panose="020B0604020202020204" pitchFamily="34" charset="0"/>
              </a:endParaRPr>
            </a:p>
          </p:txBody>
        </p:sp>
        <p:pic>
          <p:nvPicPr>
            <p:cNvPr id="94" name="Image 13">
              <a:extLst>
                <a:ext uri="{FF2B5EF4-FFF2-40B4-BE49-F238E27FC236}">
                  <a16:creationId xmlns:a16="http://schemas.microsoft.com/office/drawing/2014/main" id="{73DF12EF-56A0-4E15-A331-A0C56A071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27966" y="6199658"/>
              <a:ext cx="1466110" cy="2074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79601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75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5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decel="10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50" fill="hold"/>
                                        <p:tgtEl>
                                          <p:spTgt spid="3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3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75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75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3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750" fill="hold"/>
                                        <p:tgtEl>
                                          <p:spTgt spid="3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decel="10000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75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2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decel="10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75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decel="10000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75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75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75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decel="10000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75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decel="100000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75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75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decel="100000" fill="hold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75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750" fill="hold"/>
                                        <p:tgtEl>
                                          <p:spTgt spid="3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decel="100000" fill="hold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" grpId="0" animBg="1"/>
      <p:bldP spid="180" grpId="0" animBg="1"/>
      <p:bldP spid="181" grpId="0"/>
      <p:bldP spid="206" grpId="0" animBg="1"/>
      <p:bldP spid="207" grpId="0" animBg="1"/>
      <p:bldP spid="209" grpId="0"/>
      <p:bldP spid="233" grpId="0" animBg="1"/>
      <p:bldP spid="234" grpId="0" animBg="1"/>
      <p:bldP spid="23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53D7A9F1-B51B-4120-928B-EAA822E0CB37}"/>
              </a:ext>
            </a:extLst>
          </p:cNvPr>
          <p:cNvSpPr/>
          <p:nvPr/>
        </p:nvSpPr>
        <p:spPr>
          <a:xfrm>
            <a:off x="2966918" y="980586"/>
            <a:ext cx="1792521" cy="3648048"/>
          </a:xfrm>
          <a:prstGeom prst="roundRect">
            <a:avLst>
              <a:gd name="adj" fmla="val 1262"/>
            </a:avLst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A2A2CA96-9C9E-462D-8A2F-21F5CDA60445}"/>
              </a:ext>
            </a:extLst>
          </p:cNvPr>
          <p:cNvSpPr/>
          <p:nvPr/>
        </p:nvSpPr>
        <p:spPr>
          <a:xfrm>
            <a:off x="4904330" y="980586"/>
            <a:ext cx="1792521" cy="3648048"/>
          </a:xfrm>
          <a:prstGeom prst="roundRect">
            <a:avLst>
              <a:gd name="adj" fmla="val 1262"/>
            </a:avLst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92DFEEED-6A3E-4912-8A2C-CCBED33F3D50}"/>
              </a:ext>
            </a:extLst>
          </p:cNvPr>
          <p:cNvSpPr/>
          <p:nvPr/>
        </p:nvSpPr>
        <p:spPr>
          <a:xfrm>
            <a:off x="6841741" y="980586"/>
            <a:ext cx="1792521" cy="3648048"/>
          </a:xfrm>
          <a:prstGeom prst="roundRect">
            <a:avLst>
              <a:gd name="adj" fmla="val 1262"/>
            </a:avLst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337D6E36-471C-49D5-A640-2A8137057037}"/>
              </a:ext>
            </a:extLst>
          </p:cNvPr>
          <p:cNvSpPr/>
          <p:nvPr/>
        </p:nvSpPr>
        <p:spPr>
          <a:xfrm>
            <a:off x="2966918" y="980583"/>
            <a:ext cx="1792521" cy="3648048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0">
                <a:srgbClr val="003A70">
                  <a:alpha val="63000"/>
                </a:srgbClr>
              </a:gs>
              <a:gs pos="32000">
                <a:srgbClr val="003566">
                  <a:alpha val="62000"/>
                </a:srgbClr>
              </a:gs>
              <a:gs pos="59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C1D4158D-13DF-42EE-AFD0-3E7BCF7A1A73}"/>
              </a:ext>
            </a:extLst>
          </p:cNvPr>
          <p:cNvSpPr/>
          <p:nvPr/>
        </p:nvSpPr>
        <p:spPr>
          <a:xfrm>
            <a:off x="4904330" y="980583"/>
            <a:ext cx="1792521" cy="3648048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0">
                <a:srgbClr val="003A70">
                  <a:alpha val="63000"/>
                </a:srgbClr>
              </a:gs>
              <a:gs pos="32000">
                <a:srgbClr val="003566">
                  <a:alpha val="62000"/>
                </a:srgbClr>
              </a:gs>
              <a:gs pos="59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8306AD0B-EC86-468D-A0D4-DBC597CEF215}"/>
              </a:ext>
            </a:extLst>
          </p:cNvPr>
          <p:cNvSpPr/>
          <p:nvPr/>
        </p:nvSpPr>
        <p:spPr>
          <a:xfrm>
            <a:off x="6841741" y="980583"/>
            <a:ext cx="1792521" cy="3648048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30000"/>
                </a:srgbClr>
              </a:gs>
              <a:gs pos="32750">
                <a:srgbClr val="003566">
                  <a:alpha val="62000"/>
                </a:srgbClr>
              </a:gs>
              <a:gs pos="62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8C1CF50-4735-4C82-B609-5E08011D5046}"/>
              </a:ext>
            </a:extLst>
          </p:cNvPr>
          <p:cNvSpPr txBox="1"/>
          <p:nvPr/>
        </p:nvSpPr>
        <p:spPr>
          <a:xfrm>
            <a:off x="2450306" y="143709"/>
            <a:ext cx="4243388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EXECUTIVE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PROGRAM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86D19C3-9FBE-42B3-89C3-FAE790B5BBB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4F530B-2312-427C-B05B-DB4CAFA06FF4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0BE4E6BD-94FE-4A53-B193-E1211E0F168C}"/>
              </a:ext>
            </a:extLst>
          </p:cNvPr>
          <p:cNvSpPr/>
          <p:nvPr/>
        </p:nvSpPr>
        <p:spPr>
          <a:xfrm>
            <a:off x="487227" y="980586"/>
            <a:ext cx="2334802" cy="3648047"/>
          </a:xfrm>
          <a:prstGeom prst="roundRect">
            <a:avLst>
              <a:gd name="adj" fmla="val 1263"/>
            </a:avLst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838200" dist="457200" dir="7620000" algn="ctr" rotWithShape="0">
              <a:srgbClr val="00305C">
                <a:alpha val="4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0906416D-8AA9-4748-9C3F-0EBCAF9D287C}"/>
              </a:ext>
            </a:extLst>
          </p:cNvPr>
          <p:cNvSpPr/>
          <p:nvPr/>
        </p:nvSpPr>
        <p:spPr>
          <a:xfrm>
            <a:off x="487227" y="980583"/>
            <a:ext cx="2334802" cy="3648048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8000">
                <a:srgbClr val="003A70">
                  <a:alpha val="30000"/>
                </a:srgbClr>
              </a:gs>
              <a:gs pos="32750">
                <a:srgbClr val="003566">
                  <a:alpha val="62000"/>
                </a:srgbClr>
              </a:gs>
              <a:gs pos="62000">
                <a:srgbClr val="00305C">
                  <a:alpha val="87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98C0AF8-67BE-44E7-A536-0F5CEF4BAE2B}"/>
              </a:ext>
            </a:extLst>
          </p:cNvPr>
          <p:cNvSpPr txBox="1"/>
          <p:nvPr/>
        </p:nvSpPr>
        <p:spPr>
          <a:xfrm>
            <a:off x="844867" y="1073067"/>
            <a:ext cx="158366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EXECUTIVE</a:t>
            </a:r>
            <a:b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</a:br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MASTER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E8F6CD1-D41B-46C7-B2A2-CC5A2005458F}"/>
              </a:ext>
            </a:extLst>
          </p:cNvPr>
          <p:cNvGrpSpPr/>
          <p:nvPr/>
        </p:nvGrpSpPr>
        <p:grpSpPr>
          <a:xfrm>
            <a:off x="943697" y="1901949"/>
            <a:ext cx="1386008" cy="343861"/>
            <a:chOff x="1457960" y="3177311"/>
            <a:chExt cx="1848009" cy="458481"/>
          </a:xfrm>
        </p:grpSpPr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BE4F88A4-90C1-4D5E-88A1-5DB8F3150C7D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51116104-7D0A-4419-9DC5-0567C54FFB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3FE070F1-43FD-400C-9A3D-4FD3E9B08C22}"/>
                </a:ext>
              </a:extLst>
            </p:cNvPr>
            <p:cNvSpPr txBox="1"/>
            <p:nvPr/>
          </p:nvSpPr>
          <p:spPr>
            <a:xfrm>
              <a:off x="2053458" y="3271291"/>
              <a:ext cx="12525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PART TIME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BFA0F02-B130-46B9-A0FE-FBB2E76E49C7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ABFB1BB6-48FD-4D82-B30B-70ECEEEBF3D0}"/>
              </a:ext>
            </a:extLst>
          </p:cNvPr>
          <p:cNvGrpSpPr/>
          <p:nvPr/>
        </p:nvGrpSpPr>
        <p:grpSpPr>
          <a:xfrm>
            <a:off x="943697" y="2349595"/>
            <a:ext cx="1386008" cy="343861"/>
            <a:chOff x="3432828" y="3177311"/>
            <a:chExt cx="1848009" cy="458481"/>
          </a:xfrm>
        </p:grpSpPr>
        <p:pic>
          <p:nvPicPr>
            <p:cNvPr id="96" name="Graphic 95">
              <a:extLst>
                <a:ext uri="{FF2B5EF4-FFF2-40B4-BE49-F238E27FC236}">
                  <a16:creationId xmlns:a16="http://schemas.microsoft.com/office/drawing/2014/main" id="{FC81FD66-E907-4714-BB69-FA52B0752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2E27E64F-63A7-4374-B75D-AAF6AD6B66EB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4FB3637D-C699-4571-BB72-E06664654A0C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3-16 MONTHS</a:t>
              </a:r>
            </a:p>
          </p:txBody>
        </p: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2EADA143-843F-4218-94CC-72FA7856C1F6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CC363A4-D722-4F65-B351-606D759A3F47}"/>
              </a:ext>
            </a:extLst>
          </p:cNvPr>
          <p:cNvGrpSpPr/>
          <p:nvPr/>
        </p:nvGrpSpPr>
        <p:grpSpPr>
          <a:xfrm>
            <a:off x="943697" y="3235627"/>
            <a:ext cx="1456601" cy="350904"/>
            <a:chOff x="1258263" y="4709585"/>
            <a:chExt cx="1942134" cy="467871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DDBCF452-21BF-409D-A1FB-1FC7B41300C8}"/>
                </a:ext>
              </a:extLst>
            </p:cNvPr>
            <p:cNvGrpSpPr/>
            <p:nvPr/>
          </p:nvGrpSpPr>
          <p:grpSpPr>
            <a:xfrm>
              <a:off x="1258263" y="4709585"/>
              <a:ext cx="1942134" cy="467871"/>
              <a:chOff x="2537398" y="3780872"/>
              <a:chExt cx="1942133" cy="467871"/>
            </a:xfrm>
          </p:grpSpPr>
          <p:sp>
            <p:nvSpPr>
              <p:cNvPr id="110" name="Rectangle: Rounded Corners 109">
                <a:extLst>
                  <a:ext uri="{FF2B5EF4-FFF2-40B4-BE49-F238E27FC236}">
                    <a16:creationId xmlns:a16="http://schemas.microsoft.com/office/drawing/2014/main" id="{F896B40A-BB53-4B3C-BA26-45E5DF8ABB46}"/>
                  </a:ext>
                </a:extLst>
              </p:cNvPr>
              <p:cNvSpPr/>
              <p:nvPr/>
            </p:nvSpPr>
            <p:spPr>
              <a:xfrm>
                <a:off x="2537398" y="3780872"/>
                <a:ext cx="1848009" cy="458481"/>
              </a:xfrm>
              <a:prstGeom prst="roundRect">
                <a:avLst>
                  <a:gd name="adj" fmla="val 6799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C81DBD30-50EF-4C3F-A76A-398DAE42521E}"/>
                  </a:ext>
                </a:extLst>
              </p:cNvPr>
              <p:cNvSpPr txBox="1"/>
              <p:nvPr/>
            </p:nvSpPr>
            <p:spPr>
              <a:xfrm>
                <a:off x="3142541" y="3802297"/>
                <a:ext cx="1336990" cy="4464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fr-FR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MORE THAN 300 PARTICIPANTS </a:t>
                </a:r>
              </a:p>
            </p:txBody>
          </p: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8F846F42-6660-42D3-A1C2-68658851A006}"/>
                  </a:ext>
                </a:extLst>
              </p:cNvPr>
              <p:cNvCxnSpPr/>
              <p:nvPr/>
            </p:nvCxnSpPr>
            <p:spPr>
              <a:xfrm>
                <a:off x="3070282" y="3858083"/>
                <a:ext cx="0" cy="303926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C3CF85F6-0040-49B2-9CDB-9BBC4B4B36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402377" y="4829952"/>
              <a:ext cx="229508" cy="229508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388BB6B-657D-4E51-8630-9D109042AED0}"/>
              </a:ext>
            </a:extLst>
          </p:cNvPr>
          <p:cNvGrpSpPr/>
          <p:nvPr/>
        </p:nvGrpSpPr>
        <p:grpSpPr>
          <a:xfrm>
            <a:off x="679493" y="3679523"/>
            <a:ext cx="2062944" cy="593456"/>
            <a:chOff x="1059524" y="5301453"/>
            <a:chExt cx="2750592" cy="791275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0C0C364B-9207-4385-A5F4-6AD9B4783240}"/>
                </a:ext>
              </a:extLst>
            </p:cNvPr>
            <p:cNvGrpSpPr/>
            <p:nvPr/>
          </p:nvGrpSpPr>
          <p:grpSpPr>
            <a:xfrm>
              <a:off x="1059524" y="5301453"/>
              <a:ext cx="2750592" cy="791275"/>
              <a:chOff x="3432827" y="3177311"/>
              <a:chExt cx="2750591" cy="791275"/>
            </a:xfrm>
          </p:grpSpPr>
          <p:sp>
            <p:nvSpPr>
              <p:cNvPr id="106" name="Rectangle: Rounded Corners 105">
                <a:extLst>
                  <a:ext uri="{FF2B5EF4-FFF2-40B4-BE49-F238E27FC236}">
                    <a16:creationId xmlns:a16="http://schemas.microsoft.com/office/drawing/2014/main" id="{DCA859CA-9776-4C00-9BEB-782307D0B8F3}"/>
                  </a:ext>
                </a:extLst>
              </p:cNvPr>
              <p:cNvSpPr/>
              <p:nvPr/>
            </p:nvSpPr>
            <p:spPr>
              <a:xfrm>
                <a:off x="3432827" y="3177311"/>
                <a:ext cx="2585339" cy="760155"/>
              </a:xfrm>
              <a:prstGeom prst="roundRect">
                <a:avLst>
                  <a:gd name="adj" fmla="val 5128"/>
                </a:avLst>
              </a:prstGeom>
              <a:solidFill>
                <a:schemeClr val="bg1"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297FC55D-644B-4899-A2EF-D9CC38FAFE26}"/>
                  </a:ext>
                </a:extLst>
              </p:cNvPr>
              <p:cNvSpPr txBox="1"/>
              <p:nvPr/>
            </p:nvSpPr>
            <p:spPr>
              <a:xfrm>
                <a:off x="4044427" y="3198802"/>
                <a:ext cx="2138991" cy="7697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788" b="1" dirty="0">
                    <a:solidFill>
                      <a:schemeClr val="bg1"/>
                    </a:solidFill>
                    <a:latin typeface="Arial" panose="020B0604020202020204" pitchFamily="34" charset="0"/>
                  </a:rPr>
                  <a:t>FRANCE, CHINA, IVORY COAST, MOROCCO GREAT BRITAIN, QATAR, FRENCH OVERSEAS TERRITORIES </a:t>
                </a:r>
                <a:endParaRPr lang="fr-FR" sz="788" b="1" dirty="0">
                  <a:solidFill>
                    <a:schemeClr val="bg1"/>
                  </a:solidFill>
                  <a:latin typeface="Arial" panose="020B0604020202020204" pitchFamily="34" charset="0"/>
                </a:endParaRPr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0FD0730F-194F-4F0B-8A01-9C1FA2590FA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72169" y="3248027"/>
                <a:ext cx="0" cy="577781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DBE7835F-06F5-4E0F-85DA-1BBA20196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44695" y="5597029"/>
              <a:ext cx="169002" cy="169002"/>
            </a:xfrm>
            <a:prstGeom prst="rect">
              <a:avLst/>
            </a:prstGeom>
          </p:spPr>
        </p:pic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D6843EE-3523-42B8-90F7-1D7249C18D76}"/>
              </a:ext>
            </a:extLst>
          </p:cNvPr>
          <p:cNvGrpSpPr/>
          <p:nvPr/>
        </p:nvGrpSpPr>
        <p:grpSpPr>
          <a:xfrm>
            <a:off x="943697" y="2798525"/>
            <a:ext cx="1386008" cy="350904"/>
            <a:chOff x="2537398" y="3780872"/>
            <a:chExt cx="1848009" cy="467871"/>
          </a:xfrm>
        </p:grpSpPr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A79EC278-35B9-46A3-B705-B3AF1E0082B1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17" name="Graphic 116">
              <a:extLst>
                <a:ext uri="{FF2B5EF4-FFF2-40B4-BE49-F238E27FC236}">
                  <a16:creationId xmlns:a16="http://schemas.microsoft.com/office/drawing/2014/main" id="{C267EB45-BB5C-485A-901E-01FD88CDE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936DA084-8AA1-4B31-B2D1-0348646CFA04}"/>
                </a:ext>
              </a:extLst>
            </p:cNvPr>
            <p:cNvSpPr txBox="1"/>
            <p:nvPr/>
          </p:nvSpPr>
          <p:spPr>
            <a:xfrm>
              <a:off x="3142541" y="3802297"/>
              <a:ext cx="1236402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 &amp; FRENCH</a:t>
              </a:r>
            </a:p>
          </p:txBody>
        </p: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DB6FAE6-88B2-4FD4-83F4-DDEC82FD8985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FBB9BB35-0A9E-4865-8F51-EB94B9535FED}"/>
              </a:ext>
            </a:extLst>
          </p:cNvPr>
          <p:cNvSpPr txBox="1"/>
          <p:nvPr/>
        </p:nvSpPr>
        <p:spPr>
          <a:xfrm>
            <a:off x="3071344" y="1073067"/>
            <a:ext cx="158366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EXECUTIVE</a:t>
            </a:r>
          </a:p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CERTIFICATES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F4B86B5-2771-495A-BB42-70935D06BC8D}"/>
              </a:ext>
            </a:extLst>
          </p:cNvPr>
          <p:cNvSpPr txBox="1"/>
          <p:nvPr/>
        </p:nvSpPr>
        <p:spPr>
          <a:xfrm>
            <a:off x="5008756" y="1073068"/>
            <a:ext cx="158366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HORT PROGRAMS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54F8311-CE7A-4AF3-B16F-ECF7A803DBC9}"/>
              </a:ext>
            </a:extLst>
          </p:cNvPr>
          <p:cNvSpPr txBox="1"/>
          <p:nvPr/>
        </p:nvSpPr>
        <p:spPr>
          <a:xfrm>
            <a:off x="6946167" y="1073067"/>
            <a:ext cx="158366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500" b="1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CUSTOM PROGRAMS</a:t>
            </a: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1C951B20-3CCC-4E86-9F5B-E1B6B3E5B382}"/>
              </a:ext>
            </a:extLst>
          </p:cNvPr>
          <p:cNvGrpSpPr/>
          <p:nvPr/>
        </p:nvGrpSpPr>
        <p:grpSpPr>
          <a:xfrm>
            <a:off x="3171705" y="1901949"/>
            <a:ext cx="1386008" cy="343861"/>
            <a:chOff x="1457960" y="3177311"/>
            <a:chExt cx="1848009" cy="458481"/>
          </a:xfrm>
        </p:grpSpPr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5C966FD6-7515-4F83-BC14-C7E7A09CACDD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32" name="Graphic 131">
              <a:extLst>
                <a:ext uri="{FF2B5EF4-FFF2-40B4-BE49-F238E27FC236}">
                  <a16:creationId xmlns:a16="http://schemas.microsoft.com/office/drawing/2014/main" id="{E6F97BF2-E77D-43AE-B08E-822423B16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A8D36F0A-3ACE-463C-B2E1-6E38FDBB7E7E}"/>
                </a:ext>
              </a:extLst>
            </p:cNvPr>
            <p:cNvSpPr txBox="1"/>
            <p:nvPr/>
          </p:nvSpPr>
          <p:spPr>
            <a:xfrm>
              <a:off x="2053458" y="3271291"/>
              <a:ext cx="12525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PART TIME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3A126130-9573-4829-AC78-A69770BE0210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71B86126-D916-4F00-BD20-AF574CFC2F09}"/>
              </a:ext>
            </a:extLst>
          </p:cNvPr>
          <p:cNvGrpSpPr/>
          <p:nvPr/>
        </p:nvGrpSpPr>
        <p:grpSpPr>
          <a:xfrm>
            <a:off x="3171705" y="2349595"/>
            <a:ext cx="1386008" cy="343861"/>
            <a:chOff x="3432828" y="3177311"/>
            <a:chExt cx="1848009" cy="458481"/>
          </a:xfrm>
        </p:grpSpPr>
        <p:pic>
          <p:nvPicPr>
            <p:cNvPr id="136" name="Graphic 135">
              <a:extLst>
                <a:ext uri="{FF2B5EF4-FFF2-40B4-BE49-F238E27FC236}">
                  <a16:creationId xmlns:a16="http://schemas.microsoft.com/office/drawing/2014/main" id="{9A54FF4D-C39D-4FE5-8287-A99D75CFD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E3425056-E2B3-4C98-8718-18688A7AF497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3ED280E-6701-406D-900A-09A0C1D6C0C8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0-30 DAYS</a:t>
              </a: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77B3F95A-B71F-4ECD-92A1-B344361B5C32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1D50547C-633F-4CB6-93AD-3557544A6665}"/>
              </a:ext>
            </a:extLst>
          </p:cNvPr>
          <p:cNvGrpSpPr/>
          <p:nvPr/>
        </p:nvGrpSpPr>
        <p:grpSpPr>
          <a:xfrm>
            <a:off x="3171705" y="2798525"/>
            <a:ext cx="1386008" cy="350904"/>
            <a:chOff x="2537398" y="3780872"/>
            <a:chExt cx="1848009" cy="467871"/>
          </a:xfrm>
        </p:grpSpPr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87014D4B-F8D1-41C0-AD29-758FF84CB626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42" name="Graphic 141">
              <a:extLst>
                <a:ext uri="{FF2B5EF4-FFF2-40B4-BE49-F238E27FC236}">
                  <a16:creationId xmlns:a16="http://schemas.microsoft.com/office/drawing/2014/main" id="{BA89CACC-BC35-4048-A356-E1AD1BACD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F92A5564-6479-40AC-9AD1-13C67857CD37}"/>
                </a:ext>
              </a:extLst>
            </p:cNvPr>
            <p:cNvSpPr txBox="1"/>
            <p:nvPr/>
          </p:nvSpPr>
          <p:spPr>
            <a:xfrm>
              <a:off x="3142541" y="3802297"/>
              <a:ext cx="1236402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 &amp; FRENCH</a:t>
              </a:r>
            </a:p>
          </p:txBody>
        </p: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F15E255C-AE34-4C3A-A039-2AEFACDA0DCE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9A7D6B95-34A1-45D4-9145-7E5392BC8D21}"/>
              </a:ext>
            </a:extLst>
          </p:cNvPr>
          <p:cNvGrpSpPr/>
          <p:nvPr/>
        </p:nvGrpSpPr>
        <p:grpSpPr>
          <a:xfrm>
            <a:off x="5089282" y="1901949"/>
            <a:ext cx="1386008" cy="343861"/>
            <a:chOff x="1457960" y="3177311"/>
            <a:chExt cx="1848009" cy="458481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F34DB6E1-7B84-4A67-8F58-CF92062F0A70}"/>
                </a:ext>
              </a:extLst>
            </p:cNvPr>
            <p:cNvSpPr/>
            <p:nvPr/>
          </p:nvSpPr>
          <p:spPr>
            <a:xfrm>
              <a:off x="1457960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47" name="Graphic 146">
              <a:extLst>
                <a:ext uri="{FF2B5EF4-FFF2-40B4-BE49-F238E27FC236}">
                  <a16:creationId xmlns:a16="http://schemas.microsoft.com/office/drawing/2014/main" id="{456D24CE-BC4D-4D83-9240-6B033D4111D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98508" y="3303476"/>
              <a:ext cx="197240" cy="197240"/>
            </a:xfrm>
            <a:prstGeom prst="rect">
              <a:avLst/>
            </a:prstGeom>
          </p:spPr>
        </p:pic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A757DC8B-1E87-40D6-A6B3-0BC1E72494C8}"/>
                </a:ext>
              </a:extLst>
            </p:cNvPr>
            <p:cNvSpPr txBox="1"/>
            <p:nvPr/>
          </p:nvSpPr>
          <p:spPr>
            <a:xfrm>
              <a:off x="2053458" y="3271291"/>
              <a:ext cx="12525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PART TIME</a:t>
              </a:r>
            </a:p>
          </p:txBody>
        </p: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885C610F-4173-4C38-AD38-95D1DC7AE03B}"/>
                </a:ext>
              </a:extLst>
            </p:cNvPr>
            <p:cNvCxnSpPr/>
            <p:nvPr/>
          </p:nvCxnSpPr>
          <p:spPr>
            <a:xfrm>
              <a:off x="1981197" y="3243264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7BE534E7-0BF1-4250-B8A5-EC29BE1B57C2}"/>
              </a:ext>
            </a:extLst>
          </p:cNvPr>
          <p:cNvGrpSpPr/>
          <p:nvPr/>
        </p:nvGrpSpPr>
        <p:grpSpPr>
          <a:xfrm>
            <a:off x="5089282" y="2349595"/>
            <a:ext cx="1386008" cy="343861"/>
            <a:chOff x="3432828" y="3177311"/>
            <a:chExt cx="1848009" cy="458481"/>
          </a:xfrm>
        </p:grpSpPr>
        <p:pic>
          <p:nvPicPr>
            <p:cNvPr id="151" name="Graphic 150">
              <a:extLst>
                <a:ext uri="{FF2B5EF4-FFF2-40B4-BE49-F238E27FC236}">
                  <a16:creationId xmlns:a16="http://schemas.microsoft.com/office/drawing/2014/main" id="{1B32C9E9-8A8A-4794-B58A-011F4CF76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26015" y="3312102"/>
              <a:ext cx="185954" cy="185954"/>
            </a:xfrm>
            <a:prstGeom prst="rect">
              <a:avLst/>
            </a:prstGeom>
          </p:spPr>
        </p:pic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13E4E62B-D7E1-4AB3-8D44-9B531B759C89}"/>
                </a:ext>
              </a:extLst>
            </p:cNvPr>
            <p:cNvSpPr/>
            <p:nvPr/>
          </p:nvSpPr>
          <p:spPr>
            <a:xfrm>
              <a:off x="3432828" y="3177311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E8E1297A-FE84-4C5D-BA28-B2F26413D46E}"/>
                </a:ext>
              </a:extLst>
            </p:cNvPr>
            <p:cNvSpPr txBox="1"/>
            <p:nvPr/>
          </p:nvSpPr>
          <p:spPr>
            <a:xfrm>
              <a:off x="4044429" y="3276054"/>
              <a:ext cx="1236402" cy="2847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-8 DAYS</a:t>
              </a:r>
            </a:p>
          </p:txBody>
        </p: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AC7EC65F-0E91-4A94-A896-E9325A90504D}"/>
                </a:ext>
              </a:extLst>
            </p:cNvPr>
            <p:cNvCxnSpPr/>
            <p:nvPr/>
          </p:nvCxnSpPr>
          <p:spPr>
            <a:xfrm>
              <a:off x="3972169" y="3248027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8E2F6809-8294-45BF-B7AC-F146BD985227}"/>
              </a:ext>
            </a:extLst>
          </p:cNvPr>
          <p:cNvGrpSpPr/>
          <p:nvPr/>
        </p:nvGrpSpPr>
        <p:grpSpPr>
          <a:xfrm>
            <a:off x="5089282" y="2798525"/>
            <a:ext cx="1386008" cy="350904"/>
            <a:chOff x="2537398" y="3780872"/>
            <a:chExt cx="1848009" cy="467871"/>
          </a:xfrm>
        </p:grpSpPr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617B60E1-C41D-4E0B-829B-A8DBEB635210}"/>
                </a:ext>
              </a:extLst>
            </p:cNvPr>
            <p:cNvSpPr/>
            <p:nvPr/>
          </p:nvSpPr>
          <p:spPr>
            <a:xfrm>
              <a:off x="2537398" y="3780872"/>
              <a:ext cx="1848009" cy="458481"/>
            </a:xfrm>
            <a:prstGeom prst="roundRect">
              <a:avLst>
                <a:gd name="adj" fmla="val 6799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pic>
          <p:nvPicPr>
            <p:cNvPr id="157" name="Graphic 156">
              <a:extLst>
                <a:ext uri="{FF2B5EF4-FFF2-40B4-BE49-F238E27FC236}">
                  <a16:creationId xmlns:a16="http://schemas.microsoft.com/office/drawing/2014/main" id="{5F28EB48-CE68-45F0-8FEB-EA2BF9074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692832" y="3908775"/>
              <a:ext cx="202673" cy="202673"/>
            </a:xfrm>
            <a:prstGeom prst="rect">
              <a:avLst/>
            </a:prstGeom>
          </p:spPr>
        </p:pic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70D3AF47-A2F9-400A-8485-CA29D4AC39F1}"/>
                </a:ext>
              </a:extLst>
            </p:cNvPr>
            <p:cNvSpPr txBox="1"/>
            <p:nvPr/>
          </p:nvSpPr>
          <p:spPr>
            <a:xfrm>
              <a:off x="3142541" y="3802297"/>
              <a:ext cx="1236402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788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GLISH &amp; FRENCH</a:t>
              </a:r>
            </a:p>
          </p:txBody>
        </p: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432E2A3B-288E-409D-BD2A-E52F6990263A}"/>
                </a:ext>
              </a:extLst>
            </p:cNvPr>
            <p:cNvCxnSpPr/>
            <p:nvPr/>
          </p:nvCxnSpPr>
          <p:spPr>
            <a:xfrm>
              <a:off x="3070282" y="3858083"/>
              <a:ext cx="0" cy="3039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8D08BC95-8225-45E0-94C4-7E63D5E978B2}"/>
              </a:ext>
            </a:extLst>
          </p:cNvPr>
          <p:cNvSpPr/>
          <p:nvPr/>
        </p:nvSpPr>
        <p:spPr>
          <a:xfrm>
            <a:off x="7111579" y="1969484"/>
            <a:ext cx="1252844" cy="2141643"/>
          </a:xfrm>
          <a:prstGeom prst="roundRect">
            <a:avLst>
              <a:gd name="adj" fmla="val 1262"/>
            </a:avLst>
          </a:prstGeom>
          <a:gradFill flip="none" rotWithShape="1">
            <a:gsLst>
              <a:gs pos="0">
                <a:srgbClr val="003A70">
                  <a:alpha val="30000"/>
                </a:srgbClr>
              </a:gs>
              <a:gs pos="32750">
                <a:srgbClr val="003566">
                  <a:alpha val="62000"/>
                </a:srgbClr>
              </a:gs>
              <a:gs pos="62000">
                <a:srgbClr val="00305C">
                  <a:alpha val="87000"/>
                </a:srgbClr>
              </a:gs>
            </a:gsLst>
            <a:lin ang="5400000" scaled="1"/>
            <a:tileRect/>
          </a:gradFill>
          <a:ln w="3175">
            <a:solidFill>
              <a:schemeClr val="bg1">
                <a:alpha val="3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 dirty="0">
              <a:latin typeface="Arial" panose="020B0604020202020204" pitchFamily="34" charset="0"/>
            </a:endParaRPr>
          </a:p>
        </p:txBody>
      </p:sp>
      <p:sp>
        <p:nvSpPr>
          <p:cNvPr id="160" name="ZoneTexte 14">
            <a:extLst>
              <a:ext uri="{FF2B5EF4-FFF2-40B4-BE49-F238E27FC236}">
                <a16:creationId xmlns:a16="http://schemas.microsoft.com/office/drawing/2014/main" id="{CC614D8D-33E9-4BEC-A52F-2FA413ADF1D1}"/>
              </a:ext>
            </a:extLst>
          </p:cNvPr>
          <p:cNvSpPr txBox="1"/>
          <p:nvPr/>
        </p:nvSpPr>
        <p:spPr>
          <a:xfrm>
            <a:off x="7559587" y="2183138"/>
            <a:ext cx="91582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bg1"/>
                </a:solidFill>
                <a:latin typeface="Arial" panose="020B0604020202020204" pitchFamily="34" charset="0"/>
              </a:rPr>
              <a:t>DIAGNOSTIC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D793522-E958-49A3-9153-78D6171E10F6}"/>
              </a:ext>
            </a:extLst>
          </p:cNvPr>
          <p:cNvSpPr/>
          <p:nvPr/>
        </p:nvSpPr>
        <p:spPr>
          <a:xfrm>
            <a:off x="7222573" y="2132269"/>
            <a:ext cx="297944" cy="297944"/>
          </a:xfrm>
          <a:prstGeom prst="ellipse">
            <a:avLst/>
          </a:prstGeom>
          <a:solidFill>
            <a:schemeClr val="bg1">
              <a:alpha val="14000"/>
            </a:schemeClr>
          </a:solidFill>
          <a:ln w="6350">
            <a:solidFill>
              <a:schemeClr val="bg1">
                <a:alpha val="6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sp>
        <p:nvSpPr>
          <p:cNvPr id="167" name="ZoneTexte 14">
            <a:extLst>
              <a:ext uri="{FF2B5EF4-FFF2-40B4-BE49-F238E27FC236}">
                <a16:creationId xmlns:a16="http://schemas.microsoft.com/office/drawing/2014/main" id="{01ED03E8-9E7B-4ABA-838D-B5D192443ADD}"/>
              </a:ext>
            </a:extLst>
          </p:cNvPr>
          <p:cNvSpPr txBox="1"/>
          <p:nvPr/>
        </p:nvSpPr>
        <p:spPr>
          <a:xfrm>
            <a:off x="7559587" y="2560054"/>
            <a:ext cx="915829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bg1"/>
                </a:solidFill>
                <a:latin typeface="Arial" panose="020B0604020202020204" pitchFamily="34" charset="0"/>
              </a:rPr>
              <a:t>ADAPTATION</a:t>
            </a:r>
          </a:p>
        </p:txBody>
      </p:sp>
      <p:sp>
        <p:nvSpPr>
          <p:cNvPr id="169" name="ZoneTexte 14">
            <a:extLst>
              <a:ext uri="{FF2B5EF4-FFF2-40B4-BE49-F238E27FC236}">
                <a16:creationId xmlns:a16="http://schemas.microsoft.com/office/drawing/2014/main" id="{B427C867-8F75-4E0F-A29D-D7BD2C3BD1C1}"/>
              </a:ext>
            </a:extLst>
          </p:cNvPr>
          <p:cNvSpPr txBox="1"/>
          <p:nvPr/>
        </p:nvSpPr>
        <p:spPr>
          <a:xfrm>
            <a:off x="7559587" y="2939858"/>
            <a:ext cx="80483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bg1"/>
                </a:solidFill>
                <a:latin typeface="Arial" panose="020B0604020202020204" pitchFamily="34" charset="0"/>
              </a:rPr>
              <a:t>LEARNING</a:t>
            </a:r>
          </a:p>
        </p:txBody>
      </p:sp>
      <p:sp>
        <p:nvSpPr>
          <p:cNvPr id="171" name="ZoneTexte 14">
            <a:extLst>
              <a:ext uri="{FF2B5EF4-FFF2-40B4-BE49-F238E27FC236}">
                <a16:creationId xmlns:a16="http://schemas.microsoft.com/office/drawing/2014/main" id="{EF96CD3B-B8BF-4F27-9BBF-0754138FBE06}"/>
              </a:ext>
            </a:extLst>
          </p:cNvPr>
          <p:cNvSpPr txBox="1"/>
          <p:nvPr/>
        </p:nvSpPr>
        <p:spPr>
          <a:xfrm>
            <a:off x="7559587" y="3330176"/>
            <a:ext cx="80483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bg1"/>
                </a:solidFill>
                <a:latin typeface="Arial" panose="020B0604020202020204" pitchFamily="34" charset="0"/>
              </a:rPr>
              <a:t>ACTION</a:t>
            </a:r>
          </a:p>
        </p:txBody>
      </p:sp>
      <p:sp>
        <p:nvSpPr>
          <p:cNvPr id="173" name="ZoneTexte 14">
            <a:extLst>
              <a:ext uri="{FF2B5EF4-FFF2-40B4-BE49-F238E27FC236}">
                <a16:creationId xmlns:a16="http://schemas.microsoft.com/office/drawing/2014/main" id="{01329F8F-2D51-4999-A5AE-C6B4CE4B303C}"/>
              </a:ext>
            </a:extLst>
          </p:cNvPr>
          <p:cNvSpPr txBox="1"/>
          <p:nvPr/>
        </p:nvSpPr>
        <p:spPr>
          <a:xfrm>
            <a:off x="7559587" y="3709981"/>
            <a:ext cx="80483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25" b="1" dirty="0">
                <a:solidFill>
                  <a:schemeClr val="bg1"/>
                </a:solidFill>
                <a:latin typeface="Arial" panose="020B0604020202020204" pitchFamily="34" charset="0"/>
              </a:rPr>
              <a:t>IMPACT</a:t>
            </a: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97D42C76-C302-4480-8131-775E06982B2B}"/>
              </a:ext>
            </a:extLst>
          </p:cNvPr>
          <p:cNvSpPr/>
          <p:nvPr/>
        </p:nvSpPr>
        <p:spPr>
          <a:xfrm>
            <a:off x="7222573" y="3659112"/>
            <a:ext cx="297944" cy="297944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alpha val="64000"/>
              </a:schemeClr>
            </a:solidFill>
          </a:ln>
          <a:effectLst>
            <a:outerShdw blurRad="152400" dist="50800" dir="5400000" algn="ctr" rotWithShape="0">
              <a:schemeClr val="bg1"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23D3C6-B8ED-4EC6-BC3B-490DAA3A4615}"/>
              </a:ext>
            </a:extLst>
          </p:cNvPr>
          <p:cNvGrpSpPr/>
          <p:nvPr/>
        </p:nvGrpSpPr>
        <p:grpSpPr>
          <a:xfrm>
            <a:off x="7222573" y="2888988"/>
            <a:ext cx="297944" cy="297946"/>
            <a:chOff x="9630096" y="4247406"/>
            <a:chExt cx="397259" cy="397261"/>
          </a:xfrm>
        </p:grpSpPr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477FC326-21B5-4E93-8C45-90A9A4816340}"/>
                </a:ext>
              </a:extLst>
            </p:cNvPr>
            <p:cNvSpPr/>
            <p:nvPr/>
          </p:nvSpPr>
          <p:spPr>
            <a:xfrm>
              <a:off x="9630096" y="4247408"/>
              <a:ext cx="397259" cy="397259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 w="6350">
              <a:solidFill>
                <a:schemeClr val="bg1">
                  <a:alpha val="6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0005D455-E0EA-4577-B7AA-6B39206B0D0F}"/>
                </a:ext>
              </a:extLst>
            </p:cNvPr>
            <p:cNvSpPr/>
            <p:nvPr/>
          </p:nvSpPr>
          <p:spPr>
            <a:xfrm rot="10800000">
              <a:off x="9826666" y="4247406"/>
              <a:ext cx="200689" cy="397260"/>
            </a:xfrm>
            <a:custGeom>
              <a:avLst/>
              <a:gdLst>
                <a:gd name="connsiteX0" fmla="*/ 198630 w 200689"/>
                <a:gd name="connsiteY0" fmla="*/ 0 h 397260"/>
                <a:gd name="connsiteX1" fmla="*/ 200689 w 200689"/>
                <a:gd name="connsiteY1" fmla="*/ 208 h 397260"/>
                <a:gd name="connsiteX2" fmla="*/ 200689 w 200689"/>
                <a:gd name="connsiteY2" fmla="*/ 397053 h 397260"/>
                <a:gd name="connsiteX3" fmla="*/ 198630 w 200689"/>
                <a:gd name="connsiteY3" fmla="*/ 397260 h 397260"/>
                <a:gd name="connsiteX4" fmla="*/ 0 w 200689"/>
                <a:gd name="connsiteY4" fmla="*/ 198630 h 397260"/>
                <a:gd name="connsiteX5" fmla="*/ 198630 w 200689"/>
                <a:gd name="connsiteY5" fmla="*/ 0 h 3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689" h="397260">
                  <a:moveTo>
                    <a:pt x="198630" y="0"/>
                  </a:moveTo>
                  <a:lnTo>
                    <a:pt x="200689" y="208"/>
                  </a:lnTo>
                  <a:lnTo>
                    <a:pt x="200689" y="397053"/>
                  </a:lnTo>
                  <a:lnTo>
                    <a:pt x="198630" y="397260"/>
                  </a:lnTo>
                  <a:cubicBezTo>
                    <a:pt x="88930" y="397260"/>
                    <a:pt x="0" y="308330"/>
                    <a:pt x="0" y="198630"/>
                  </a:cubicBezTo>
                  <a:cubicBezTo>
                    <a:pt x="0" y="88930"/>
                    <a:pt x="88930" y="0"/>
                    <a:pt x="198630" y="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bg1">
                  <a:alpha val="64000"/>
                </a:schemeClr>
              </a:solidFill>
            </a:ln>
            <a:effectLst>
              <a:outerShdw blurRad="152400" dist="50800" dir="5400000" algn="ctr" rotWithShape="0">
                <a:schemeClr val="bg1">
                  <a:alpha val="3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5E6A9C2-C399-4FA9-8E96-EFD99598C553}"/>
              </a:ext>
            </a:extLst>
          </p:cNvPr>
          <p:cNvGrpSpPr/>
          <p:nvPr/>
        </p:nvGrpSpPr>
        <p:grpSpPr>
          <a:xfrm>
            <a:off x="7218503" y="3279308"/>
            <a:ext cx="297945" cy="297944"/>
            <a:chOff x="9624671" y="4767832"/>
            <a:chExt cx="397260" cy="397259"/>
          </a:xfrm>
        </p:grpSpPr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5889657A-187F-4C12-A0A8-D39FD41CC197}"/>
                </a:ext>
              </a:extLst>
            </p:cNvPr>
            <p:cNvSpPr/>
            <p:nvPr/>
          </p:nvSpPr>
          <p:spPr>
            <a:xfrm>
              <a:off x="9624671" y="4767832"/>
              <a:ext cx="397259" cy="397259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 w="6350">
              <a:solidFill>
                <a:schemeClr val="bg1">
                  <a:alpha val="6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D805A890-8AEE-4F9C-A686-74254A7DDFD2}"/>
                </a:ext>
              </a:extLst>
            </p:cNvPr>
            <p:cNvSpPr/>
            <p:nvPr/>
          </p:nvSpPr>
          <p:spPr>
            <a:xfrm>
              <a:off x="9624671" y="4775335"/>
              <a:ext cx="397260" cy="389756"/>
            </a:xfrm>
            <a:custGeom>
              <a:avLst/>
              <a:gdLst>
                <a:gd name="connsiteX0" fmla="*/ 249835 w 397260"/>
                <a:gd name="connsiteY0" fmla="*/ 0 h 389756"/>
                <a:gd name="connsiteX1" fmla="*/ 275946 w 397260"/>
                <a:gd name="connsiteY1" fmla="*/ 8105 h 389756"/>
                <a:gd name="connsiteX2" fmla="*/ 397260 w 397260"/>
                <a:gd name="connsiteY2" fmla="*/ 191126 h 389756"/>
                <a:gd name="connsiteX3" fmla="*/ 198630 w 397260"/>
                <a:gd name="connsiteY3" fmla="*/ 389756 h 389756"/>
                <a:gd name="connsiteX4" fmla="*/ 0 w 397260"/>
                <a:gd name="connsiteY4" fmla="*/ 191126 h 389756"/>
                <a:gd name="connsiteX5" fmla="*/ 0 w 397260"/>
                <a:gd name="connsiteY5" fmla="*/ 191125 h 389756"/>
                <a:gd name="connsiteX6" fmla="*/ 4035 w 397260"/>
                <a:gd name="connsiteY6" fmla="*/ 231155 h 389756"/>
                <a:gd name="connsiteX7" fmla="*/ 198630 w 397260"/>
                <a:gd name="connsiteY7" fmla="*/ 389754 h 389756"/>
                <a:gd name="connsiteX8" fmla="*/ 238661 w 397260"/>
                <a:gd name="connsiteY8" fmla="*/ 385719 h 389756"/>
                <a:gd name="connsiteX9" fmla="*/ 249838 w 397260"/>
                <a:gd name="connsiteY9" fmla="*/ 382250 h 389756"/>
                <a:gd name="connsiteX10" fmla="*/ 223730 w 397260"/>
                <a:gd name="connsiteY10" fmla="*/ 374145 h 389756"/>
                <a:gd name="connsiteX11" fmla="*/ 102416 w 397260"/>
                <a:gd name="connsiteY11" fmla="*/ 191124 h 389756"/>
                <a:gd name="connsiteX12" fmla="*/ 223730 w 397260"/>
                <a:gd name="connsiteY12" fmla="*/ 8103 h 389756"/>
                <a:gd name="connsiteX13" fmla="*/ 249835 w 397260"/>
                <a:gd name="connsiteY13" fmla="*/ 0 h 389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7260" h="389756">
                  <a:moveTo>
                    <a:pt x="249835" y="0"/>
                  </a:moveTo>
                  <a:lnTo>
                    <a:pt x="275946" y="8105"/>
                  </a:lnTo>
                  <a:cubicBezTo>
                    <a:pt x="347237" y="38259"/>
                    <a:pt x="397260" y="108851"/>
                    <a:pt x="397260" y="191126"/>
                  </a:cubicBezTo>
                  <a:cubicBezTo>
                    <a:pt x="397260" y="300826"/>
                    <a:pt x="308330" y="389756"/>
                    <a:pt x="198630" y="389756"/>
                  </a:cubicBezTo>
                  <a:cubicBezTo>
                    <a:pt x="88930" y="389756"/>
                    <a:pt x="0" y="300826"/>
                    <a:pt x="0" y="191126"/>
                  </a:cubicBezTo>
                  <a:lnTo>
                    <a:pt x="0" y="191125"/>
                  </a:lnTo>
                  <a:lnTo>
                    <a:pt x="4035" y="231155"/>
                  </a:lnTo>
                  <a:cubicBezTo>
                    <a:pt x="22557" y="321667"/>
                    <a:pt x="102642" y="389754"/>
                    <a:pt x="198630" y="389754"/>
                  </a:cubicBezTo>
                  <a:cubicBezTo>
                    <a:pt x="212342" y="389754"/>
                    <a:pt x="225730" y="388365"/>
                    <a:pt x="238661" y="385719"/>
                  </a:cubicBezTo>
                  <a:lnTo>
                    <a:pt x="249838" y="382250"/>
                  </a:lnTo>
                  <a:lnTo>
                    <a:pt x="223730" y="374145"/>
                  </a:lnTo>
                  <a:cubicBezTo>
                    <a:pt x="152439" y="343991"/>
                    <a:pt x="102416" y="273399"/>
                    <a:pt x="102416" y="191124"/>
                  </a:cubicBezTo>
                  <a:cubicBezTo>
                    <a:pt x="102416" y="108849"/>
                    <a:pt x="152439" y="38257"/>
                    <a:pt x="223730" y="8103"/>
                  </a:cubicBezTo>
                  <a:lnTo>
                    <a:pt x="249835" y="0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bg1">
                  <a:alpha val="64000"/>
                </a:schemeClr>
              </a:solidFill>
            </a:ln>
            <a:effectLst>
              <a:outerShdw blurRad="152400" dist="50800" dir="5400000" algn="ctr" rotWithShape="0">
                <a:schemeClr val="bg1">
                  <a:alpha val="3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E6C1DF6-DAD5-4AA7-BBBE-651D4DB4D29E}"/>
              </a:ext>
            </a:extLst>
          </p:cNvPr>
          <p:cNvGrpSpPr/>
          <p:nvPr/>
        </p:nvGrpSpPr>
        <p:grpSpPr>
          <a:xfrm>
            <a:off x="7222572" y="2510628"/>
            <a:ext cx="297945" cy="299833"/>
            <a:chOff x="9630096" y="3742926"/>
            <a:chExt cx="397260" cy="399777"/>
          </a:xfrm>
        </p:grpSpPr>
        <p:sp>
          <p:nvSpPr>
            <p:cNvPr id="239" name="Oval 238">
              <a:extLst>
                <a:ext uri="{FF2B5EF4-FFF2-40B4-BE49-F238E27FC236}">
                  <a16:creationId xmlns:a16="http://schemas.microsoft.com/office/drawing/2014/main" id="{02E1ED7A-5D6E-41EA-8C1B-F8D4E774C4D7}"/>
                </a:ext>
              </a:extLst>
            </p:cNvPr>
            <p:cNvSpPr/>
            <p:nvPr/>
          </p:nvSpPr>
          <p:spPr>
            <a:xfrm>
              <a:off x="9630096" y="3742926"/>
              <a:ext cx="397259" cy="397259"/>
            </a:xfrm>
            <a:prstGeom prst="ellipse">
              <a:avLst/>
            </a:prstGeom>
            <a:solidFill>
              <a:schemeClr val="bg1">
                <a:alpha val="14000"/>
              </a:schemeClr>
            </a:solidFill>
            <a:ln w="6350">
              <a:solidFill>
                <a:schemeClr val="bg1">
                  <a:alpha val="64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ABD4042A-0904-436A-92BD-508A88350BB6}"/>
                </a:ext>
              </a:extLst>
            </p:cNvPr>
            <p:cNvSpPr/>
            <p:nvPr/>
          </p:nvSpPr>
          <p:spPr>
            <a:xfrm>
              <a:off x="9784296" y="3745443"/>
              <a:ext cx="243060" cy="397260"/>
            </a:xfrm>
            <a:custGeom>
              <a:avLst/>
              <a:gdLst>
                <a:gd name="connsiteX0" fmla="*/ 44430 w 243060"/>
                <a:gd name="connsiteY0" fmla="*/ 0 h 397260"/>
                <a:gd name="connsiteX1" fmla="*/ 243060 w 243060"/>
                <a:gd name="connsiteY1" fmla="*/ 198630 h 397260"/>
                <a:gd name="connsiteX2" fmla="*/ 44430 w 243060"/>
                <a:gd name="connsiteY2" fmla="*/ 397260 h 397260"/>
                <a:gd name="connsiteX3" fmla="*/ 4399 w 243060"/>
                <a:gd name="connsiteY3" fmla="*/ 393225 h 397260"/>
                <a:gd name="connsiteX4" fmla="*/ 0 w 243060"/>
                <a:gd name="connsiteY4" fmla="*/ 391859 h 397260"/>
                <a:gd name="connsiteX5" fmla="*/ 32885 w 243060"/>
                <a:gd name="connsiteY5" fmla="*/ 381651 h 397260"/>
                <a:gd name="connsiteX6" fmla="*/ 154199 w 243060"/>
                <a:gd name="connsiteY6" fmla="*/ 198630 h 397260"/>
                <a:gd name="connsiteX7" fmla="*/ 32885 w 243060"/>
                <a:gd name="connsiteY7" fmla="*/ 15609 h 397260"/>
                <a:gd name="connsiteX8" fmla="*/ 0 w 243060"/>
                <a:gd name="connsiteY8" fmla="*/ 5401 h 397260"/>
                <a:gd name="connsiteX9" fmla="*/ 4399 w 243060"/>
                <a:gd name="connsiteY9" fmla="*/ 4035 h 397260"/>
                <a:gd name="connsiteX10" fmla="*/ 44430 w 243060"/>
                <a:gd name="connsiteY10" fmla="*/ 0 h 39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3060" h="397260">
                  <a:moveTo>
                    <a:pt x="44430" y="0"/>
                  </a:moveTo>
                  <a:cubicBezTo>
                    <a:pt x="154130" y="0"/>
                    <a:pt x="243060" y="88930"/>
                    <a:pt x="243060" y="198630"/>
                  </a:cubicBezTo>
                  <a:cubicBezTo>
                    <a:pt x="243060" y="308330"/>
                    <a:pt x="154130" y="397260"/>
                    <a:pt x="44430" y="397260"/>
                  </a:cubicBezTo>
                  <a:cubicBezTo>
                    <a:pt x="30718" y="397260"/>
                    <a:pt x="17330" y="395871"/>
                    <a:pt x="4399" y="393225"/>
                  </a:cubicBezTo>
                  <a:lnTo>
                    <a:pt x="0" y="391859"/>
                  </a:lnTo>
                  <a:lnTo>
                    <a:pt x="32885" y="381651"/>
                  </a:lnTo>
                  <a:cubicBezTo>
                    <a:pt x="104176" y="351497"/>
                    <a:pt x="154199" y="280905"/>
                    <a:pt x="154199" y="198630"/>
                  </a:cubicBezTo>
                  <a:cubicBezTo>
                    <a:pt x="154199" y="116355"/>
                    <a:pt x="104176" y="45763"/>
                    <a:pt x="32885" y="15609"/>
                  </a:cubicBezTo>
                  <a:lnTo>
                    <a:pt x="0" y="5401"/>
                  </a:lnTo>
                  <a:lnTo>
                    <a:pt x="4399" y="4035"/>
                  </a:lnTo>
                  <a:cubicBezTo>
                    <a:pt x="17330" y="1390"/>
                    <a:pt x="30718" y="0"/>
                    <a:pt x="44430" y="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bg1">
                  <a:alpha val="64000"/>
                </a:schemeClr>
              </a:solidFill>
            </a:ln>
            <a:effectLst>
              <a:outerShdw blurRad="152400" dist="50800" dir="5400000" algn="ctr" rotWithShape="0">
                <a:schemeClr val="bg1">
                  <a:alpha val="3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1597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decel="10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decel="10000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5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decel="10000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decel="10000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decel="10000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75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75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decel="10000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75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75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decel="10000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75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decel="10000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7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decel="100000" fill="hold" grpId="0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75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75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3050"/>
                            </p:stCondLst>
                            <p:childTnLst>
                              <p:par>
                                <p:cTn id="10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9.87654E-7 L 0.04392 -0.00124 " pathEditMode="relative" rAng="0" ptsTypes="AA">
                                      <p:cBhvr>
                                        <p:cTn id="118" dur="1250" spd="-100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87" y="-62"/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49" presetClass="entr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63" presetClass="path" presetSubtype="0" accel="22000" decel="78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3.88889E-6 4.19753E-6 L 0.04392 -0.00124 " pathEditMode="relative" rAng="0" ptsTypes="AA">
                                      <p:cBhvr>
                                        <p:cTn id="129" dur="1250" spd="-100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87" y="-62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49" presetClass="entr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63" presetClass="path" presetSubtype="0" accel="22000" decel="78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7 -1.23457E-6 L 0.04392 -0.00123 " pathEditMode="relative" rAng="0" ptsTypes="AA">
                                      <p:cBhvr>
                                        <p:cTn id="140" dur="1250" spd="-100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87" y="-62"/>
                                    </p:animMotion>
                                  </p:childTnLst>
                                </p:cTn>
                              </p:par>
                              <p:par>
                                <p:cTn id="141" presetID="49" presetClass="entr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63" presetClass="path" presetSubtype="0" accel="22000" decel="78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77778E-7 2.83951E-6 L 0.04392 -0.00124 " pathEditMode="relative" rAng="0" ptsTypes="AA">
                                      <p:cBhvr>
                                        <p:cTn id="151" dur="1250" spd="-100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87" y="-62"/>
                                    </p:animMotion>
                                  </p:childTnLst>
                                </p:cTn>
                              </p:par>
                              <p:par>
                                <p:cTn id="152" presetID="49" presetClass="entr" presetSubtype="0" decel="100000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115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63" presetClass="path" presetSubtype="0" accel="22000" decel="78000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animMotion origin="layout" path="M 2.77778E-7 -2.59259E-6 L 0.04392 -0.00123 " pathEditMode="relative" rAng="0" ptsTypes="AA">
                                      <p:cBhvr>
                                        <p:cTn id="162" dur="1250" spd="-100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87" y="-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22" grpId="0" animBg="1"/>
      <p:bldP spid="123" grpId="0" animBg="1"/>
      <p:bldP spid="127" grpId="0" animBg="1"/>
      <p:bldP spid="128" grpId="0" animBg="1"/>
      <p:bldP spid="129" grpId="0" animBg="1"/>
      <p:bldP spid="87" grpId="0" animBg="1"/>
      <p:bldP spid="88" grpId="0" animBg="1"/>
      <p:bldP spid="89" grpId="0"/>
      <p:bldP spid="124" grpId="0"/>
      <p:bldP spid="125" grpId="0"/>
      <p:bldP spid="126" grpId="0"/>
      <p:bldP spid="161" grpId="0" animBg="1"/>
      <p:bldP spid="160" grpId="0"/>
      <p:bldP spid="160" grpId="1"/>
      <p:bldP spid="6" grpId="0" animBg="1"/>
      <p:bldP spid="167" grpId="0"/>
      <p:bldP spid="167" grpId="1"/>
      <p:bldP spid="169" grpId="0"/>
      <p:bldP spid="169" grpId="1"/>
      <p:bldP spid="171" grpId="0"/>
      <p:bldP spid="171" grpId="1"/>
      <p:bldP spid="173" grpId="0"/>
      <p:bldP spid="173" grpId="1"/>
      <p:bldP spid="17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latin typeface="DIN" panose="02000503040000020003" pitchFamily="2" charset="0"/>
              </a:rPr>
              <a:t>HEC PARIS’ ECOSYSTEM</a:t>
            </a:r>
          </a:p>
        </p:txBody>
      </p:sp>
    </p:spTree>
    <p:extLst>
      <p:ext uri="{BB962C8B-B14F-4D97-AF65-F5344CB8AC3E}">
        <p14:creationId xmlns:p14="http://schemas.microsoft.com/office/powerpoint/2010/main" val="13901596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roup 106">
            <a:extLst>
              <a:ext uri="{FF2B5EF4-FFF2-40B4-BE49-F238E27FC236}">
                <a16:creationId xmlns:a16="http://schemas.microsoft.com/office/drawing/2014/main" id="{0FBEBF42-4D15-4656-87F9-7DDAA4407AEB}"/>
              </a:ext>
            </a:extLst>
          </p:cNvPr>
          <p:cNvGrpSpPr/>
          <p:nvPr/>
        </p:nvGrpSpPr>
        <p:grpSpPr>
          <a:xfrm>
            <a:off x="218975" y="2937433"/>
            <a:ext cx="8705849" cy="2206067"/>
            <a:chOff x="292101" y="3938939"/>
            <a:chExt cx="11607798" cy="2941423"/>
          </a:xfrm>
        </p:grpSpPr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31A558F4-47EE-4AA0-B168-943B45D9D662}"/>
                </a:ext>
              </a:extLst>
            </p:cNvPr>
            <p:cNvSpPr/>
            <p:nvPr/>
          </p:nvSpPr>
          <p:spPr>
            <a:xfrm>
              <a:off x="292101" y="3938939"/>
              <a:ext cx="11607798" cy="2941423"/>
            </a:xfrm>
            <a:custGeom>
              <a:avLst/>
              <a:gdLst>
                <a:gd name="connsiteX0" fmla="*/ 96567 w 11607798"/>
                <a:gd name="connsiteY0" fmla="*/ 0 h 2941423"/>
                <a:gd name="connsiteX1" fmla="*/ 11511231 w 11607798"/>
                <a:gd name="connsiteY1" fmla="*/ 0 h 2941423"/>
                <a:gd name="connsiteX2" fmla="*/ 11607798 w 11607798"/>
                <a:gd name="connsiteY2" fmla="*/ 96567 h 2941423"/>
                <a:gd name="connsiteX3" fmla="*/ 11607798 w 11607798"/>
                <a:gd name="connsiteY3" fmla="*/ 2667531 h 2941423"/>
                <a:gd name="connsiteX4" fmla="*/ 11607798 w 11607798"/>
                <a:gd name="connsiteY4" fmla="*/ 2844855 h 2941423"/>
                <a:gd name="connsiteX5" fmla="*/ 11607798 w 11607798"/>
                <a:gd name="connsiteY5" fmla="*/ 2941423 h 2941423"/>
                <a:gd name="connsiteX6" fmla="*/ 0 w 11607798"/>
                <a:gd name="connsiteY6" fmla="*/ 2941423 h 2941423"/>
                <a:gd name="connsiteX7" fmla="*/ 0 w 11607798"/>
                <a:gd name="connsiteY7" fmla="*/ 2844855 h 2941423"/>
                <a:gd name="connsiteX8" fmla="*/ 0 w 11607798"/>
                <a:gd name="connsiteY8" fmla="*/ 2667531 h 2941423"/>
                <a:gd name="connsiteX9" fmla="*/ 0 w 11607798"/>
                <a:gd name="connsiteY9" fmla="*/ 96567 h 2941423"/>
                <a:gd name="connsiteX10" fmla="*/ 96567 w 11607798"/>
                <a:gd name="connsiteY10" fmla="*/ 0 h 294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07798" h="2941423">
                  <a:moveTo>
                    <a:pt x="96567" y="0"/>
                  </a:moveTo>
                  <a:lnTo>
                    <a:pt x="11511231" y="0"/>
                  </a:lnTo>
                  <a:cubicBezTo>
                    <a:pt x="11564563" y="0"/>
                    <a:pt x="11607798" y="43235"/>
                    <a:pt x="11607798" y="96567"/>
                  </a:cubicBezTo>
                  <a:lnTo>
                    <a:pt x="11607798" y="2667531"/>
                  </a:lnTo>
                  <a:lnTo>
                    <a:pt x="11607798" y="2844855"/>
                  </a:lnTo>
                  <a:lnTo>
                    <a:pt x="11607798" y="2941423"/>
                  </a:lnTo>
                  <a:lnTo>
                    <a:pt x="0" y="2941423"/>
                  </a:lnTo>
                  <a:lnTo>
                    <a:pt x="0" y="2844855"/>
                  </a:lnTo>
                  <a:lnTo>
                    <a:pt x="0" y="2667531"/>
                  </a:lnTo>
                  <a:lnTo>
                    <a:pt x="0" y="96567"/>
                  </a:lnTo>
                  <a:cubicBezTo>
                    <a:pt x="0" y="43235"/>
                    <a:pt x="43235" y="0"/>
                    <a:pt x="96567" y="0"/>
                  </a:cubicBezTo>
                  <a:close/>
                </a:path>
              </a:pathLst>
            </a:cu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431800" dist="127000" dir="15840000" sx="87000" sy="87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 dirty="0">
                <a:latin typeface="Arial" panose="020B0604020202020204" pitchFamily="34" charset="0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3D911669-65DF-47F3-9E39-45183DC951DF}"/>
                </a:ext>
              </a:extLst>
            </p:cNvPr>
            <p:cNvSpPr/>
            <p:nvPr/>
          </p:nvSpPr>
          <p:spPr>
            <a:xfrm>
              <a:off x="292101" y="3938939"/>
              <a:ext cx="11607798" cy="2941423"/>
            </a:xfrm>
            <a:custGeom>
              <a:avLst/>
              <a:gdLst>
                <a:gd name="connsiteX0" fmla="*/ 96567 w 11607798"/>
                <a:gd name="connsiteY0" fmla="*/ 0 h 2941423"/>
                <a:gd name="connsiteX1" fmla="*/ 11511231 w 11607798"/>
                <a:gd name="connsiteY1" fmla="*/ 0 h 2941423"/>
                <a:gd name="connsiteX2" fmla="*/ 11607798 w 11607798"/>
                <a:gd name="connsiteY2" fmla="*/ 96567 h 2941423"/>
                <a:gd name="connsiteX3" fmla="*/ 11607798 w 11607798"/>
                <a:gd name="connsiteY3" fmla="*/ 2667531 h 2941423"/>
                <a:gd name="connsiteX4" fmla="*/ 11607798 w 11607798"/>
                <a:gd name="connsiteY4" fmla="*/ 2844855 h 2941423"/>
                <a:gd name="connsiteX5" fmla="*/ 11607798 w 11607798"/>
                <a:gd name="connsiteY5" fmla="*/ 2941423 h 2941423"/>
                <a:gd name="connsiteX6" fmla="*/ 0 w 11607798"/>
                <a:gd name="connsiteY6" fmla="*/ 2941423 h 2941423"/>
                <a:gd name="connsiteX7" fmla="*/ 0 w 11607798"/>
                <a:gd name="connsiteY7" fmla="*/ 2844855 h 2941423"/>
                <a:gd name="connsiteX8" fmla="*/ 0 w 11607798"/>
                <a:gd name="connsiteY8" fmla="*/ 2667531 h 2941423"/>
                <a:gd name="connsiteX9" fmla="*/ 0 w 11607798"/>
                <a:gd name="connsiteY9" fmla="*/ 96567 h 2941423"/>
                <a:gd name="connsiteX10" fmla="*/ 96567 w 11607798"/>
                <a:gd name="connsiteY10" fmla="*/ 0 h 2941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07798" h="2941423">
                  <a:moveTo>
                    <a:pt x="96567" y="0"/>
                  </a:moveTo>
                  <a:lnTo>
                    <a:pt x="11511231" y="0"/>
                  </a:lnTo>
                  <a:cubicBezTo>
                    <a:pt x="11564563" y="0"/>
                    <a:pt x="11607798" y="43235"/>
                    <a:pt x="11607798" y="96567"/>
                  </a:cubicBezTo>
                  <a:lnTo>
                    <a:pt x="11607798" y="2667531"/>
                  </a:lnTo>
                  <a:lnTo>
                    <a:pt x="11607798" y="2844855"/>
                  </a:lnTo>
                  <a:lnTo>
                    <a:pt x="11607798" y="2941423"/>
                  </a:lnTo>
                  <a:lnTo>
                    <a:pt x="0" y="2941423"/>
                  </a:lnTo>
                  <a:lnTo>
                    <a:pt x="0" y="2844855"/>
                  </a:lnTo>
                  <a:lnTo>
                    <a:pt x="0" y="2667531"/>
                  </a:lnTo>
                  <a:lnTo>
                    <a:pt x="0" y="96567"/>
                  </a:lnTo>
                  <a:cubicBezTo>
                    <a:pt x="0" y="43235"/>
                    <a:pt x="43235" y="0"/>
                    <a:pt x="96567" y="0"/>
                  </a:cubicBezTo>
                  <a:close/>
                </a:path>
              </a:pathLst>
            </a:custGeom>
            <a:solidFill>
              <a:srgbClr val="00305C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ZoneTexte 12">
            <a:extLst>
              <a:ext uri="{FF2B5EF4-FFF2-40B4-BE49-F238E27FC236}">
                <a16:creationId xmlns:a16="http://schemas.microsoft.com/office/drawing/2014/main" id="{0825DE4A-4AC2-4E48-A196-5AA28E7B7659}"/>
              </a:ext>
            </a:extLst>
          </p:cNvPr>
          <p:cNvSpPr txBox="1"/>
          <p:nvPr/>
        </p:nvSpPr>
        <p:spPr>
          <a:xfrm>
            <a:off x="2428674" y="930865"/>
            <a:ext cx="4286451" cy="281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fr-FR" sz="1500" cap="all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cs typeface="DIN Pro Cond Medium" panose="020B0606020101010102" pitchFamily="34" charset="0"/>
              </a:rPr>
              <a:t>IN 2022</a:t>
            </a:r>
            <a:endParaRPr lang="fr-FR" sz="1500" dirty="0">
              <a:solidFill>
                <a:schemeClr val="accent1">
                  <a:lumMod val="50000"/>
                </a:schemeClr>
              </a:solidFill>
              <a:latin typeface="Arial Black" panose="020B0A04020102020204" pitchFamily="34" charset="0"/>
              <a:cs typeface="DIN Pro Cond Medium" panose="020B0606020101010102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52F6B8-38D6-4580-8655-41F2F89F8EBA}"/>
              </a:ext>
            </a:extLst>
          </p:cNvPr>
          <p:cNvCxnSpPr>
            <a:cxnSpLocks/>
          </p:cNvCxnSpPr>
          <p:nvPr/>
        </p:nvCxnSpPr>
        <p:spPr>
          <a:xfrm>
            <a:off x="-317641" y="-754854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7E2DEF2-1F3F-4B3A-A3F4-68A3D95C4AFF}"/>
              </a:ext>
            </a:extLst>
          </p:cNvPr>
          <p:cNvCxnSpPr>
            <a:cxnSpLocks/>
          </p:cNvCxnSpPr>
          <p:nvPr/>
        </p:nvCxnSpPr>
        <p:spPr>
          <a:xfrm flipH="1">
            <a:off x="4463143" y="2967795"/>
            <a:ext cx="217715" cy="0"/>
          </a:xfrm>
          <a:prstGeom prst="line">
            <a:avLst/>
          </a:prstGeom>
          <a:ln w="76200">
            <a:solidFill>
              <a:srgbClr val="B997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2">
            <a:extLst>
              <a:ext uri="{FF2B5EF4-FFF2-40B4-BE49-F238E27FC236}">
                <a16:creationId xmlns:a16="http://schemas.microsoft.com/office/drawing/2014/main" id="{5E153823-74F9-4776-89CE-17E12FB0C791}"/>
              </a:ext>
            </a:extLst>
          </p:cNvPr>
          <p:cNvSpPr txBox="1"/>
          <p:nvPr/>
        </p:nvSpPr>
        <p:spPr>
          <a:xfrm>
            <a:off x="1619049" y="3104675"/>
            <a:ext cx="5905701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350" b="1" cap="all" dirty="0">
                <a:solidFill>
                  <a:schemeClr val="bg1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4 STRATEGIC PRIORITIES SUPPORTED BY THE HEC FOUNDATION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876C0A7-D47D-48B1-8923-7DB59B026F7A}"/>
              </a:ext>
            </a:extLst>
          </p:cNvPr>
          <p:cNvCxnSpPr>
            <a:cxnSpLocks/>
          </p:cNvCxnSpPr>
          <p:nvPr/>
        </p:nvCxnSpPr>
        <p:spPr>
          <a:xfrm flipH="1">
            <a:off x="300718" y="1977348"/>
            <a:ext cx="1619250" cy="12682"/>
          </a:xfrm>
          <a:prstGeom prst="line">
            <a:avLst/>
          </a:prstGeom>
          <a:ln>
            <a:solidFill>
              <a:schemeClr val="bg1">
                <a:alpha val="3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4871528-86D6-45E6-8A23-6D5BD8BA1F32}"/>
              </a:ext>
            </a:extLst>
          </p:cNvPr>
          <p:cNvCxnSpPr>
            <a:cxnSpLocks/>
          </p:cNvCxnSpPr>
          <p:nvPr/>
        </p:nvCxnSpPr>
        <p:spPr>
          <a:xfrm flipH="1">
            <a:off x="2028825" y="1977348"/>
            <a:ext cx="1619250" cy="12682"/>
          </a:xfrm>
          <a:prstGeom prst="line">
            <a:avLst/>
          </a:prstGeom>
          <a:ln>
            <a:solidFill>
              <a:schemeClr val="bg1">
                <a:alpha val="3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F7877B52-0DEF-45BC-916D-ACF65E16BE3F}"/>
              </a:ext>
            </a:extLst>
          </p:cNvPr>
          <p:cNvSpPr txBox="1"/>
          <p:nvPr/>
        </p:nvSpPr>
        <p:spPr>
          <a:xfrm>
            <a:off x="3751489" y="1284273"/>
            <a:ext cx="1630137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cap="all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1,600+</a:t>
            </a:r>
          </a:p>
          <a:p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students supported each year (scholarships based on social criteria, scholarships for excellence, mentoring...)</a:t>
            </a:r>
            <a:endParaRPr lang="fr-FR" sz="1050" dirty="0">
              <a:solidFill>
                <a:srgbClr val="003A70"/>
              </a:solidFill>
              <a:latin typeface="Arial" panose="020B0604020202020204" pitchFamily="34" charset="0"/>
              <a:cs typeface="DIN Pro Cond Medium" panose="020B0606020101010102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A057F36-26ED-45D2-AC5B-D9D6A0FE6D17}"/>
              </a:ext>
            </a:extLst>
          </p:cNvPr>
          <p:cNvSpPr txBox="1"/>
          <p:nvPr/>
        </p:nvSpPr>
        <p:spPr>
          <a:xfrm>
            <a:off x="5629662" y="1284273"/>
            <a:ext cx="1558606" cy="946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cap="all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€12,8M</a:t>
            </a:r>
          </a:p>
          <a:p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Contribution to the development of HEC Paris in 2022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ECB05E6-6C35-4C5E-A2B0-A032A48FFA6E}"/>
              </a:ext>
            </a:extLst>
          </p:cNvPr>
          <p:cNvSpPr txBox="1"/>
          <p:nvPr/>
        </p:nvSpPr>
        <p:spPr>
          <a:xfrm>
            <a:off x="7322005" y="1284273"/>
            <a:ext cx="1602920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cap="all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€200M</a:t>
            </a:r>
          </a:p>
          <a:p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Fundraising objective </a:t>
            </a:r>
          </a:p>
          <a:p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for the 2019 - 2024 </a:t>
            </a:r>
          </a:p>
          <a:p>
            <a:r>
              <a:rPr lang="en-US" sz="1050" i="1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« Impact tomorrow » </a:t>
            </a:r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campaign</a:t>
            </a:r>
          </a:p>
        </p:txBody>
      </p:sp>
      <p:sp>
        <p:nvSpPr>
          <p:cNvPr id="72" name="ZoneTexte 2">
            <a:extLst>
              <a:ext uri="{FF2B5EF4-FFF2-40B4-BE49-F238E27FC236}">
                <a16:creationId xmlns:a16="http://schemas.microsoft.com/office/drawing/2014/main" id="{99CB39F3-D335-4A33-BCDC-554DC81D51B1}"/>
              </a:ext>
            </a:extLst>
          </p:cNvPr>
          <p:cNvSpPr txBox="1"/>
          <p:nvPr/>
        </p:nvSpPr>
        <p:spPr>
          <a:xfrm>
            <a:off x="612004" y="3794287"/>
            <a:ext cx="23321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3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KNOWLEDGE PRODUCTION</a:t>
            </a:r>
          </a:p>
        </p:txBody>
      </p:sp>
      <p:sp>
        <p:nvSpPr>
          <p:cNvPr id="74" name="ZoneTexte 3">
            <a:extLst>
              <a:ext uri="{FF2B5EF4-FFF2-40B4-BE49-F238E27FC236}">
                <a16:creationId xmlns:a16="http://schemas.microsoft.com/office/drawing/2014/main" id="{90257C10-5130-4F99-8981-88A310C4454F}"/>
              </a:ext>
            </a:extLst>
          </p:cNvPr>
          <p:cNvSpPr txBox="1"/>
          <p:nvPr/>
        </p:nvSpPr>
        <p:spPr>
          <a:xfrm>
            <a:off x="2787344" y="3794287"/>
            <a:ext cx="19374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3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INCLUSION AND DIVERSITY</a:t>
            </a:r>
          </a:p>
        </p:txBody>
      </p:sp>
      <p:sp>
        <p:nvSpPr>
          <p:cNvPr id="76" name="ZoneTexte 4">
            <a:extLst>
              <a:ext uri="{FF2B5EF4-FFF2-40B4-BE49-F238E27FC236}">
                <a16:creationId xmlns:a16="http://schemas.microsoft.com/office/drawing/2014/main" id="{BF3E3EED-F2C8-4220-A344-3C9D72E81FA3}"/>
              </a:ext>
            </a:extLst>
          </p:cNvPr>
          <p:cNvSpPr txBox="1"/>
          <p:nvPr/>
        </p:nvSpPr>
        <p:spPr>
          <a:xfrm>
            <a:off x="4825973" y="3794287"/>
            <a:ext cx="193740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3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OCIETY AND INNOVATION</a:t>
            </a:r>
          </a:p>
        </p:txBody>
      </p:sp>
      <p:sp>
        <p:nvSpPr>
          <p:cNvPr id="78" name="ZoneTexte 5">
            <a:extLst>
              <a:ext uri="{FF2B5EF4-FFF2-40B4-BE49-F238E27FC236}">
                <a16:creationId xmlns:a16="http://schemas.microsoft.com/office/drawing/2014/main" id="{0FED63AF-2630-4300-A1CF-1CCF4AE32B7C}"/>
              </a:ext>
            </a:extLst>
          </p:cNvPr>
          <p:cNvSpPr txBox="1"/>
          <p:nvPr/>
        </p:nvSpPr>
        <p:spPr>
          <a:xfrm>
            <a:off x="6786981" y="3794287"/>
            <a:ext cx="170215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3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CAMPU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4F2A518-FBB7-484E-9B62-41628800E404}"/>
              </a:ext>
            </a:extLst>
          </p:cNvPr>
          <p:cNvSpPr txBox="1"/>
          <p:nvPr/>
        </p:nvSpPr>
        <p:spPr>
          <a:xfrm>
            <a:off x="2043113" y="143709"/>
            <a:ext cx="5057775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THE HEC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FOUNDATION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C133542-14BE-49B5-A306-3ED4E405CA3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F7935C8-E0CD-4CEC-80DE-3F60AE168C3C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Graphic 93">
            <a:extLst>
              <a:ext uri="{FF2B5EF4-FFF2-40B4-BE49-F238E27FC236}">
                <a16:creationId xmlns:a16="http://schemas.microsoft.com/office/drawing/2014/main" id="{E4AD109D-5DC5-40A3-8065-EB91BDBAB31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4736" y="3537896"/>
            <a:ext cx="165421" cy="165421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55179844-3519-4E16-8CD2-815AEAB0134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77883" y="3537895"/>
            <a:ext cx="165422" cy="165422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B379E73C-799E-4FBD-88C7-2D221222903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01873" y="3521099"/>
            <a:ext cx="199014" cy="199014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0F380579-9199-450A-8D79-27DDE31BB3D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80779" y="3506655"/>
            <a:ext cx="227902" cy="227902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65E4E3-4C1C-4CA6-8EC0-68F2D2FEC75B}"/>
              </a:ext>
            </a:extLst>
          </p:cNvPr>
          <p:cNvCxnSpPr>
            <a:cxnSpLocks/>
          </p:cNvCxnSpPr>
          <p:nvPr/>
        </p:nvCxnSpPr>
        <p:spPr>
          <a:xfrm flipH="1">
            <a:off x="4920343" y="4319072"/>
            <a:ext cx="217715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B116A9E-7050-4B67-AD50-C5F6D764F516}"/>
              </a:ext>
            </a:extLst>
          </p:cNvPr>
          <p:cNvCxnSpPr>
            <a:cxnSpLocks/>
          </p:cNvCxnSpPr>
          <p:nvPr/>
        </p:nvCxnSpPr>
        <p:spPr>
          <a:xfrm>
            <a:off x="219076" y="4290497"/>
            <a:ext cx="8705849" cy="0"/>
          </a:xfrm>
          <a:prstGeom prst="line">
            <a:avLst/>
          </a:prstGeom>
          <a:ln>
            <a:solidFill>
              <a:schemeClr val="bg1">
                <a:alpha val="2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1044961-D05D-4B54-8D19-AA8BF7378867}"/>
              </a:ext>
            </a:extLst>
          </p:cNvPr>
          <p:cNvCxnSpPr>
            <a:cxnSpLocks/>
          </p:cNvCxnSpPr>
          <p:nvPr/>
        </p:nvCxnSpPr>
        <p:spPr>
          <a:xfrm flipH="1">
            <a:off x="704736" y="4319072"/>
            <a:ext cx="217715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56A7190-733D-4E78-94FE-899B85C2ABE6}"/>
              </a:ext>
            </a:extLst>
          </p:cNvPr>
          <p:cNvCxnSpPr>
            <a:cxnSpLocks/>
          </p:cNvCxnSpPr>
          <p:nvPr/>
        </p:nvCxnSpPr>
        <p:spPr>
          <a:xfrm flipH="1">
            <a:off x="2885974" y="4319072"/>
            <a:ext cx="217715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E0ED857-F20B-44E0-8513-20AD353DDF00}"/>
              </a:ext>
            </a:extLst>
          </p:cNvPr>
          <p:cNvCxnSpPr>
            <a:cxnSpLocks/>
          </p:cNvCxnSpPr>
          <p:nvPr/>
        </p:nvCxnSpPr>
        <p:spPr>
          <a:xfrm flipH="1">
            <a:off x="6880778" y="4319072"/>
            <a:ext cx="217715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4">
            <a:extLst>
              <a:ext uri="{FF2B5EF4-FFF2-40B4-BE49-F238E27FC236}">
                <a16:creationId xmlns:a16="http://schemas.microsoft.com/office/drawing/2014/main" id="{BF3E3EED-F2C8-4220-A344-3C9D72E81FA3}"/>
              </a:ext>
            </a:extLst>
          </p:cNvPr>
          <p:cNvSpPr txBox="1"/>
          <p:nvPr/>
        </p:nvSpPr>
        <p:spPr>
          <a:xfrm>
            <a:off x="612004" y="4420132"/>
            <a:ext cx="1937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(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Research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, 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grants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 for</a:t>
            </a:r>
            <a:b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</a:b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doctoral 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tudents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 …)</a:t>
            </a:r>
          </a:p>
        </p:txBody>
      </p:sp>
      <p:sp>
        <p:nvSpPr>
          <p:cNvPr id="40" name="ZoneTexte 4">
            <a:extLst>
              <a:ext uri="{FF2B5EF4-FFF2-40B4-BE49-F238E27FC236}">
                <a16:creationId xmlns:a16="http://schemas.microsoft.com/office/drawing/2014/main" id="{BF3E3EED-F2C8-4220-A344-3C9D72E81FA3}"/>
              </a:ext>
            </a:extLst>
          </p:cNvPr>
          <p:cNvSpPr txBox="1"/>
          <p:nvPr/>
        </p:nvSpPr>
        <p:spPr>
          <a:xfrm>
            <a:off x="2757228" y="4420131"/>
            <a:ext cx="1937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(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cholarships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, 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tudent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 services ...)</a:t>
            </a:r>
          </a:p>
        </p:txBody>
      </p:sp>
      <p:sp>
        <p:nvSpPr>
          <p:cNvPr id="44" name="ZoneTexte 4">
            <a:extLst>
              <a:ext uri="{FF2B5EF4-FFF2-40B4-BE49-F238E27FC236}">
                <a16:creationId xmlns:a16="http://schemas.microsoft.com/office/drawing/2014/main" id="{BF3E3EED-F2C8-4220-A344-3C9D72E81FA3}"/>
              </a:ext>
            </a:extLst>
          </p:cNvPr>
          <p:cNvSpPr txBox="1"/>
          <p:nvPr/>
        </p:nvSpPr>
        <p:spPr>
          <a:xfrm>
            <a:off x="4820579" y="4421580"/>
            <a:ext cx="1937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(Social 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responsibility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, S&amp;O, 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Entrepreneurship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 ...)</a:t>
            </a:r>
          </a:p>
        </p:txBody>
      </p:sp>
      <p:sp>
        <p:nvSpPr>
          <p:cNvPr id="46" name="ZoneTexte 4">
            <a:extLst>
              <a:ext uri="{FF2B5EF4-FFF2-40B4-BE49-F238E27FC236}">
                <a16:creationId xmlns:a16="http://schemas.microsoft.com/office/drawing/2014/main" id="{BF3E3EED-F2C8-4220-A344-3C9D72E81FA3}"/>
              </a:ext>
            </a:extLst>
          </p:cNvPr>
          <p:cNvSpPr txBox="1"/>
          <p:nvPr/>
        </p:nvSpPr>
        <p:spPr>
          <a:xfrm>
            <a:off x="6757982" y="4421580"/>
            <a:ext cx="19374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(</a:t>
            </a:r>
            <a:r>
              <a:rPr lang="fr-FR" sz="1050" b="1" dirty="0" err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Renovation</a:t>
            </a:r>
            <a:r>
              <a:rPr lang="fr-FR" sz="105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, digital transformation ...)</a:t>
            </a:r>
          </a:p>
        </p:txBody>
      </p:sp>
      <p:sp>
        <p:nvSpPr>
          <p:cNvPr id="47" name="TextBox 57">
            <a:extLst>
              <a:ext uri="{FF2B5EF4-FFF2-40B4-BE49-F238E27FC236}">
                <a16:creationId xmlns:a16="http://schemas.microsoft.com/office/drawing/2014/main" id="{F7877B52-0DEF-45BC-916D-ACF65E16BE3F}"/>
              </a:ext>
            </a:extLst>
          </p:cNvPr>
          <p:cNvSpPr txBox="1"/>
          <p:nvPr/>
        </p:nvSpPr>
        <p:spPr>
          <a:xfrm>
            <a:off x="2139341" y="1284273"/>
            <a:ext cx="163013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cap="all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36</a:t>
            </a:r>
          </a:p>
          <a:p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corporate partners mobilized at our side</a:t>
            </a:r>
            <a:endParaRPr lang="fr-FR" sz="1050" dirty="0">
              <a:solidFill>
                <a:srgbClr val="003A70"/>
              </a:solidFill>
              <a:latin typeface="Arial" panose="020B0604020202020204" pitchFamily="34" charset="0"/>
              <a:cs typeface="DIN Pro Cond Medium" panose="020B0606020101010102" pitchFamily="34" charset="0"/>
            </a:endParaRPr>
          </a:p>
        </p:txBody>
      </p:sp>
      <p:sp>
        <p:nvSpPr>
          <p:cNvPr id="49" name="TextBox 57">
            <a:extLst>
              <a:ext uri="{FF2B5EF4-FFF2-40B4-BE49-F238E27FC236}">
                <a16:creationId xmlns:a16="http://schemas.microsoft.com/office/drawing/2014/main" id="{F7877B52-0DEF-45BC-916D-ACF65E16BE3F}"/>
              </a:ext>
            </a:extLst>
          </p:cNvPr>
          <p:cNvSpPr txBox="1"/>
          <p:nvPr/>
        </p:nvSpPr>
        <p:spPr>
          <a:xfrm>
            <a:off x="218976" y="1282900"/>
            <a:ext cx="173899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More than</a:t>
            </a:r>
            <a:r>
              <a:rPr lang="fr-FR" sz="2400" b="1" cap="all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14,000</a:t>
            </a:r>
          </a:p>
          <a:p>
            <a:r>
              <a:rPr lang="en-US" sz="1050" dirty="0">
                <a:solidFill>
                  <a:srgbClr val="003A70"/>
                </a:solidFill>
                <a:latin typeface="Arial" panose="020B0604020202020204" pitchFamily="34" charset="0"/>
                <a:cs typeface="DIN Pro Cond Medium" panose="020B0606020101010102" pitchFamily="34" charset="0"/>
              </a:rPr>
              <a:t>alumni have already made at least one donation to the HEC Foundation</a:t>
            </a:r>
            <a:endParaRPr lang="fr-FR" sz="1050" dirty="0">
              <a:solidFill>
                <a:srgbClr val="003A70"/>
              </a:solidFill>
              <a:latin typeface="Arial" panose="020B0604020202020204" pitchFamily="34" charset="0"/>
              <a:cs typeface="DIN Pro Cond Medium" panose="020B0606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3502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3.33333E-6 L 0.04566 -3.33333E-6 " pathEditMode="relative" rAng="0" ptsTypes="AA">
                                      <p:cBhvr>
                                        <p:cTn id="15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4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3" presetClass="path" presetSubtype="0" accel="22000" decel="78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44444E-6 1.11111E-6 L 0.04566 1.11111E-6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4" y="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3" presetClass="path" presetSubtype="0" accel="22000" decel="78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94444E-6 3.33333E-6 L 0.04566 3.33333E-6 " pathEditMode="relative" rAng="0" ptsTypes="AA">
                                      <p:cBhvr>
                                        <p:cTn id="25" dur="750" spd="-100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4" y="0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accel="22000" decel="78000" fill="hold" grpId="1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1.94444E-6 2.59259E-6 L 0.04566 2.59259E-6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4" y="0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3" presetClass="path" presetSubtype="0" accel="22000" decel="78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 1.11111E-6 L 0.0457 1.11111E-6 " pathEditMode="relative" rAng="0" ptsTypes="AA">
                                      <p:cBhvr>
                                        <p:cTn id="42" dur="7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49" presetClass="entr" presetSubtype="0" decel="100000" fill="hold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8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0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1" presetID="49" presetClass="entr" presetSubtype="0" decel="100000" fill="hold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8" presetClass="emph" presetSubtype="0" decel="100000" fill="hold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5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49" presetClass="entr" presetSubtype="0" decel="100000" fill="hold" nodeType="withEffect">
                                  <p:stCondLst>
                                    <p:cond delay="8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8" presetClass="emph" presetSubtype="0" decel="100000" fill="hold" nodeType="withEffect">
                                  <p:stCondLst>
                                    <p:cond delay="8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66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7" presetID="49" presetClass="entr" presetSubtype="0" decel="100000" fill="hold" nodeType="withEffect">
                                  <p:stCondLst>
                                    <p:cond delay="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8" presetClass="emph" presetSubtype="0" decel="100000" fill="hold" nodeType="withEffect">
                                  <p:stCondLst>
                                    <p:cond delay="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Rot by="21600000">
                                      <p:cBhvr>
                                        <p:cTn id="74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3" presetClass="path" presetSubtype="0" accel="22000" decel="78000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animMotion origin="layout" path="M -1.04167E-6 -2.22222E-6 L 0.0457 -2.22222E-6 " pathEditMode="relative" rAng="0" ptsTypes="AA">
                                      <p:cBhvr>
                                        <p:cTn id="79" dur="75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63" presetClass="path" presetSubtype="0" accel="22000" decel="78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91667E-6 -2.22222E-6 L 0.0457 -2.22222E-6 " pathEditMode="relative" rAng="0" ptsTypes="AA">
                                      <p:cBhvr>
                                        <p:cTn id="84" dur="75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63" presetClass="path" presetSubtype="0" accel="22000" decel="7800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3.95833E-6 -2.22222E-6 L 0.04571 -2.22222E-6 " pathEditMode="relative" rAng="0" ptsTypes="AA">
                                      <p:cBhvr>
                                        <p:cTn id="89" dur="75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63" presetClass="path" presetSubtype="0" accel="22000" decel="78000" fill="hold" grpId="1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3.54167E-6 -3.33333E-6 L 0.0457 -3.33333E-6 " pathEditMode="relative" rAng="0" ptsTypes="AA">
                                      <p:cBhvr>
                                        <p:cTn id="94" dur="75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63" presetClass="path" presetSubtype="0" accel="22000" decel="7800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3.54167E-6 -3.7037E-6 L 0.0457 -3.7037E-6 " pathEditMode="relative" rAng="0" ptsTypes="AA">
                                      <p:cBhvr>
                                        <p:cTn id="114" dur="75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63" presetClass="path" presetSubtype="0" accel="22000" decel="7800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1.875E-6 -3.7037E-6 L 0.04571 -3.7037E-6 " pathEditMode="relative" rAng="0" ptsTypes="AA">
                                      <p:cBhvr>
                                        <p:cTn id="119" dur="75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3" presetClass="path" presetSubtype="0" accel="22000" decel="7800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2.91667E-6 4.81481E-6 L 0.04571 4.81481E-6 " pathEditMode="relative" rAng="0" ptsTypes="AA">
                                      <p:cBhvr>
                                        <p:cTn id="124" dur="75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63" presetClass="path" presetSubtype="0" accel="22000" decel="78000" fill="hold" grpId="1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1.875E-6 4.07407E-6 L 0.04571 4.07407E-6 " pathEditMode="relative" rAng="0" ptsTypes="AA">
                                      <p:cBhvr>
                                        <p:cTn id="129" dur="75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63" presetClass="path" presetSubtype="0" accel="22000" decel="78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2.77778E-7 4.07407E-6 L 0.04566 4.07407E-6 " pathEditMode="relative" rAng="0" ptsTypes="AA">
                                      <p:cBhvr>
                                        <p:cTn id="134" dur="75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4" y="0"/>
                                    </p:animMotion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63" presetClass="path" presetSubtype="0" accel="22000" decel="78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61111E-6 1.23457E-6 L 0.04566 1.23457E-6 " pathEditMode="relative" rAng="0" ptsTypes="AA">
                                      <p:cBhvr>
                                        <p:cTn id="139" dur="75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  <p:bldP spid="19" grpId="0"/>
      <p:bldP spid="19" grpId="1"/>
      <p:bldP spid="58" grpId="0"/>
      <p:bldP spid="58" grpId="1"/>
      <p:bldP spid="62" grpId="0"/>
      <p:bldP spid="62" grpId="1"/>
      <p:bldP spid="66" grpId="0"/>
      <p:bldP spid="66" grpId="1"/>
      <p:bldP spid="72" grpId="0"/>
      <p:bldP spid="72" grpId="1"/>
      <p:bldP spid="74" grpId="0"/>
      <p:bldP spid="74" grpId="1"/>
      <p:bldP spid="76" grpId="0"/>
      <p:bldP spid="76" grpId="1"/>
      <p:bldP spid="78" grpId="0"/>
      <p:bldP spid="78" grpId="1"/>
      <p:bldP spid="39" grpId="0"/>
      <p:bldP spid="39" grpId="1"/>
      <p:bldP spid="40" grpId="0"/>
      <p:bldP spid="40" grpId="1"/>
      <p:bldP spid="44" grpId="0"/>
      <p:bldP spid="44" grpId="1"/>
      <p:bldP spid="46" grpId="0"/>
      <p:bldP spid="46" grpId="1"/>
      <p:bldP spid="47" grpId="0"/>
      <p:bldP spid="47" grpId="1"/>
      <p:bldP spid="49" grpId="0"/>
      <p:bldP spid="49" grpId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52F6B8-38D6-4580-8655-41F2F89F8EBA}"/>
              </a:ext>
            </a:extLst>
          </p:cNvPr>
          <p:cNvCxnSpPr>
            <a:cxnSpLocks/>
          </p:cNvCxnSpPr>
          <p:nvPr/>
        </p:nvCxnSpPr>
        <p:spPr>
          <a:xfrm>
            <a:off x="-317641" y="-754854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4F2A518-FBB7-484E-9B62-41628800E404}"/>
              </a:ext>
            </a:extLst>
          </p:cNvPr>
          <p:cNvSpPr txBox="1"/>
          <p:nvPr/>
        </p:nvSpPr>
        <p:spPr>
          <a:xfrm>
            <a:off x="3076575" y="143709"/>
            <a:ext cx="2990850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 dirty="0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HEC </a:t>
            </a:r>
            <a:r>
              <a:rPr lang="fr-FR" sz="2100" b="1" dirty="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ALUMNI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C133542-14BE-49B5-A306-3ED4E405CA39}"/>
              </a:ext>
            </a:extLst>
          </p:cNvPr>
          <p:cNvCxnSpPr>
            <a:cxnSpLocks/>
          </p:cNvCxnSpPr>
          <p:nvPr/>
        </p:nvCxnSpPr>
        <p:spPr>
          <a:xfrm flipH="1">
            <a:off x="4463143" y="85212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F7935C8-E0CD-4CEC-80DE-3F60AE168C3C}"/>
              </a:ext>
            </a:extLst>
          </p:cNvPr>
          <p:cNvCxnSpPr>
            <a:cxnSpLocks/>
          </p:cNvCxnSpPr>
          <p:nvPr/>
        </p:nvCxnSpPr>
        <p:spPr>
          <a:xfrm>
            <a:off x="1" y="82355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12">
            <a:extLst>
              <a:ext uri="{FF2B5EF4-FFF2-40B4-BE49-F238E27FC236}">
                <a16:creationId xmlns:a16="http://schemas.microsoft.com/office/drawing/2014/main" id="{3939B696-DAA2-415A-BCF9-A7FE302BC9A9}"/>
              </a:ext>
            </a:extLst>
          </p:cNvPr>
          <p:cNvSpPr txBox="1"/>
          <p:nvPr/>
        </p:nvSpPr>
        <p:spPr>
          <a:xfrm>
            <a:off x="818949" y="986986"/>
            <a:ext cx="7505901" cy="281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500" cap="all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cs typeface="DIN Pro Cond Black" panose="020B0A06020101010102" pitchFamily="34" charset="0"/>
              </a:rPr>
              <a:t>ONE ASSOCIATION TO BRING TOGETHER ALL HEC GRADUATES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DBB7AB9B-9289-4FCC-9E08-33A48E874AFB}"/>
              </a:ext>
            </a:extLst>
          </p:cNvPr>
          <p:cNvSpPr/>
          <p:nvPr/>
        </p:nvSpPr>
        <p:spPr>
          <a:xfrm>
            <a:off x="1316503" y="3407870"/>
            <a:ext cx="1607909" cy="1354774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sp>
        <p:nvSpPr>
          <p:cNvPr id="39" name="ZoneTexte 9">
            <a:extLst>
              <a:ext uri="{FF2B5EF4-FFF2-40B4-BE49-F238E27FC236}">
                <a16:creationId xmlns:a16="http://schemas.microsoft.com/office/drawing/2014/main" id="{3F9557DE-26B8-4A2E-9FCE-A0BC9F57C146}"/>
              </a:ext>
            </a:extLst>
          </p:cNvPr>
          <p:cNvSpPr txBox="1"/>
          <p:nvPr/>
        </p:nvSpPr>
        <p:spPr>
          <a:xfrm>
            <a:off x="4703381" y="3713137"/>
            <a:ext cx="15511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B997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+</a:t>
            </a:r>
            <a:br>
              <a:rPr lang="en-US" sz="1500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s</a:t>
            </a:r>
          </a:p>
          <a:p>
            <a:pPr algn="ctr"/>
            <a:r>
              <a:rPr lang="en-US" sz="120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wide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9F577096-A96E-44F4-ABF6-DF3BE1F6DA64}"/>
              </a:ext>
            </a:extLst>
          </p:cNvPr>
          <p:cNvSpPr/>
          <p:nvPr/>
        </p:nvSpPr>
        <p:spPr>
          <a:xfrm>
            <a:off x="3001642" y="3407870"/>
            <a:ext cx="1607909" cy="1354774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10023F20-FD7C-4374-B90E-F51D32536D71}"/>
              </a:ext>
            </a:extLst>
          </p:cNvPr>
          <p:cNvSpPr/>
          <p:nvPr/>
        </p:nvSpPr>
        <p:spPr>
          <a:xfrm>
            <a:off x="4686780" y="3407870"/>
            <a:ext cx="1607909" cy="1354774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0C518E6B-8D6B-4DED-A5E8-5B77A7C78402}"/>
              </a:ext>
            </a:extLst>
          </p:cNvPr>
          <p:cNvSpPr/>
          <p:nvPr/>
        </p:nvSpPr>
        <p:spPr>
          <a:xfrm>
            <a:off x="6370750" y="3407870"/>
            <a:ext cx="1607909" cy="1354774"/>
          </a:xfrm>
          <a:prstGeom prst="roundRect">
            <a:avLst>
              <a:gd name="adj" fmla="val 2789"/>
            </a:avLst>
          </a:prstGeom>
          <a:noFill/>
          <a:ln>
            <a:solidFill>
              <a:srgbClr val="00305C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sz="1200" dirty="0">
              <a:latin typeface="Arial" panose="020B0604020202020204" pitchFamily="34" charset="0"/>
            </a:endParaRPr>
          </a:p>
        </p:txBody>
      </p:sp>
      <p:sp>
        <p:nvSpPr>
          <p:cNvPr id="60" name="ZoneTexte 9">
            <a:extLst>
              <a:ext uri="{FF2B5EF4-FFF2-40B4-BE49-F238E27FC236}">
                <a16:creationId xmlns:a16="http://schemas.microsoft.com/office/drawing/2014/main" id="{2AF3787B-5F24-46DD-8BE5-5954BA8DA298}"/>
              </a:ext>
            </a:extLst>
          </p:cNvPr>
          <p:cNvSpPr txBox="1"/>
          <p:nvPr/>
        </p:nvSpPr>
        <p:spPr>
          <a:xfrm>
            <a:off x="1354699" y="3713137"/>
            <a:ext cx="15511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B997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,000 </a:t>
            </a:r>
            <a:br>
              <a:rPr lang="en-US" sz="1500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umni in 150 Countries</a:t>
            </a:r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83C6B4A0-D0A4-48E7-97B5-9888AEF9429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96633" y="3477837"/>
            <a:ext cx="290838" cy="290838"/>
          </a:xfrm>
          <a:prstGeom prst="rect">
            <a:avLst/>
          </a:prstGeom>
        </p:spPr>
      </p:pic>
      <p:sp>
        <p:nvSpPr>
          <p:cNvPr id="63" name="ZoneTexte 9">
            <a:extLst>
              <a:ext uri="{FF2B5EF4-FFF2-40B4-BE49-F238E27FC236}">
                <a16:creationId xmlns:a16="http://schemas.microsoft.com/office/drawing/2014/main" id="{E1D24333-CF23-4299-9703-80D982676AAF}"/>
              </a:ext>
            </a:extLst>
          </p:cNvPr>
          <p:cNvSpPr txBox="1"/>
          <p:nvPr/>
        </p:nvSpPr>
        <p:spPr>
          <a:xfrm>
            <a:off x="3030025" y="3713137"/>
            <a:ext cx="15511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B997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00+ </a:t>
            </a:r>
            <a:br>
              <a:rPr lang="en-US" sz="1500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 per year</a:t>
            </a:r>
          </a:p>
        </p:txBody>
      </p:sp>
      <p:sp>
        <p:nvSpPr>
          <p:cNvPr id="64" name="ZoneTexte 9">
            <a:extLst>
              <a:ext uri="{FF2B5EF4-FFF2-40B4-BE49-F238E27FC236}">
                <a16:creationId xmlns:a16="http://schemas.microsoft.com/office/drawing/2014/main" id="{9FDC789C-1AFB-46DA-98FC-E3EE32FBE5CF}"/>
              </a:ext>
            </a:extLst>
          </p:cNvPr>
          <p:cNvSpPr txBox="1"/>
          <p:nvPr/>
        </p:nvSpPr>
        <p:spPr>
          <a:xfrm>
            <a:off x="6399133" y="3713137"/>
            <a:ext cx="15511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B997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200</a:t>
            </a:r>
            <a:br>
              <a:rPr lang="en-US" sz="1500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00305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nteer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15691C6-7E0D-4F2B-8DE5-6A72FD4E3084}"/>
              </a:ext>
            </a:extLst>
          </p:cNvPr>
          <p:cNvGrpSpPr/>
          <p:nvPr/>
        </p:nvGrpSpPr>
        <p:grpSpPr>
          <a:xfrm>
            <a:off x="3681872" y="3521950"/>
            <a:ext cx="202613" cy="202613"/>
            <a:chOff x="4811951" y="2037254"/>
            <a:chExt cx="270151" cy="270151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04311514-4011-493B-B12A-DAA570ABD19B}"/>
                </a:ext>
              </a:extLst>
            </p:cNvPr>
            <p:cNvSpPr/>
            <p:nvPr/>
          </p:nvSpPr>
          <p:spPr>
            <a:xfrm>
              <a:off x="4811951" y="2037254"/>
              <a:ext cx="270151" cy="270151"/>
            </a:xfrm>
            <a:custGeom>
              <a:avLst/>
              <a:gdLst>
                <a:gd name="connsiteX0" fmla="*/ 278965 w 304325"/>
                <a:gd name="connsiteY0" fmla="*/ 20288 h 304325"/>
                <a:gd name="connsiteX1" fmla="*/ 248533 w 304325"/>
                <a:gd name="connsiteY1" fmla="*/ 20288 h 304325"/>
                <a:gd name="connsiteX2" fmla="*/ 248533 w 304325"/>
                <a:gd name="connsiteY2" fmla="*/ 15216 h 304325"/>
                <a:gd name="connsiteX3" fmla="*/ 233316 w 304325"/>
                <a:gd name="connsiteY3" fmla="*/ 0 h 304325"/>
                <a:gd name="connsiteX4" fmla="*/ 218100 w 304325"/>
                <a:gd name="connsiteY4" fmla="*/ 15216 h 304325"/>
                <a:gd name="connsiteX5" fmla="*/ 218100 w 304325"/>
                <a:gd name="connsiteY5" fmla="*/ 20288 h 304325"/>
                <a:gd name="connsiteX6" fmla="*/ 167379 w 304325"/>
                <a:gd name="connsiteY6" fmla="*/ 20288 h 304325"/>
                <a:gd name="connsiteX7" fmla="*/ 167379 w 304325"/>
                <a:gd name="connsiteY7" fmla="*/ 15216 h 304325"/>
                <a:gd name="connsiteX8" fmla="*/ 152163 w 304325"/>
                <a:gd name="connsiteY8" fmla="*/ 0 h 304325"/>
                <a:gd name="connsiteX9" fmla="*/ 136947 w 304325"/>
                <a:gd name="connsiteY9" fmla="*/ 15216 h 304325"/>
                <a:gd name="connsiteX10" fmla="*/ 136947 w 304325"/>
                <a:gd name="connsiteY10" fmla="*/ 20288 h 304325"/>
                <a:gd name="connsiteX11" fmla="*/ 86226 w 304325"/>
                <a:gd name="connsiteY11" fmla="*/ 20288 h 304325"/>
                <a:gd name="connsiteX12" fmla="*/ 86226 w 304325"/>
                <a:gd name="connsiteY12" fmla="*/ 15216 h 304325"/>
                <a:gd name="connsiteX13" fmla="*/ 71009 w 304325"/>
                <a:gd name="connsiteY13" fmla="*/ 0 h 304325"/>
                <a:gd name="connsiteX14" fmla="*/ 55793 w 304325"/>
                <a:gd name="connsiteY14" fmla="*/ 15216 h 304325"/>
                <a:gd name="connsiteX15" fmla="*/ 55793 w 304325"/>
                <a:gd name="connsiteY15" fmla="*/ 20288 h 304325"/>
                <a:gd name="connsiteX16" fmla="*/ 25360 w 304325"/>
                <a:gd name="connsiteY16" fmla="*/ 20288 h 304325"/>
                <a:gd name="connsiteX17" fmla="*/ 0 w 304325"/>
                <a:gd name="connsiteY17" fmla="*/ 45649 h 304325"/>
                <a:gd name="connsiteX18" fmla="*/ 0 w 304325"/>
                <a:gd name="connsiteY18" fmla="*/ 278965 h 304325"/>
                <a:gd name="connsiteX19" fmla="*/ 25360 w 304325"/>
                <a:gd name="connsiteY19" fmla="*/ 304326 h 304325"/>
                <a:gd name="connsiteX20" fmla="*/ 278965 w 304325"/>
                <a:gd name="connsiteY20" fmla="*/ 304326 h 304325"/>
                <a:gd name="connsiteX21" fmla="*/ 304326 w 304325"/>
                <a:gd name="connsiteY21" fmla="*/ 278965 h 304325"/>
                <a:gd name="connsiteX22" fmla="*/ 304326 w 304325"/>
                <a:gd name="connsiteY22" fmla="*/ 45649 h 304325"/>
                <a:gd name="connsiteX23" fmla="*/ 278965 w 304325"/>
                <a:gd name="connsiteY23" fmla="*/ 20288 h 304325"/>
                <a:gd name="connsiteX24" fmla="*/ 228244 w 304325"/>
                <a:gd name="connsiteY24" fmla="*/ 15216 h 304325"/>
                <a:gd name="connsiteX25" fmla="*/ 233316 w 304325"/>
                <a:gd name="connsiteY25" fmla="*/ 10144 h 304325"/>
                <a:gd name="connsiteX26" fmla="*/ 238388 w 304325"/>
                <a:gd name="connsiteY26" fmla="*/ 15216 h 304325"/>
                <a:gd name="connsiteX27" fmla="*/ 238388 w 304325"/>
                <a:gd name="connsiteY27" fmla="*/ 45649 h 304325"/>
                <a:gd name="connsiteX28" fmla="*/ 233316 w 304325"/>
                <a:gd name="connsiteY28" fmla="*/ 50721 h 304325"/>
                <a:gd name="connsiteX29" fmla="*/ 228244 w 304325"/>
                <a:gd name="connsiteY29" fmla="*/ 45649 h 304325"/>
                <a:gd name="connsiteX30" fmla="*/ 147091 w 304325"/>
                <a:gd name="connsiteY30" fmla="*/ 15216 h 304325"/>
                <a:gd name="connsiteX31" fmla="*/ 152163 w 304325"/>
                <a:gd name="connsiteY31" fmla="*/ 10144 h 304325"/>
                <a:gd name="connsiteX32" fmla="*/ 157235 w 304325"/>
                <a:gd name="connsiteY32" fmla="*/ 15216 h 304325"/>
                <a:gd name="connsiteX33" fmla="*/ 157235 w 304325"/>
                <a:gd name="connsiteY33" fmla="*/ 45649 h 304325"/>
                <a:gd name="connsiteX34" fmla="*/ 152163 w 304325"/>
                <a:gd name="connsiteY34" fmla="*/ 50721 h 304325"/>
                <a:gd name="connsiteX35" fmla="*/ 147091 w 304325"/>
                <a:gd name="connsiteY35" fmla="*/ 45649 h 304325"/>
                <a:gd name="connsiteX36" fmla="*/ 65937 w 304325"/>
                <a:gd name="connsiteY36" fmla="*/ 15216 h 304325"/>
                <a:gd name="connsiteX37" fmla="*/ 71009 w 304325"/>
                <a:gd name="connsiteY37" fmla="*/ 10144 h 304325"/>
                <a:gd name="connsiteX38" fmla="*/ 76081 w 304325"/>
                <a:gd name="connsiteY38" fmla="*/ 15216 h 304325"/>
                <a:gd name="connsiteX39" fmla="*/ 76081 w 304325"/>
                <a:gd name="connsiteY39" fmla="*/ 45649 h 304325"/>
                <a:gd name="connsiteX40" fmla="*/ 71009 w 304325"/>
                <a:gd name="connsiteY40" fmla="*/ 50721 h 304325"/>
                <a:gd name="connsiteX41" fmla="*/ 65937 w 304325"/>
                <a:gd name="connsiteY41" fmla="*/ 45649 h 304325"/>
                <a:gd name="connsiteX42" fmla="*/ 25360 w 304325"/>
                <a:gd name="connsiteY42" fmla="*/ 30433 h 304325"/>
                <a:gd name="connsiteX43" fmla="*/ 55793 w 304325"/>
                <a:gd name="connsiteY43" fmla="*/ 30433 h 304325"/>
                <a:gd name="connsiteX44" fmla="*/ 55793 w 304325"/>
                <a:gd name="connsiteY44" fmla="*/ 45649 h 304325"/>
                <a:gd name="connsiteX45" fmla="*/ 71009 w 304325"/>
                <a:gd name="connsiteY45" fmla="*/ 60865 h 304325"/>
                <a:gd name="connsiteX46" fmla="*/ 86226 w 304325"/>
                <a:gd name="connsiteY46" fmla="*/ 45649 h 304325"/>
                <a:gd name="connsiteX47" fmla="*/ 86226 w 304325"/>
                <a:gd name="connsiteY47" fmla="*/ 30433 h 304325"/>
                <a:gd name="connsiteX48" fmla="*/ 136947 w 304325"/>
                <a:gd name="connsiteY48" fmla="*/ 30433 h 304325"/>
                <a:gd name="connsiteX49" fmla="*/ 136947 w 304325"/>
                <a:gd name="connsiteY49" fmla="*/ 45649 h 304325"/>
                <a:gd name="connsiteX50" fmla="*/ 152163 w 304325"/>
                <a:gd name="connsiteY50" fmla="*/ 60865 h 304325"/>
                <a:gd name="connsiteX51" fmla="*/ 167379 w 304325"/>
                <a:gd name="connsiteY51" fmla="*/ 45649 h 304325"/>
                <a:gd name="connsiteX52" fmla="*/ 167379 w 304325"/>
                <a:gd name="connsiteY52" fmla="*/ 30433 h 304325"/>
                <a:gd name="connsiteX53" fmla="*/ 218100 w 304325"/>
                <a:gd name="connsiteY53" fmla="*/ 30433 h 304325"/>
                <a:gd name="connsiteX54" fmla="*/ 218100 w 304325"/>
                <a:gd name="connsiteY54" fmla="*/ 45649 h 304325"/>
                <a:gd name="connsiteX55" fmla="*/ 233316 w 304325"/>
                <a:gd name="connsiteY55" fmla="*/ 60865 h 304325"/>
                <a:gd name="connsiteX56" fmla="*/ 248533 w 304325"/>
                <a:gd name="connsiteY56" fmla="*/ 45649 h 304325"/>
                <a:gd name="connsiteX57" fmla="*/ 248533 w 304325"/>
                <a:gd name="connsiteY57" fmla="*/ 30433 h 304325"/>
                <a:gd name="connsiteX58" fmla="*/ 278965 w 304325"/>
                <a:gd name="connsiteY58" fmla="*/ 30433 h 304325"/>
                <a:gd name="connsiteX59" fmla="*/ 294181 w 304325"/>
                <a:gd name="connsiteY59" fmla="*/ 45649 h 304325"/>
                <a:gd name="connsiteX60" fmla="*/ 294181 w 304325"/>
                <a:gd name="connsiteY60" fmla="*/ 81154 h 304325"/>
                <a:gd name="connsiteX61" fmla="*/ 10144 w 304325"/>
                <a:gd name="connsiteY61" fmla="*/ 81154 h 304325"/>
                <a:gd name="connsiteX62" fmla="*/ 10144 w 304325"/>
                <a:gd name="connsiteY62" fmla="*/ 45649 h 304325"/>
                <a:gd name="connsiteX63" fmla="*/ 25360 w 304325"/>
                <a:gd name="connsiteY63" fmla="*/ 30433 h 304325"/>
                <a:gd name="connsiteX64" fmla="*/ 278965 w 304325"/>
                <a:gd name="connsiteY64" fmla="*/ 294181 h 304325"/>
                <a:gd name="connsiteX65" fmla="*/ 25360 w 304325"/>
                <a:gd name="connsiteY65" fmla="*/ 294181 h 304325"/>
                <a:gd name="connsiteX66" fmla="*/ 10144 w 304325"/>
                <a:gd name="connsiteY66" fmla="*/ 278965 h 304325"/>
                <a:gd name="connsiteX67" fmla="*/ 10144 w 304325"/>
                <a:gd name="connsiteY67" fmla="*/ 91298 h 304325"/>
                <a:gd name="connsiteX68" fmla="*/ 294181 w 304325"/>
                <a:gd name="connsiteY68" fmla="*/ 91298 h 304325"/>
                <a:gd name="connsiteX69" fmla="*/ 294181 w 304325"/>
                <a:gd name="connsiteY69" fmla="*/ 278965 h 304325"/>
                <a:gd name="connsiteX70" fmla="*/ 278965 w 304325"/>
                <a:gd name="connsiteY70" fmla="*/ 294181 h 30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04325" h="304325">
                  <a:moveTo>
                    <a:pt x="278965" y="20288"/>
                  </a:moveTo>
                  <a:lnTo>
                    <a:pt x="248533" y="20288"/>
                  </a:lnTo>
                  <a:lnTo>
                    <a:pt x="248533" y="15216"/>
                  </a:lnTo>
                  <a:cubicBezTo>
                    <a:pt x="248533" y="6813"/>
                    <a:pt x="241720" y="0"/>
                    <a:pt x="233316" y="0"/>
                  </a:cubicBezTo>
                  <a:cubicBezTo>
                    <a:pt x="224912" y="0"/>
                    <a:pt x="218100" y="6813"/>
                    <a:pt x="218100" y="15216"/>
                  </a:cubicBezTo>
                  <a:lnTo>
                    <a:pt x="218100" y="20288"/>
                  </a:lnTo>
                  <a:lnTo>
                    <a:pt x="167379" y="20288"/>
                  </a:lnTo>
                  <a:lnTo>
                    <a:pt x="167379" y="15216"/>
                  </a:lnTo>
                  <a:cubicBezTo>
                    <a:pt x="167379" y="6813"/>
                    <a:pt x="160567" y="0"/>
                    <a:pt x="152163" y="0"/>
                  </a:cubicBezTo>
                  <a:cubicBezTo>
                    <a:pt x="143759" y="0"/>
                    <a:pt x="136947" y="6813"/>
                    <a:pt x="136947" y="15216"/>
                  </a:cubicBezTo>
                  <a:lnTo>
                    <a:pt x="136947" y="20288"/>
                  </a:lnTo>
                  <a:lnTo>
                    <a:pt x="86226" y="20288"/>
                  </a:lnTo>
                  <a:lnTo>
                    <a:pt x="86226" y="15216"/>
                  </a:lnTo>
                  <a:cubicBezTo>
                    <a:pt x="86226" y="6813"/>
                    <a:pt x="79413" y="0"/>
                    <a:pt x="71009" y="0"/>
                  </a:cubicBezTo>
                  <a:cubicBezTo>
                    <a:pt x="62605" y="0"/>
                    <a:pt x="55793" y="6813"/>
                    <a:pt x="55793" y="15216"/>
                  </a:cubicBezTo>
                  <a:lnTo>
                    <a:pt x="55793" y="20288"/>
                  </a:lnTo>
                  <a:lnTo>
                    <a:pt x="25360" y="20288"/>
                  </a:lnTo>
                  <a:cubicBezTo>
                    <a:pt x="11361" y="20304"/>
                    <a:pt x="16" y="31649"/>
                    <a:pt x="0" y="45649"/>
                  </a:cubicBezTo>
                  <a:lnTo>
                    <a:pt x="0" y="278965"/>
                  </a:lnTo>
                  <a:cubicBezTo>
                    <a:pt x="16" y="292965"/>
                    <a:pt x="11361" y="304310"/>
                    <a:pt x="25360" y="304326"/>
                  </a:cubicBezTo>
                  <a:lnTo>
                    <a:pt x="278965" y="304326"/>
                  </a:lnTo>
                  <a:cubicBezTo>
                    <a:pt x="292965" y="304310"/>
                    <a:pt x="304310" y="292965"/>
                    <a:pt x="304326" y="278965"/>
                  </a:cubicBezTo>
                  <a:lnTo>
                    <a:pt x="304326" y="45649"/>
                  </a:lnTo>
                  <a:cubicBezTo>
                    <a:pt x="304310" y="31649"/>
                    <a:pt x="292965" y="20304"/>
                    <a:pt x="278965" y="20288"/>
                  </a:cubicBezTo>
                  <a:close/>
                  <a:moveTo>
                    <a:pt x="228244" y="15216"/>
                  </a:moveTo>
                  <a:cubicBezTo>
                    <a:pt x="228244" y="12415"/>
                    <a:pt x="230515" y="10144"/>
                    <a:pt x="233316" y="10144"/>
                  </a:cubicBezTo>
                  <a:cubicBezTo>
                    <a:pt x="236117" y="10144"/>
                    <a:pt x="238388" y="12415"/>
                    <a:pt x="238388" y="15216"/>
                  </a:cubicBezTo>
                  <a:lnTo>
                    <a:pt x="238388" y="45649"/>
                  </a:lnTo>
                  <a:cubicBezTo>
                    <a:pt x="238388" y="48450"/>
                    <a:pt x="236117" y="50721"/>
                    <a:pt x="233316" y="50721"/>
                  </a:cubicBezTo>
                  <a:cubicBezTo>
                    <a:pt x="230515" y="50721"/>
                    <a:pt x="228244" y="48450"/>
                    <a:pt x="228244" y="45649"/>
                  </a:cubicBezTo>
                  <a:close/>
                  <a:moveTo>
                    <a:pt x="147091" y="15216"/>
                  </a:moveTo>
                  <a:cubicBezTo>
                    <a:pt x="147091" y="12415"/>
                    <a:pt x="149362" y="10144"/>
                    <a:pt x="152163" y="10144"/>
                  </a:cubicBezTo>
                  <a:cubicBezTo>
                    <a:pt x="154964" y="10144"/>
                    <a:pt x="157235" y="12415"/>
                    <a:pt x="157235" y="15216"/>
                  </a:cubicBezTo>
                  <a:lnTo>
                    <a:pt x="157235" y="45649"/>
                  </a:lnTo>
                  <a:cubicBezTo>
                    <a:pt x="157235" y="48450"/>
                    <a:pt x="154964" y="50721"/>
                    <a:pt x="152163" y="50721"/>
                  </a:cubicBezTo>
                  <a:cubicBezTo>
                    <a:pt x="149362" y="50721"/>
                    <a:pt x="147091" y="48450"/>
                    <a:pt x="147091" y="45649"/>
                  </a:cubicBezTo>
                  <a:close/>
                  <a:moveTo>
                    <a:pt x="65937" y="15216"/>
                  </a:moveTo>
                  <a:cubicBezTo>
                    <a:pt x="65937" y="12415"/>
                    <a:pt x="68208" y="10144"/>
                    <a:pt x="71009" y="10144"/>
                  </a:cubicBezTo>
                  <a:cubicBezTo>
                    <a:pt x="73810" y="10144"/>
                    <a:pt x="76081" y="12415"/>
                    <a:pt x="76081" y="15216"/>
                  </a:cubicBezTo>
                  <a:lnTo>
                    <a:pt x="76081" y="45649"/>
                  </a:lnTo>
                  <a:cubicBezTo>
                    <a:pt x="76081" y="48450"/>
                    <a:pt x="73810" y="50721"/>
                    <a:pt x="71009" y="50721"/>
                  </a:cubicBezTo>
                  <a:cubicBezTo>
                    <a:pt x="68208" y="50721"/>
                    <a:pt x="65937" y="48450"/>
                    <a:pt x="65937" y="45649"/>
                  </a:cubicBezTo>
                  <a:close/>
                  <a:moveTo>
                    <a:pt x="25360" y="30433"/>
                  </a:moveTo>
                  <a:lnTo>
                    <a:pt x="55793" y="30433"/>
                  </a:lnTo>
                  <a:lnTo>
                    <a:pt x="55793" y="45649"/>
                  </a:lnTo>
                  <a:cubicBezTo>
                    <a:pt x="55793" y="54053"/>
                    <a:pt x="62605" y="60865"/>
                    <a:pt x="71009" y="60865"/>
                  </a:cubicBezTo>
                  <a:cubicBezTo>
                    <a:pt x="79413" y="60865"/>
                    <a:pt x="86226" y="54053"/>
                    <a:pt x="86226" y="45649"/>
                  </a:cubicBezTo>
                  <a:lnTo>
                    <a:pt x="86226" y="30433"/>
                  </a:lnTo>
                  <a:lnTo>
                    <a:pt x="136947" y="30433"/>
                  </a:lnTo>
                  <a:lnTo>
                    <a:pt x="136947" y="45649"/>
                  </a:lnTo>
                  <a:cubicBezTo>
                    <a:pt x="136947" y="54053"/>
                    <a:pt x="143759" y="60865"/>
                    <a:pt x="152163" y="60865"/>
                  </a:cubicBezTo>
                  <a:cubicBezTo>
                    <a:pt x="160567" y="60865"/>
                    <a:pt x="167379" y="54053"/>
                    <a:pt x="167379" y="45649"/>
                  </a:cubicBezTo>
                  <a:lnTo>
                    <a:pt x="167379" y="30433"/>
                  </a:lnTo>
                  <a:lnTo>
                    <a:pt x="218100" y="30433"/>
                  </a:lnTo>
                  <a:lnTo>
                    <a:pt x="218100" y="45649"/>
                  </a:lnTo>
                  <a:cubicBezTo>
                    <a:pt x="218100" y="54053"/>
                    <a:pt x="224912" y="60865"/>
                    <a:pt x="233316" y="60865"/>
                  </a:cubicBezTo>
                  <a:cubicBezTo>
                    <a:pt x="241720" y="60865"/>
                    <a:pt x="248533" y="54053"/>
                    <a:pt x="248533" y="45649"/>
                  </a:cubicBezTo>
                  <a:lnTo>
                    <a:pt x="248533" y="30433"/>
                  </a:lnTo>
                  <a:lnTo>
                    <a:pt x="278965" y="30433"/>
                  </a:lnTo>
                  <a:cubicBezTo>
                    <a:pt x="287365" y="30442"/>
                    <a:pt x="294172" y="37249"/>
                    <a:pt x="294181" y="45649"/>
                  </a:cubicBezTo>
                  <a:lnTo>
                    <a:pt x="294181" y="81154"/>
                  </a:lnTo>
                  <a:lnTo>
                    <a:pt x="10144" y="81154"/>
                  </a:lnTo>
                  <a:lnTo>
                    <a:pt x="10144" y="45649"/>
                  </a:lnTo>
                  <a:cubicBezTo>
                    <a:pt x="10154" y="37249"/>
                    <a:pt x="16961" y="30442"/>
                    <a:pt x="25360" y="30433"/>
                  </a:cubicBezTo>
                  <a:close/>
                  <a:moveTo>
                    <a:pt x="278965" y="294181"/>
                  </a:moveTo>
                  <a:lnTo>
                    <a:pt x="25360" y="294181"/>
                  </a:lnTo>
                  <a:cubicBezTo>
                    <a:pt x="16961" y="294172"/>
                    <a:pt x="10154" y="287365"/>
                    <a:pt x="10144" y="278965"/>
                  </a:cubicBezTo>
                  <a:lnTo>
                    <a:pt x="10144" y="91298"/>
                  </a:lnTo>
                  <a:lnTo>
                    <a:pt x="294181" y="91298"/>
                  </a:lnTo>
                  <a:lnTo>
                    <a:pt x="294181" y="278965"/>
                  </a:lnTo>
                  <a:cubicBezTo>
                    <a:pt x="294172" y="287365"/>
                    <a:pt x="287365" y="294172"/>
                    <a:pt x="278965" y="294181"/>
                  </a:cubicBezTo>
                  <a:close/>
                </a:path>
              </a:pathLst>
            </a:custGeom>
            <a:solidFill>
              <a:srgbClr val="00305C"/>
            </a:solidFill>
            <a:ln w="633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66495B5-7AC7-464E-9D85-043942AC6840}"/>
                </a:ext>
              </a:extLst>
            </p:cNvPr>
            <p:cNvSpPr/>
            <p:nvPr/>
          </p:nvSpPr>
          <p:spPr>
            <a:xfrm>
              <a:off x="4886325" y="2153966"/>
              <a:ext cx="116338" cy="116337"/>
            </a:xfrm>
            <a:custGeom>
              <a:avLst/>
              <a:gdLst>
                <a:gd name="connsiteX0" fmla="*/ 86990 w 91301"/>
                <a:gd name="connsiteY0" fmla="*/ 31058 h 91299"/>
                <a:gd name="connsiteX1" fmla="*/ 61629 w 91301"/>
                <a:gd name="connsiteY1" fmla="*/ 27183 h 91299"/>
                <a:gd name="connsiteX2" fmla="*/ 50239 w 91301"/>
                <a:gd name="connsiteY2" fmla="*/ 2918 h 91299"/>
                <a:gd name="connsiteX3" fmla="*/ 43492 w 91301"/>
                <a:gd name="connsiteY3" fmla="*/ 482 h 91299"/>
                <a:gd name="connsiteX4" fmla="*/ 41056 w 91301"/>
                <a:gd name="connsiteY4" fmla="*/ 2918 h 91299"/>
                <a:gd name="connsiteX5" fmla="*/ 29670 w 91301"/>
                <a:gd name="connsiteY5" fmla="*/ 27183 h 91299"/>
                <a:gd name="connsiteX6" fmla="*/ 4310 w 91301"/>
                <a:gd name="connsiteY6" fmla="*/ 31058 h 91299"/>
                <a:gd name="connsiteX7" fmla="*/ 58 w 91301"/>
                <a:gd name="connsiteY7" fmla="*/ 36835 h 91299"/>
                <a:gd name="connsiteX8" fmla="*/ 1445 w 91301"/>
                <a:gd name="connsiteY8" fmla="*/ 39617 h 91299"/>
                <a:gd name="connsiteX9" fmla="*/ 19946 w 91301"/>
                <a:gd name="connsiteY9" fmla="*/ 58578 h 91299"/>
                <a:gd name="connsiteX10" fmla="*/ 15571 w 91301"/>
                <a:gd name="connsiteY10" fmla="*/ 85413 h 91299"/>
                <a:gd name="connsiteX11" fmla="*/ 19771 w 91301"/>
                <a:gd name="connsiteY11" fmla="*/ 91228 h 91299"/>
                <a:gd name="connsiteX12" fmla="*/ 23023 w 91301"/>
                <a:gd name="connsiteY12" fmla="*/ 90665 h 91299"/>
                <a:gd name="connsiteX13" fmla="*/ 45647 w 91301"/>
                <a:gd name="connsiteY13" fmla="*/ 78160 h 91299"/>
                <a:gd name="connsiteX14" fmla="*/ 68271 w 91301"/>
                <a:gd name="connsiteY14" fmla="*/ 90665 h 91299"/>
                <a:gd name="connsiteX15" fmla="*/ 75164 w 91301"/>
                <a:gd name="connsiteY15" fmla="*/ 88680 h 91299"/>
                <a:gd name="connsiteX16" fmla="*/ 75731 w 91301"/>
                <a:gd name="connsiteY16" fmla="*/ 85410 h 91299"/>
                <a:gd name="connsiteX17" fmla="*/ 71356 w 91301"/>
                <a:gd name="connsiteY17" fmla="*/ 58575 h 91299"/>
                <a:gd name="connsiteX18" fmla="*/ 89857 w 91301"/>
                <a:gd name="connsiteY18" fmla="*/ 39614 h 91299"/>
                <a:gd name="connsiteX19" fmla="*/ 89774 w 91301"/>
                <a:gd name="connsiteY19" fmla="*/ 32441 h 91299"/>
                <a:gd name="connsiteX20" fmla="*/ 86993 w 91301"/>
                <a:gd name="connsiteY20" fmla="*/ 31054 h 91299"/>
                <a:gd name="connsiteX21" fmla="*/ 62305 w 91301"/>
                <a:gd name="connsiteY21" fmla="*/ 53322 h 91299"/>
                <a:gd name="connsiteX22" fmla="*/ 60929 w 91301"/>
                <a:gd name="connsiteY22" fmla="*/ 57681 h 91299"/>
                <a:gd name="connsiteX23" fmla="*/ 64036 w 91301"/>
                <a:gd name="connsiteY23" fmla="*/ 76734 h 91299"/>
                <a:gd name="connsiteX24" fmla="*/ 48099 w 91301"/>
                <a:gd name="connsiteY24" fmla="*/ 67921 h 91299"/>
                <a:gd name="connsiteX25" fmla="*/ 43192 w 91301"/>
                <a:gd name="connsiteY25" fmla="*/ 67921 h 91299"/>
                <a:gd name="connsiteX26" fmla="*/ 27256 w 91301"/>
                <a:gd name="connsiteY26" fmla="*/ 76734 h 91299"/>
                <a:gd name="connsiteX27" fmla="*/ 30362 w 91301"/>
                <a:gd name="connsiteY27" fmla="*/ 57681 h 91299"/>
                <a:gd name="connsiteX28" fmla="*/ 28987 w 91301"/>
                <a:gd name="connsiteY28" fmla="*/ 53322 h 91299"/>
                <a:gd name="connsiteX29" fmla="*/ 15595 w 91301"/>
                <a:gd name="connsiteY29" fmla="*/ 39595 h 91299"/>
                <a:gd name="connsiteX30" fmla="*/ 33875 w 91301"/>
                <a:gd name="connsiteY30" fmla="*/ 36805 h 91299"/>
                <a:gd name="connsiteX31" fmla="*/ 37700 w 91301"/>
                <a:gd name="connsiteY31" fmla="*/ 33946 h 91299"/>
                <a:gd name="connsiteX32" fmla="*/ 45647 w 91301"/>
                <a:gd name="connsiteY32" fmla="*/ 17011 h 91299"/>
                <a:gd name="connsiteX33" fmla="*/ 53594 w 91301"/>
                <a:gd name="connsiteY33" fmla="*/ 33943 h 91299"/>
                <a:gd name="connsiteX34" fmla="*/ 57419 w 91301"/>
                <a:gd name="connsiteY34" fmla="*/ 36802 h 91299"/>
                <a:gd name="connsiteX35" fmla="*/ 75700 w 91301"/>
                <a:gd name="connsiteY35" fmla="*/ 39591 h 91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91301" h="91299">
                  <a:moveTo>
                    <a:pt x="86990" y="31058"/>
                  </a:moveTo>
                  <a:lnTo>
                    <a:pt x="61629" y="27183"/>
                  </a:lnTo>
                  <a:lnTo>
                    <a:pt x="50239" y="2918"/>
                  </a:lnTo>
                  <a:cubicBezTo>
                    <a:pt x="49049" y="382"/>
                    <a:pt x="46028" y="-708"/>
                    <a:pt x="43492" y="482"/>
                  </a:cubicBezTo>
                  <a:cubicBezTo>
                    <a:pt x="42421" y="985"/>
                    <a:pt x="41558" y="1847"/>
                    <a:pt x="41056" y="2918"/>
                  </a:cubicBezTo>
                  <a:lnTo>
                    <a:pt x="29670" y="27183"/>
                  </a:lnTo>
                  <a:lnTo>
                    <a:pt x="4310" y="31058"/>
                  </a:lnTo>
                  <a:cubicBezTo>
                    <a:pt x="1540" y="31479"/>
                    <a:pt x="-363" y="34066"/>
                    <a:pt x="58" y="36835"/>
                  </a:cubicBezTo>
                  <a:cubicBezTo>
                    <a:pt x="218" y="37885"/>
                    <a:pt x="703" y="38857"/>
                    <a:pt x="1445" y="39617"/>
                  </a:cubicBezTo>
                  <a:lnTo>
                    <a:pt x="19946" y="58578"/>
                  </a:lnTo>
                  <a:lnTo>
                    <a:pt x="15571" y="85413"/>
                  </a:lnTo>
                  <a:cubicBezTo>
                    <a:pt x="15125" y="88179"/>
                    <a:pt x="17006" y="90782"/>
                    <a:pt x="19771" y="91228"/>
                  </a:cubicBezTo>
                  <a:cubicBezTo>
                    <a:pt x="20888" y="91409"/>
                    <a:pt x="22032" y="91211"/>
                    <a:pt x="23023" y="90665"/>
                  </a:cubicBezTo>
                  <a:lnTo>
                    <a:pt x="45647" y="78160"/>
                  </a:lnTo>
                  <a:lnTo>
                    <a:pt x="68271" y="90665"/>
                  </a:lnTo>
                  <a:cubicBezTo>
                    <a:pt x="70723" y="92021"/>
                    <a:pt x="73809" y="91132"/>
                    <a:pt x="75164" y="88680"/>
                  </a:cubicBezTo>
                  <a:cubicBezTo>
                    <a:pt x="75714" y="87684"/>
                    <a:pt x="75914" y="86533"/>
                    <a:pt x="75731" y="85410"/>
                  </a:cubicBezTo>
                  <a:lnTo>
                    <a:pt x="71356" y="58575"/>
                  </a:lnTo>
                  <a:lnTo>
                    <a:pt x="89857" y="39614"/>
                  </a:lnTo>
                  <a:cubicBezTo>
                    <a:pt x="91815" y="37610"/>
                    <a:pt x="91778" y="34399"/>
                    <a:pt x="89774" y="32441"/>
                  </a:cubicBezTo>
                  <a:cubicBezTo>
                    <a:pt x="89015" y="31699"/>
                    <a:pt x="88042" y="31214"/>
                    <a:pt x="86993" y="31054"/>
                  </a:cubicBezTo>
                  <a:close/>
                  <a:moveTo>
                    <a:pt x="62305" y="53322"/>
                  </a:moveTo>
                  <a:cubicBezTo>
                    <a:pt x="61181" y="54474"/>
                    <a:pt x="60670" y="56092"/>
                    <a:pt x="60929" y="57681"/>
                  </a:cubicBezTo>
                  <a:lnTo>
                    <a:pt x="64036" y="76734"/>
                  </a:lnTo>
                  <a:lnTo>
                    <a:pt x="48099" y="67921"/>
                  </a:lnTo>
                  <a:cubicBezTo>
                    <a:pt x="46573" y="67077"/>
                    <a:pt x="44719" y="67077"/>
                    <a:pt x="43192" y="67921"/>
                  </a:cubicBezTo>
                  <a:lnTo>
                    <a:pt x="27256" y="76734"/>
                  </a:lnTo>
                  <a:lnTo>
                    <a:pt x="30362" y="57681"/>
                  </a:lnTo>
                  <a:cubicBezTo>
                    <a:pt x="30622" y="56092"/>
                    <a:pt x="30111" y="54474"/>
                    <a:pt x="28987" y="53322"/>
                  </a:cubicBezTo>
                  <a:lnTo>
                    <a:pt x="15595" y="39595"/>
                  </a:lnTo>
                  <a:lnTo>
                    <a:pt x="33875" y="36805"/>
                  </a:lnTo>
                  <a:cubicBezTo>
                    <a:pt x="35547" y="36549"/>
                    <a:pt x="36982" y="35477"/>
                    <a:pt x="37700" y="33946"/>
                  </a:cubicBezTo>
                  <a:lnTo>
                    <a:pt x="45647" y="17011"/>
                  </a:lnTo>
                  <a:lnTo>
                    <a:pt x="53594" y="33943"/>
                  </a:lnTo>
                  <a:cubicBezTo>
                    <a:pt x="54313" y="35474"/>
                    <a:pt x="55748" y="36546"/>
                    <a:pt x="57419" y="36802"/>
                  </a:cubicBezTo>
                  <a:lnTo>
                    <a:pt x="75700" y="39591"/>
                  </a:lnTo>
                  <a:close/>
                </a:path>
              </a:pathLst>
            </a:custGeom>
            <a:solidFill>
              <a:srgbClr val="00305C"/>
            </a:solidFill>
            <a:ln w="0" cap="flat">
              <a:solidFill>
                <a:srgbClr val="00305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sz="1350" dirty="0">
                <a:latin typeface="Arial" panose="020B0604020202020204" pitchFamily="34" charset="0"/>
              </a:endParaRPr>
            </a:p>
          </p:txBody>
        </p:sp>
      </p:grpSp>
      <p:pic>
        <p:nvPicPr>
          <p:cNvPr id="73" name="Graphic 72">
            <a:extLst>
              <a:ext uri="{FF2B5EF4-FFF2-40B4-BE49-F238E27FC236}">
                <a16:creationId xmlns:a16="http://schemas.microsoft.com/office/drawing/2014/main" id="{B30F9ADC-65C0-4727-ADF0-74C90B5E66C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58446" y="3502750"/>
            <a:ext cx="241013" cy="24101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422B9C80-2788-4E73-8EBD-EDFD85389E9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90521" y="3502750"/>
            <a:ext cx="241013" cy="241013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7683" y="1272788"/>
            <a:ext cx="4783734" cy="198244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636452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85185E-6 L 0.0457 1.85185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9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4" decel="10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3" grpId="1"/>
      <p:bldP spid="34" grpId="0" animBg="1"/>
      <p:bldP spid="39" grpId="0"/>
      <p:bldP spid="52" grpId="0" animBg="1"/>
      <p:bldP spid="53" grpId="0" animBg="1"/>
      <p:bldP spid="57" grpId="0" animBg="1"/>
      <p:bldP spid="60" grpId="0"/>
      <p:bldP spid="63" grpId="0"/>
      <p:bldP spid="6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latin typeface="DIN" panose="02000503040000020003" pitchFamily="2" charset="0"/>
              </a:rPr>
              <a:t>CORPORATE PARTNERS</a:t>
            </a:r>
          </a:p>
        </p:txBody>
      </p:sp>
    </p:spTree>
    <p:extLst>
      <p:ext uri="{BB962C8B-B14F-4D97-AF65-F5344CB8AC3E}">
        <p14:creationId xmlns:p14="http://schemas.microsoft.com/office/powerpoint/2010/main" val="3972334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tre 3"/>
          <p:cNvSpPr>
            <a:spLocks noGrp="1"/>
          </p:cNvSpPr>
          <p:nvPr>
            <p:ph type="title"/>
          </p:nvPr>
        </p:nvSpPr>
        <p:spPr>
          <a:xfrm>
            <a:off x="201979" y="4737"/>
            <a:ext cx="8856914" cy="414554"/>
          </a:xfrm>
        </p:spPr>
        <p:txBody>
          <a:bodyPr>
            <a:normAutofit/>
          </a:bodyPr>
          <a:lstStyle/>
          <a:p>
            <a:pPr algn="ctr"/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HEC Paris Corporate Partners</a:t>
            </a:r>
          </a:p>
        </p:txBody>
      </p:sp>
      <p:sp>
        <p:nvSpPr>
          <p:cNvPr id="70" name="Titre 1"/>
          <p:cNvSpPr txBox="1">
            <a:spLocks/>
          </p:cNvSpPr>
          <p:nvPr/>
        </p:nvSpPr>
        <p:spPr>
          <a:xfrm>
            <a:off x="4478915" y="2564104"/>
            <a:ext cx="1923640" cy="31114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900" dirty="0">
                <a:solidFill>
                  <a:schemeClr val="bg1"/>
                </a:solidFill>
                <a:latin typeface="DIN" panose="02000503040000020003" pitchFamily="2" charset="0"/>
              </a:rPr>
              <a:t>Innovation &amp; </a:t>
            </a:r>
            <a:r>
              <a:rPr lang="fr-FR" sz="900" dirty="0" err="1">
                <a:solidFill>
                  <a:schemeClr val="bg1"/>
                </a:solidFill>
                <a:latin typeface="DIN" panose="02000503040000020003" pitchFamily="2" charset="0"/>
              </a:rPr>
              <a:t>Entrepreneurship</a:t>
            </a:r>
            <a:r>
              <a:rPr lang="fr-FR" sz="900" dirty="0">
                <a:solidFill>
                  <a:schemeClr val="bg1"/>
                </a:solidFill>
                <a:latin typeface="DIN" panose="02000503040000020003" pitchFamily="2" charset="0"/>
              </a:rPr>
              <a:t>  Center</a:t>
            </a:r>
          </a:p>
        </p:txBody>
      </p:sp>
      <p:pic>
        <p:nvPicPr>
          <p:cNvPr id="157" name="Image 156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82" b="21336"/>
          <a:stretch/>
        </p:blipFill>
        <p:spPr bwMode="auto">
          <a:xfrm>
            <a:off x="5665986" y="1804042"/>
            <a:ext cx="590604" cy="28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1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52714" y="1212165"/>
            <a:ext cx="720151" cy="183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" name="Picture 1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9" t="34004" r="8276" b="34824"/>
          <a:stretch/>
        </p:blipFill>
        <p:spPr bwMode="auto">
          <a:xfrm>
            <a:off x="4643030" y="3223520"/>
            <a:ext cx="678195" cy="17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" name="Image 17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9058" y="4108394"/>
            <a:ext cx="402719" cy="382975"/>
          </a:xfrm>
          <a:prstGeom prst="rect">
            <a:avLst/>
          </a:prstGeom>
        </p:spPr>
      </p:pic>
      <p:pic>
        <p:nvPicPr>
          <p:cNvPr id="180" name="Picture 37" descr="P:\FONDATION\5_Marketing\Logos\PRICEWATERHOUSECOOPERS\PwC_fl_4cp.t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3799" y="3431040"/>
            <a:ext cx="423992" cy="280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" name="Image 18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51279" y="3974658"/>
            <a:ext cx="996383" cy="322409"/>
          </a:xfrm>
          <a:prstGeom prst="rect">
            <a:avLst/>
          </a:prstGeom>
        </p:spPr>
      </p:pic>
      <p:cxnSp>
        <p:nvCxnSpPr>
          <p:cNvPr id="61" name="Connecteur droit 60"/>
          <p:cNvCxnSpPr>
            <a:cxnSpLocks/>
          </p:cNvCxnSpPr>
          <p:nvPr/>
        </p:nvCxnSpPr>
        <p:spPr>
          <a:xfrm>
            <a:off x="6491350" y="1063347"/>
            <a:ext cx="0" cy="3708986"/>
          </a:xfrm>
          <a:prstGeom prst="line">
            <a:avLst/>
          </a:prstGeom>
          <a:ln>
            <a:solidFill>
              <a:srgbClr val="003A7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2" name="Picture 7" descr="P:\FONDATION\5_Marketing\Logos\AXA\AXA Q copie.ti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877" y="1378753"/>
            <a:ext cx="374317" cy="343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" name="Picture 27" descr="P:\FONDATION\5_Marketing\Logos\L'OREAL\LOREAL N copie.ti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997" y="1546003"/>
            <a:ext cx="629381" cy="128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Titre 1"/>
          <p:cNvSpPr txBox="1">
            <a:spLocks/>
          </p:cNvSpPr>
          <p:nvPr/>
        </p:nvSpPr>
        <p:spPr>
          <a:xfrm>
            <a:off x="6522721" y="564937"/>
            <a:ext cx="2424907" cy="347313"/>
          </a:xfrm>
          <a:prstGeom prst="rect">
            <a:avLst/>
          </a:prstGeom>
          <a:solidFill>
            <a:srgbClr val="003A70"/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cap="small" dirty="0" err="1">
                <a:solidFill>
                  <a:schemeClr val="bg1"/>
                </a:solidFill>
                <a:latin typeface="DIN" panose="02000503040000020003" pitchFamily="2" charset="0"/>
              </a:rPr>
              <a:t>Members</a:t>
            </a:r>
            <a:endParaRPr lang="fr-FR" sz="1200" cap="small" dirty="0">
              <a:solidFill>
                <a:schemeClr val="bg1"/>
              </a:solidFill>
              <a:latin typeface="DIN" panose="02000503040000020003" pitchFamily="2" charset="0"/>
            </a:endParaRPr>
          </a:p>
        </p:txBody>
      </p:sp>
      <p:sp>
        <p:nvSpPr>
          <p:cNvPr id="49" name="Titre 1"/>
          <p:cNvSpPr txBox="1">
            <a:spLocks/>
          </p:cNvSpPr>
          <p:nvPr/>
        </p:nvSpPr>
        <p:spPr>
          <a:xfrm>
            <a:off x="1896771" y="574794"/>
            <a:ext cx="2528801" cy="331368"/>
          </a:xfrm>
          <a:prstGeom prst="rect">
            <a:avLst/>
          </a:prstGeom>
          <a:solidFill>
            <a:srgbClr val="003A70"/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cap="small" dirty="0">
                <a:solidFill>
                  <a:schemeClr val="bg1"/>
                </a:solidFill>
                <a:latin typeface="DIN" panose="02000503040000020003" pitchFamily="2" charset="0"/>
              </a:rPr>
              <a:t>Chairs &amp; </a:t>
            </a:r>
            <a:r>
              <a:rPr lang="fr-FR" sz="1200" cap="small" dirty="0" err="1">
                <a:solidFill>
                  <a:schemeClr val="bg1"/>
                </a:solidFill>
                <a:latin typeface="DIN" panose="02000503040000020003" pitchFamily="2" charset="0"/>
              </a:rPr>
              <a:t>Corporate</a:t>
            </a:r>
            <a:r>
              <a:rPr lang="fr-FR" sz="1200" cap="small" dirty="0">
                <a:solidFill>
                  <a:schemeClr val="bg1"/>
                </a:solidFill>
                <a:latin typeface="DIN" panose="02000503040000020003" pitchFamily="2" charset="0"/>
              </a:rPr>
              <a:t> Initiatives</a:t>
            </a:r>
          </a:p>
        </p:txBody>
      </p:sp>
      <p:pic>
        <p:nvPicPr>
          <p:cNvPr id="2050" name="Picture 2" descr="Résultat de recherche d'images pour &quot;société générale logo&quot;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67" b="39030"/>
          <a:stretch/>
        </p:blipFill>
        <p:spPr bwMode="auto">
          <a:xfrm>
            <a:off x="3419895" y="4082804"/>
            <a:ext cx="720254" cy="162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Résultat de recherche d'images pour &quot;logo bain company&quot;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0346" y="2174418"/>
            <a:ext cx="944749" cy="279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Résultat de recherche d'images pour &quot;logo allen overy&quot;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341" y="1812891"/>
            <a:ext cx="916950" cy="66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Résultat de recherche d'images pour &quot;logo kpmg&quot;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322" y="1319996"/>
            <a:ext cx="502294" cy="20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ésultat de recherche d'images pour &quot;logo mckinsey company&quot;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848" y="1832121"/>
            <a:ext cx="602846" cy="20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Résultat de recherche d'images pour &quot;logo antin&quot;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8545" y="1105750"/>
            <a:ext cx="518732" cy="12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2730A5D2-6E4E-4276-85A9-9CC26CCFD227}"/>
              </a:ext>
            </a:extLst>
          </p:cNvPr>
          <p:cNvCxnSpPr>
            <a:cxnSpLocks/>
          </p:cNvCxnSpPr>
          <p:nvPr/>
        </p:nvCxnSpPr>
        <p:spPr>
          <a:xfrm>
            <a:off x="4431594" y="1087018"/>
            <a:ext cx="0" cy="3685315"/>
          </a:xfrm>
          <a:prstGeom prst="line">
            <a:avLst/>
          </a:prstGeom>
          <a:ln>
            <a:solidFill>
              <a:srgbClr val="003A7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Titre 1">
            <a:extLst>
              <a:ext uri="{FF2B5EF4-FFF2-40B4-BE49-F238E27FC236}">
                <a16:creationId xmlns:a16="http://schemas.microsoft.com/office/drawing/2014/main" id="{2BBA0213-0CB6-4FF2-8D43-013CA027E4E7}"/>
              </a:ext>
            </a:extLst>
          </p:cNvPr>
          <p:cNvSpPr txBox="1">
            <a:spLocks/>
          </p:cNvSpPr>
          <p:nvPr/>
        </p:nvSpPr>
        <p:spPr>
          <a:xfrm>
            <a:off x="4514732" y="1086192"/>
            <a:ext cx="1923641" cy="29886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900" dirty="0">
                <a:solidFill>
                  <a:schemeClr val="bg1"/>
                </a:solidFill>
                <a:latin typeface="DIN" panose="02000503040000020003" pitchFamily="2" charset="0"/>
              </a:rPr>
              <a:t>Society &amp; Organizations Institut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C4C44758-A091-4A40-A864-A6AF4A1BDA1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54737" y="2564097"/>
            <a:ext cx="566463" cy="38061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22B1CC3-7525-4301-B0E2-E10F3F293E00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t="20785" b="19942"/>
          <a:stretch/>
        </p:blipFill>
        <p:spPr>
          <a:xfrm>
            <a:off x="7016659" y="3224921"/>
            <a:ext cx="450917" cy="190908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7008B64A-270E-4CCF-976B-9D0B4FBEE16D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8069" t="1" r="9620" b="19382"/>
          <a:stretch/>
        </p:blipFill>
        <p:spPr>
          <a:xfrm>
            <a:off x="2175731" y="2552722"/>
            <a:ext cx="710868" cy="305671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DF880F3E-021F-409A-932A-434488993C7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064345" y="1845662"/>
            <a:ext cx="881670" cy="181677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E7B34511-A5A2-4A1D-B91D-5F557833627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459466" y="2427035"/>
            <a:ext cx="625557" cy="98995"/>
          </a:xfrm>
          <a:prstGeom prst="rect">
            <a:avLst/>
          </a:prstGeom>
        </p:spPr>
      </p:pic>
      <p:sp>
        <p:nvSpPr>
          <p:cNvPr id="62" name="Titre 1">
            <a:extLst>
              <a:ext uri="{FF2B5EF4-FFF2-40B4-BE49-F238E27FC236}">
                <a16:creationId xmlns:a16="http://schemas.microsoft.com/office/drawing/2014/main" id="{ECC1DDBE-AD51-4463-B72C-FF822168BE2A}"/>
              </a:ext>
            </a:extLst>
          </p:cNvPr>
          <p:cNvSpPr txBox="1">
            <a:spLocks/>
          </p:cNvSpPr>
          <p:nvPr/>
        </p:nvSpPr>
        <p:spPr>
          <a:xfrm>
            <a:off x="229321" y="580704"/>
            <a:ext cx="1495851" cy="325460"/>
          </a:xfrm>
          <a:prstGeom prst="rect">
            <a:avLst/>
          </a:prstGeom>
          <a:solidFill>
            <a:srgbClr val="003A70"/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cap="small" dirty="0">
                <a:solidFill>
                  <a:schemeClr val="bg1"/>
                </a:solidFill>
                <a:latin typeface="DIN" panose="02000503040000020003" pitchFamily="2" charset="0"/>
              </a:rPr>
              <a:t>Transfo. Gifts</a:t>
            </a: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D8C26CC4-46C7-4F1E-9E34-9432818AF65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70119" y="3305334"/>
            <a:ext cx="637848" cy="273364"/>
          </a:xfrm>
          <a:prstGeom prst="rect">
            <a:avLst/>
          </a:prstGeom>
        </p:spPr>
      </p:pic>
      <p:cxnSp>
        <p:nvCxnSpPr>
          <p:cNvPr id="68" name="Connecteur droit 67">
            <a:extLst>
              <a:ext uri="{FF2B5EF4-FFF2-40B4-BE49-F238E27FC236}">
                <a16:creationId xmlns:a16="http://schemas.microsoft.com/office/drawing/2014/main" id="{2730A5D2-6E4E-4276-85A9-9CC26CCFD227}"/>
              </a:ext>
            </a:extLst>
          </p:cNvPr>
          <p:cNvCxnSpPr>
            <a:cxnSpLocks/>
          </p:cNvCxnSpPr>
          <p:nvPr/>
        </p:nvCxnSpPr>
        <p:spPr>
          <a:xfrm>
            <a:off x="1831777" y="1100858"/>
            <a:ext cx="0" cy="3671475"/>
          </a:xfrm>
          <a:prstGeom prst="line">
            <a:avLst/>
          </a:prstGeom>
          <a:ln>
            <a:solidFill>
              <a:srgbClr val="003A7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6" name="Image 75">
            <a:extLst>
              <a:ext uri="{FF2B5EF4-FFF2-40B4-BE49-F238E27FC236}">
                <a16:creationId xmlns:a16="http://schemas.microsoft.com/office/drawing/2014/main" id="{BB8F2DB1-0F15-40FC-A89F-8099926729D8}"/>
              </a:ext>
              <a:ext uri="{147F2762-F138-4A5C-976F-8EAC2B608ADB}">
                <a16:predDERef xmlns:a16="http://schemas.microsoft.com/office/drawing/2014/main" pred="{EAB65C28-7948-4555-A32D-12FEE73F2A6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084353" y="2839801"/>
            <a:ext cx="859695" cy="490634"/>
          </a:xfrm>
          <a:prstGeom prst="rect">
            <a:avLst/>
          </a:prstGeom>
        </p:spPr>
      </p:pic>
      <p:pic>
        <p:nvPicPr>
          <p:cNvPr id="77" name="Image 76">
            <a:extLst>
              <a:ext uri="{FF2B5EF4-FFF2-40B4-BE49-F238E27FC236}">
                <a16:creationId xmlns:a16="http://schemas.microsoft.com/office/drawing/2014/main" id="{7008B64A-270E-4CCF-976B-9D0B4FBEE16D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8069" t="1" r="9620" b="19382"/>
          <a:stretch/>
        </p:blipFill>
        <p:spPr>
          <a:xfrm>
            <a:off x="575026" y="2303872"/>
            <a:ext cx="730512" cy="314118"/>
          </a:xfrm>
          <a:prstGeom prst="rect">
            <a:avLst/>
          </a:prstGeom>
        </p:spPr>
      </p:pic>
      <p:pic>
        <p:nvPicPr>
          <p:cNvPr id="79" name="Picture 27" descr="P:\FONDATION\5_Marketing\Logos\L'OREAL\LOREAL N copie.ti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44" y="3056602"/>
            <a:ext cx="574683" cy="117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Image 52">
            <a:extLst>
              <a:ext uri="{FF2B5EF4-FFF2-40B4-BE49-F238E27FC236}">
                <a16:creationId xmlns:a16="http://schemas.microsoft.com/office/drawing/2014/main" id="{4A6EB489-1B42-4E80-AE40-4FB6773B313C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t="16477" b="17442"/>
          <a:stretch/>
        </p:blipFill>
        <p:spPr>
          <a:xfrm>
            <a:off x="4647240" y="1451719"/>
            <a:ext cx="606503" cy="264684"/>
          </a:xfrm>
          <a:prstGeom prst="rect">
            <a:avLst/>
          </a:prstGeom>
        </p:spPr>
      </p:pic>
      <p:pic>
        <p:nvPicPr>
          <p:cNvPr id="54" name="Picture 2" descr="Résultat de recherche d'images pour &quot;société générale logo&quot;">
            <a:extLst>
              <a:ext uri="{FF2B5EF4-FFF2-40B4-BE49-F238E27FC236}">
                <a16:creationId xmlns:a16="http://schemas.microsoft.com/office/drawing/2014/main" id="{8673972C-59E5-4CB6-8F2F-1793127D5B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67" b="39030"/>
          <a:stretch/>
        </p:blipFill>
        <p:spPr bwMode="auto">
          <a:xfrm>
            <a:off x="5667850" y="2158593"/>
            <a:ext cx="622825" cy="140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9A5CFDF2-390D-4BD3-B697-0F31CDA9C27C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8069" t="1" r="9620" b="19382"/>
          <a:stretch/>
        </p:blipFill>
        <p:spPr>
          <a:xfrm>
            <a:off x="4609602" y="3455329"/>
            <a:ext cx="772958" cy="332370"/>
          </a:xfrm>
          <a:prstGeom prst="rect">
            <a:avLst/>
          </a:prstGeom>
        </p:spPr>
      </p:pic>
      <p:pic>
        <p:nvPicPr>
          <p:cNvPr id="60" name="Picture 27" descr="P:\FONDATION\5_Marketing\Logos\L'OREAL\LOREAL N copie.tif">
            <a:extLst>
              <a:ext uri="{FF2B5EF4-FFF2-40B4-BE49-F238E27FC236}">
                <a16:creationId xmlns:a16="http://schemas.microsoft.com/office/drawing/2014/main" id="{E05C4A83-480C-4460-B66B-7B267A104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3693" y="3887981"/>
            <a:ext cx="595621" cy="121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Image 63">
            <a:extLst>
              <a:ext uri="{FF2B5EF4-FFF2-40B4-BE49-F238E27FC236}">
                <a16:creationId xmlns:a16="http://schemas.microsoft.com/office/drawing/2014/main" id="{C6F7798C-2CEC-4F46-961E-37F9D26C12A2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t="16477" b="17442"/>
          <a:stretch/>
        </p:blipFill>
        <p:spPr>
          <a:xfrm>
            <a:off x="2218692" y="2181199"/>
            <a:ext cx="652470" cy="28474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4A87BC9-BDB2-4650-AEEF-732BA74F829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955399" y="4044145"/>
            <a:ext cx="1149615" cy="32734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AB3DD73-762C-4B49-9039-6DF62DBD802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8126022" y="2276503"/>
            <a:ext cx="646894" cy="40317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C3C1E09C-3135-4CCB-93E1-C8C173A88C22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48126" y="4239803"/>
            <a:ext cx="742174" cy="419793"/>
          </a:xfrm>
          <a:prstGeom prst="rect">
            <a:avLst/>
          </a:prstGeom>
        </p:spPr>
      </p:pic>
      <p:sp>
        <p:nvSpPr>
          <p:cNvPr id="66" name="Titre 1">
            <a:extLst>
              <a:ext uri="{FF2B5EF4-FFF2-40B4-BE49-F238E27FC236}">
                <a16:creationId xmlns:a16="http://schemas.microsoft.com/office/drawing/2014/main" id="{604C8B21-DC02-4C28-9F4D-ED10C57606C3}"/>
              </a:ext>
            </a:extLst>
          </p:cNvPr>
          <p:cNvSpPr txBox="1">
            <a:spLocks/>
          </p:cNvSpPr>
          <p:nvPr/>
        </p:nvSpPr>
        <p:spPr>
          <a:xfrm>
            <a:off x="229321" y="1902482"/>
            <a:ext cx="1414311" cy="36651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800" dirty="0">
                <a:solidFill>
                  <a:schemeClr val="bg1"/>
                </a:solidFill>
                <a:latin typeface="DIN" panose="02000503040000020003" pitchFamily="2" charset="0"/>
              </a:rPr>
              <a:t>Hi! PARIS</a:t>
            </a:r>
          </a:p>
          <a:p>
            <a:r>
              <a:rPr lang="fr-FR" sz="800" dirty="0">
                <a:solidFill>
                  <a:schemeClr val="bg1"/>
                </a:solidFill>
                <a:latin typeface="DIN" panose="02000503040000020003" pitchFamily="2" charset="0"/>
              </a:rPr>
              <a:t>by HEC Paris &amp; Institut Polytechnique de Paris</a:t>
            </a:r>
          </a:p>
        </p:txBody>
      </p:sp>
      <p:pic>
        <p:nvPicPr>
          <p:cNvPr id="67" name="Picture 14" descr="See original image">
            <a:extLst>
              <a:ext uri="{FF2B5EF4-FFF2-40B4-BE49-F238E27FC236}">
                <a16:creationId xmlns:a16="http://schemas.microsoft.com/office/drawing/2014/main" id="{664C0D35-3DF1-4E22-B1F0-B552DC8F7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53" y="1016117"/>
            <a:ext cx="508785" cy="319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perçu de l’image">
            <a:extLst>
              <a:ext uri="{FF2B5EF4-FFF2-40B4-BE49-F238E27FC236}">
                <a16:creationId xmlns:a16="http://schemas.microsoft.com/office/drawing/2014/main" id="{AC79E82A-8419-4C3A-A136-934DFECC83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39" y="1463298"/>
            <a:ext cx="652779" cy="141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perçu de l’image">
            <a:extLst>
              <a:ext uri="{FF2B5EF4-FFF2-40B4-BE49-F238E27FC236}">
                <a16:creationId xmlns:a16="http://schemas.microsoft.com/office/drawing/2014/main" id="{AF476F4C-2C6D-4657-A483-500DDDE6DE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10" y="3899256"/>
            <a:ext cx="813650" cy="457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A1A39209-7D84-4D7C-AE16-954DA6269266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452914" y="1908630"/>
            <a:ext cx="649971" cy="343954"/>
          </a:xfrm>
          <a:prstGeom prst="rect">
            <a:avLst/>
          </a:prstGeom>
        </p:spPr>
      </p:pic>
      <p:sp>
        <p:nvSpPr>
          <p:cNvPr id="72" name="Titre 1">
            <a:extLst>
              <a:ext uri="{FF2B5EF4-FFF2-40B4-BE49-F238E27FC236}">
                <a16:creationId xmlns:a16="http://schemas.microsoft.com/office/drawing/2014/main" id="{7706AF84-8B3B-4072-B2CF-9CA42FCC91B7}"/>
              </a:ext>
            </a:extLst>
          </p:cNvPr>
          <p:cNvSpPr txBox="1">
            <a:spLocks/>
          </p:cNvSpPr>
          <p:nvPr/>
        </p:nvSpPr>
        <p:spPr>
          <a:xfrm>
            <a:off x="4514732" y="568707"/>
            <a:ext cx="1923641" cy="337456"/>
          </a:xfrm>
          <a:prstGeom prst="rect">
            <a:avLst/>
          </a:prstGeom>
          <a:solidFill>
            <a:srgbClr val="003A70"/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cap="small" dirty="0">
                <a:solidFill>
                  <a:schemeClr val="bg1"/>
                </a:solidFill>
                <a:latin typeface="DIN" panose="02000503040000020003" pitchFamily="2" charset="0"/>
              </a:rPr>
              <a:t>Institutes &amp; Centers</a:t>
            </a:r>
          </a:p>
        </p:txBody>
      </p:sp>
      <p:pic>
        <p:nvPicPr>
          <p:cNvPr id="1034" name="Picture 10" descr="Bank of America Logo : histoire, signification de l'emblème">
            <a:extLst>
              <a:ext uri="{FF2B5EF4-FFF2-40B4-BE49-F238E27FC236}">
                <a16:creationId xmlns:a16="http://schemas.microsoft.com/office/drawing/2014/main" id="{86A13E49-C24A-4BCF-9EA5-3FF35A54B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8550" y="2794683"/>
            <a:ext cx="941836" cy="529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14" descr="See original image">
            <a:extLst>
              <a:ext uri="{FF2B5EF4-FFF2-40B4-BE49-F238E27FC236}">
                <a16:creationId xmlns:a16="http://schemas.microsoft.com/office/drawing/2014/main" id="{4386C7A5-9D0D-86D0-C969-F43DA8AA1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7562" y="3306095"/>
            <a:ext cx="521135" cy="327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logo icade - Revelarchi">
            <a:extLst>
              <a:ext uri="{FF2B5EF4-FFF2-40B4-BE49-F238E27FC236}">
                <a16:creationId xmlns:a16="http://schemas.microsoft.com/office/drawing/2014/main" id="{4362EFDA-E74A-5245-AF0C-18C60BFFB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588" y="4412278"/>
            <a:ext cx="559006" cy="417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133F216-8BC3-156E-E363-03B635F6F7E2}"/>
              </a:ext>
            </a:extLst>
          </p:cNvPr>
          <p:cNvSpPr txBox="1"/>
          <p:nvPr/>
        </p:nvSpPr>
        <p:spPr>
          <a:xfrm>
            <a:off x="8643543" y="4880972"/>
            <a:ext cx="4924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/>
              <a:t>Oct.23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75473966-FBFD-B12F-63C0-C75E5EB86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597" y="3766493"/>
            <a:ext cx="1113117" cy="130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EAF43E7B-669F-4D0D-328B-BB6B91A8AC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0583" y="2741971"/>
            <a:ext cx="929357" cy="259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">
            <a:extLst>
              <a:ext uri="{FF2B5EF4-FFF2-40B4-BE49-F238E27FC236}">
                <a16:creationId xmlns:a16="http://schemas.microsoft.com/office/drawing/2014/main" id="{5907C219-7711-37B1-DCE9-9791C1DFF5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975" y="2921204"/>
            <a:ext cx="932856" cy="280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Rothschild &amp; Co">
            <a:extLst>
              <a:ext uri="{FF2B5EF4-FFF2-40B4-BE49-F238E27FC236}">
                <a16:creationId xmlns:a16="http://schemas.microsoft.com/office/drawing/2014/main" id="{21713881-EB36-9E77-EF4E-FDF1DC42C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2218" y="3682855"/>
            <a:ext cx="905740" cy="149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Image 62">
            <a:extLst>
              <a:ext uri="{FF2B5EF4-FFF2-40B4-BE49-F238E27FC236}">
                <a16:creationId xmlns:a16="http://schemas.microsoft.com/office/drawing/2014/main" id="{1D8B46B4-0FE3-D51D-FEEF-20951D0FE1A8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82" b="21336"/>
          <a:stretch/>
        </p:blipFill>
        <p:spPr bwMode="auto">
          <a:xfrm>
            <a:off x="594037" y="3664983"/>
            <a:ext cx="598691" cy="27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961AB551-5EA6-3EAC-B31E-B4B9E2B4B94F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548316" y="2656443"/>
            <a:ext cx="728368" cy="319483"/>
          </a:xfrm>
          <a:prstGeom prst="rect">
            <a:avLst/>
          </a:prstGeom>
        </p:spPr>
      </p:pic>
      <p:pic>
        <p:nvPicPr>
          <p:cNvPr id="74" name="Image 73">
            <a:extLst>
              <a:ext uri="{FF2B5EF4-FFF2-40B4-BE49-F238E27FC236}">
                <a16:creationId xmlns:a16="http://schemas.microsoft.com/office/drawing/2014/main" id="{173A96E1-7C74-35C0-F8FA-3D0860172A65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410871" y="1066413"/>
            <a:ext cx="755464" cy="331368"/>
          </a:xfrm>
          <a:prstGeom prst="rect">
            <a:avLst/>
          </a:prstGeom>
        </p:spPr>
      </p:pic>
      <p:pic>
        <p:nvPicPr>
          <p:cNvPr id="15" name="Picture 2" descr="Nexans | Institut Curie">
            <a:extLst>
              <a:ext uri="{FF2B5EF4-FFF2-40B4-BE49-F238E27FC236}">
                <a16:creationId xmlns:a16="http://schemas.microsoft.com/office/drawing/2014/main" id="{51C2983D-8586-8780-67B5-E9B2740E7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218" y="3122307"/>
            <a:ext cx="572444" cy="347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Image 74">
            <a:extLst>
              <a:ext uri="{FF2B5EF4-FFF2-40B4-BE49-F238E27FC236}">
                <a16:creationId xmlns:a16="http://schemas.microsoft.com/office/drawing/2014/main" id="{2487BE78-B738-1554-4506-C3DB80CE8110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82" b="21336"/>
          <a:stretch/>
        </p:blipFill>
        <p:spPr bwMode="auto">
          <a:xfrm>
            <a:off x="1027838" y="1028711"/>
            <a:ext cx="576443" cy="294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" name="Image 77">
            <a:extLst>
              <a:ext uri="{FF2B5EF4-FFF2-40B4-BE49-F238E27FC236}">
                <a16:creationId xmlns:a16="http://schemas.microsoft.com/office/drawing/2014/main" id="{CD5B6754-5BFB-C540-1C8A-CC0DEE3AC1D0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82" b="21336"/>
          <a:stretch/>
        </p:blipFill>
        <p:spPr bwMode="auto">
          <a:xfrm>
            <a:off x="5681367" y="3230730"/>
            <a:ext cx="606379" cy="275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Worldline | Image Library">
            <a:extLst>
              <a:ext uri="{FF2B5EF4-FFF2-40B4-BE49-F238E27FC236}">
                <a16:creationId xmlns:a16="http://schemas.microsoft.com/office/drawing/2014/main" id="{578BD245-94F2-C61B-F17F-3B0BDFC55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459" y="4567197"/>
            <a:ext cx="888200" cy="9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4" descr="See original image">
            <a:extLst>
              <a:ext uri="{FF2B5EF4-FFF2-40B4-BE49-F238E27FC236}">
                <a16:creationId xmlns:a16="http://schemas.microsoft.com/office/drawing/2014/main" id="{580CA8C2-1C11-CE7D-EFC6-C1C4FEC2A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7506" y="1805938"/>
            <a:ext cx="421204" cy="264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Image 80">
            <a:extLst>
              <a:ext uri="{FF2B5EF4-FFF2-40B4-BE49-F238E27FC236}">
                <a16:creationId xmlns:a16="http://schemas.microsoft.com/office/drawing/2014/main" id="{D71EB3A0-9477-AEAE-718E-4715019C21A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560910" y="2116867"/>
            <a:ext cx="901611" cy="256730"/>
          </a:xfrm>
          <a:prstGeom prst="rect">
            <a:avLst/>
          </a:prstGeom>
        </p:spPr>
      </p:pic>
      <p:pic>
        <p:nvPicPr>
          <p:cNvPr id="82" name="Picture 2" descr="Nexans | Institut Curie">
            <a:extLst>
              <a:ext uri="{FF2B5EF4-FFF2-40B4-BE49-F238E27FC236}">
                <a16:creationId xmlns:a16="http://schemas.microsoft.com/office/drawing/2014/main" id="{1E129C93-08AC-D10B-5033-DBA85B6AA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230" y="1410123"/>
            <a:ext cx="527641" cy="319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B6C5084-6F8D-EBF1-D9B7-8EC1B608BDD9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6771832" y="3663171"/>
            <a:ext cx="898967" cy="294352"/>
          </a:xfrm>
          <a:prstGeom prst="rect">
            <a:avLst/>
          </a:prstGeom>
        </p:spPr>
      </p:pic>
      <p:pic>
        <p:nvPicPr>
          <p:cNvPr id="83" name="Image 82" descr="Une image contenant texte&#10;&#10;Description générée automatiquement">
            <a:extLst>
              <a:ext uri="{FF2B5EF4-FFF2-40B4-BE49-F238E27FC236}">
                <a16:creationId xmlns:a16="http://schemas.microsoft.com/office/drawing/2014/main" id="{DB5D8154-B68A-248B-C8C7-6886BADE0BF6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247" y="1300944"/>
            <a:ext cx="508786" cy="508786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Image 83" descr="Une image contenant texte&#10;&#10;Description générée automatiquement">
            <a:extLst>
              <a:ext uri="{FF2B5EF4-FFF2-40B4-BE49-F238E27FC236}">
                <a16:creationId xmlns:a16="http://schemas.microsoft.com/office/drawing/2014/main" id="{19C80341-7689-F316-A847-CE85B17DEDCB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565" y="3480645"/>
            <a:ext cx="508786" cy="5087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Oddo BHF — Wikipédia">
            <a:extLst>
              <a:ext uri="{FF2B5EF4-FFF2-40B4-BE49-F238E27FC236}">
                <a16:creationId xmlns:a16="http://schemas.microsoft.com/office/drawing/2014/main" id="{21D2B26C-CE2E-7185-D7AA-F517BE749C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4207" y="2863369"/>
            <a:ext cx="673690" cy="403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itre 1">
            <a:extLst>
              <a:ext uri="{FF2B5EF4-FFF2-40B4-BE49-F238E27FC236}">
                <a16:creationId xmlns:a16="http://schemas.microsoft.com/office/drawing/2014/main" id="{B33EF64A-FC97-490A-94FE-BE01C484FBCC}"/>
              </a:ext>
            </a:extLst>
          </p:cNvPr>
          <p:cNvSpPr txBox="1">
            <a:spLocks/>
          </p:cNvSpPr>
          <p:nvPr/>
        </p:nvSpPr>
        <p:spPr>
          <a:xfrm>
            <a:off x="4478915" y="4186615"/>
            <a:ext cx="1923640" cy="31114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900" dirty="0">
                <a:solidFill>
                  <a:schemeClr val="bg1"/>
                </a:solidFill>
                <a:latin typeface="DIN" panose="02000503040000020003" pitchFamily="2" charset="0"/>
              </a:rPr>
              <a:t>Impact Finance Center</a:t>
            </a:r>
          </a:p>
        </p:txBody>
      </p:sp>
      <p:pic>
        <p:nvPicPr>
          <p:cNvPr id="87" name="Picture 2" descr="Rothschild &amp; Co">
            <a:extLst>
              <a:ext uri="{FF2B5EF4-FFF2-40B4-BE49-F238E27FC236}">
                <a16:creationId xmlns:a16="http://schemas.microsoft.com/office/drawing/2014/main" id="{7A747864-AB29-AE19-D971-143D32D6F5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195" y="4593117"/>
            <a:ext cx="905740" cy="149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26156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F16D342-8C79-4674-84C4-1D7422C351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324055-7B9E-406C-B0E6-37B02750E4D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30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AE4A4E3-D52D-454D-8EE3-EA39C3782C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07E5850-2F44-47A4-919A-972AC0D99706}"/>
              </a:ext>
            </a:extLst>
          </p:cNvPr>
          <p:cNvSpPr/>
          <p:nvPr/>
        </p:nvSpPr>
        <p:spPr>
          <a:xfrm>
            <a:off x="2189200" y="709225"/>
            <a:ext cx="4765601" cy="4434275"/>
          </a:xfrm>
          <a:prstGeom prst="roundRect">
            <a:avLst>
              <a:gd name="adj" fmla="val 1093"/>
            </a:avLst>
          </a:prstGeom>
          <a:gradFill flip="none" rotWithShape="1">
            <a:gsLst>
              <a:gs pos="0">
                <a:srgbClr val="003A70">
                  <a:alpha val="59000"/>
                </a:srgbClr>
              </a:gs>
              <a:gs pos="86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533400" dist="393700" dir="12180000" sx="76000" sy="76000" algn="ctr" rotWithShape="0">
              <a:srgbClr val="003A70">
                <a:alpha val="6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7E0AC19-791D-4733-A7D0-66240CEFFF7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17238" y="1214387"/>
            <a:ext cx="8370236" cy="2343150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4A3EF80-A4C3-47F4-B1A3-1C3D186E6A19}"/>
              </a:ext>
            </a:extLst>
          </p:cNvPr>
          <p:cNvSpPr/>
          <p:nvPr/>
        </p:nvSpPr>
        <p:spPr>
          <a:xfrm>
            <a:off x="2819399" y="1159585"/>
            <a:ext cx="3505202" cy="3412415"/>
          </a:xfrm>
          <a:prstGeom prst="roundRect">
            <a:avLst>
              <a:gd name="adj" fmla="val 1093"/>
            </a:avLst>
          </a:prstGeom>
          <a:gradFill flip="none" rotWithShape="1">
            <a:gsLst>
              <a:gs pos="34000">
                <a:srgbClr val="003A70">
                  <a:alpha val="59000"/>
                </a:srgbClr>
              </a:gs>
              <a:gs pos="100000">
                <a:srgbClr val="00305C"/>
              </a:gs>
            </a:gsLst>
            <a:lin ang="2700000" scaled="1"/>
            <a:tileRect/>
          </a:gradFill>
          <a:ln>
            <a:noFill/>
          </a:ln>
          <a:effectLst>
            <a:outerShdw blurRad="533400" dist="393700" dir="12180000" sx="76000" sy="76000" algn="ctr" rotWithShape="0">
              <a:srgbClr val="003A70">
                <a:alpha val="6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>
              <a:latin typeface="Arial" panose="020B0604020202020204" pitchFamily="34" charset="0"/>
            </a:endParaRPr>
          </a:p>
        </p:txBody>
      </p:sp>
      <p:pic>
        <p:nvPicPr>
          <p:cNvPr id="24" name="Image 17" descr="HEC-LOGO-BLANC-01.png">
            <a:extLst>
              <a:ext uri="{FF2B5EF4-FFF2-40B4-BE49-F238E27FC236}">
                <a16:creationId xmlns:a16="http://schemas.microsoft.com/office/drawing/2014/main" id="{4440AC0F-4F88-4B41-93E7-5D8A39E0C76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01" y="1836016"/>
            <a:ext cx="1066799" cy="53364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5B8927D-87C6-48D8-B87E-A358AE4B53A1}"/>
              </a:ext>
            </a:extLst>
          </p:cNvPr>
          <p:cNvSpPr txBox="1"/>
          <p:nvPr/>
        </p:nvSpPr>
        <p:spPr>
          <a:xfrm rot="5400000">
            <a:off x="8339796" y="608221"/>
            <a:ext cx="1010320" cy="20201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defTabSz="685800">
              <a:lnSpc>
                <a:spcPct val="70000"/>
              </a:lnSpc>
              <a:defRPr/>
            </a:pPr>
            <a:r>
              <a:rPr lang="fr-FR" sz="1500" b="1">
                <a:ln>
                  <a:solidFill>
                    <a:prstClr val="white">
                      <a:alpha val="12000"/>
                    </a:prstClr>
                  </a:solidFill>
                </a:ln>
                <a:solidFill>
                  <a:prstClr val="white"/>
                </a:solidFill>
                <a:latin typeface="Arial Black" panose="020B0A04020102020204" pitchFamily="34" charset="0"/>
                <a:cs typeface="DIN Pro Black" panose="020B0A04020101010102" pitchFamily="34" charset="0"/>
              </a:rPr>
              <a:t>2023</a:t>
            </a:r>
            <a:endParaRPr lang="fr-FR" sz="1500" b="1" dirty="0">
              <a:ln>
                <a:solidFill>
                  <a:prstClr val="white">
                    <a:alpha val="12000"/>
                  </a:prstClr>
                </a:solidFill>
              </a:ln>
              <a:solidFill>
                <a:prstClr val="white"/>
              </a:solidFill>
              <a:latin typeface="Arial Black" panose="020B0A04020102020204" pitchFamily="34" charset="0"/>
              <a:cs typeface="DIN Pro Black" panose="020B0A04020101010102" pitchFamily="34" charset="0"/>
            </a:endParaRPr>
          </a:p>
        </p:txBody>
      </p:sp>
      <p:pic>
        <p:nvPicPr>
          <p:cNvPr id="7" name="Picture 6" descr="A building with a metal fence&#10;&#10;Description automatically generated">
            <a:extLst>
              <a:ext uri="{FF2B5EF4-FFF2-40B4-BE49-F238E27FC236}">
                <a16:creationId xmlns:a16="http://schemas.microsoft.com/office/drawing/2014/main" id="{B5CDC024-EF7F-4F96-8053-6237BEEC9AD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57450"/>
            <a:ext cx="9144000" cy="268605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EC16D75-25E9-474E-9401-3DDA4DB0F332}"/>
              </a:ext>
            </a:extLst>
          </p:cNvPr>
          <p:cNvSpPr txBox="1"/>
          <p:nvPr/>
        </p:nvSpPr>
        <p:spPr>
          <a:xfrm rot="16200000">
            <a:off x="-210379" y="4349530"/>
            <a:ext cx="1010320" cy="24502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defTabSz="685800">
              <a:lnSpc>
                <a:spcPct val="70000"/>
              </a:lnSpc>
              <a:defRPr/>
            </a:pPr>
            <a:r>
              <a:rPr lang="fr-FR" sz="1500" b="1" dirty="0">
                <a:ln>
                  <a:solidFill>
                    <a:prstClr val="white">
                      <a:alpha val="12000"/>
                    </a:prstClr>
                  </a:solidFill>
                </a:ln>
                <a:solidFill>
                  <a:prstClr val="white"/>
                </a:solidFill>
                <a:latin typeface="Arial Black" panose="020B0A04020102020204" pitchFamily="34" charset="0"/>
                <a:cs typeface="DIN Pro Black" panose="020B0A04020101010102" pitchFamily="34" charset="0"/>
              </a:rPr>
              <a:t>2023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8A0904E-B6BC-44C7-BBE0-99F69FC73A9F}"/>
              </a:ext>
            </a:extLst>
          </p:cNvPr>
          <p:cNvCxnSpPr/>
          <p:nvPr/>
        </p:nvCxnSpPr>
        <p:spPr>
          <a:xfrm flipV="1">
            <a:off x="266700" y="0"/>
            <a:ext cx="0" cy="4114800"/>
          </a:xfrm>
          <a:prstGeom prst="line">
            <a:avLst/>
          </a:prstGeom>
          <a:ln>
            <a:solidFill>
              <a:schemeClr val="bg1">
                <a:alpha val="5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175B425-12B2-40BE-82FE-CABAA076F8F3}"/>
              </a:ext>
            </a:extLst>
          </p:cNvPr>
          <p:cNvCxnSpPr>
            <a:cxnSpLocks/>
          </p:cNvCxnSpPr>
          <p:nvPr/>
        </p:nvCxnSpPr>
        <p:spPr>
          <a:xfrm flipV="1">
            <a:off x="8858250" y="1028700"/>
            <a:ext cx="0" cy="4114800"/>
          </a:xfrm>
          <a:prstGeom prst="line">
            <a:avLst/>
          </a:prstGeom>
          <a:ln>
            <a:solidFill>
              <a:schemeClr val="bg1">
                <a:alpha val="5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899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10" fill="hold"/>
                                        <p:tgtEl>
                                          <p:spTgt spid="5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accel="16000" decel="8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7" dur="1000" fill="hold"/>
                                        <p:tgtEl>
                                          <p:spTgt spid="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-2.96296E-6 L 2.29167E-6 0.17593 " pathEditMode="relative" rAng="0" ptsTypes="AA">
                                      <p:cBhvr>
                                        <p:cTn id="28" dur="125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79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3" presetClass="path" presetSubtype="0" accel="22000" decel="78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4.44444E-6 L -1.45833E-6 -0.17777 " pathEditMode="relative" rAng="0" ptsTypes="AA">
                                      <p:cBhvr>
                                        <p:cTn id="33" dur="125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8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accel="33333" decel="6666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1.11111E-6 L 0.21875 -0.00995 " pathEditMode="relative" rAng="0" ptsTypes="AA">
                                      <p:cBhvr>
                                        <p:cTn id="53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38" y="-509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8" grpId="0" animBg="1"/>
      <p:bldP spid="20" grpId="0" animBg="1"/>
      <p:bldP spid="14" grpId="0"/>
      <p:bldP spid="14" grpId="1"/>
      <p:bldP spid="32" grpId="0"/>
      <p:bldP spid="32" grpId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Oval 147">
            <a:extLst>
              <a:ext uri="{FF2B5EF4-FFF2-40B4-BE49-F238E27FC236}">
                <a16:creationId xmlns:a16="http://schemas.microsoft.com/office/drawing/2014/main" id="{65505698-4058-4476-962D-62B04E477F7C}"/>
              </a:ext>
            </a:extLst>
          </p:cNvPr>
          <p:cNvSpPr/>
          <p:nvPr/>
        </p:nvSpPr>
        <p:spPr>
          <a:xfrm>
            <a:off x="5501386" y="2170567"/>
            <a:ext cx="2556764" cy="2556764"/>
          </a:xfrm>
          <a:prstGeom prst="ellipse">
            <a:avLst/>
          </a:prstGeom>
          <a:noFill/>
          <a:ln>
            <a:solidFill>
              <a:srgbClr val="003066">
                <a:alpha val="3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52F6B8-38D6-4580-8655-41F2F89F8EBA}"/>
              </a:ext>
            </a:extLst>
          </p:cNvPr>
          <p:cNvCxnSpPr>
            <a:cxnSpLocks/>
          </p:cNvCxnSpPr>
          <p:nvPr/>
        </p:nvCxnSpPr>
        <p:spPr>
          <a:xfrm>
            <a:off x="-317640" y="-754854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4F2A518-FBB7-484E-9B62-41628800E404}"/>
              </a:ext>
            </a:extLst>
          </p:cNvPr>
          <p:cNvSpPr txBox="1"/>
          <p:nvPr/>
        </p:nvSpPr>
        <p:spPr>
          <a:xfrm>
            <a:off x="2043113" y="19609"/>
            <a:ext cx="5057775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2100" b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VISION, MISSION </a:t>
            </a:r>
            <a:r>
              <a:rPr lang="fr-FR" sz="21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&amp; VALUES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C133542-14BE-49B5-A306-3ED4E405CA39}"/>
              </a:ext>
            </a:extLst>
          </p:cNvPr>
          <p:cNvCxnSpPr>
            <a:cxnSpLocks/>
          </p:cNvCxnSpPr>
          <p:nvPr/>
        </p:nvCxnSpPr>
        <p:spPr>
          <a:xfrm flipH="1">
            <a:off x="4463144" y="701901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F7935C8-E0CD-4CEC-80DE-3F60AE168C3C}"/>
              </a:ext>
            </a:extLst>
          </p:cNvPr>
          <p:cNvCxnSpPr>
            <a:cxnSpLocks/>
          </p:cNvCxnSpPr>
          <p:nvPr/>
        </p:nvCxnSpPr>
        <p:spPr>
          <a:xfrm>
            <a:off x="2" y="673326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673A1C4-D63C-4755-AFEA-D206668D8DED}"/>
              </a:ext>
            </a:extLst>
          </p:cNvPr>
          <p:cNvSpPr txBox="1"/>
          <p:nvPr/>
        </p:nvSpPr>
        <p:spPr>
          <a:xfrm>
            <a:off x="370374" y="972835"/>
            <a:ext cx="132862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fr-FR" sz="1500" cap="all">
                <a:solidFill>
                  <a:srgbClr val="B9975B"/>
                </a:solidFill>
                <a:latin typeface="Arial Black" panose="020B0A04020102020204" pitchFamily="34" charset="0"/>
                <a:cs typeface="DIN Pro Cond Black" panose="020B0A06020101010102" pitchFamily="34" charset="0"/>
              </a:rPr>
              <a:t>SHARED </a:t>
            </a:r>
          </a:p>
          <a:p>
            <a:pPr algn="r">
              <a:lnSpc>
                <a:spcPct val="90000"/>
              </a:lnSpc>
            </a:pPr>
            <a:r>
              <a:rPr lang="fr-FR" sz="1500" cap="all">
                <a:solidFill>
                  <a:srgbClr val="B9975B"/>
                </a:solidFill>
                <a:latin typeface="Arial Black" panose="020B0A04020102020204" pitchFamily="34" charset="0"/>
                <a:cs typeface="DIN Pro Cond Black" panose="020B0A06020101010102" pitchFamily="34" charset="0"/>
              </a:rPr>
              <a:t>VIS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D59A1DE-7D37-4DD1-9CE0-CFA7DD625E30}"/>
              </a:ext>
            </a:extLst>
          </p:cNvPr>
          <p:cNvSpPr txBox="1"/>
          <p:nvPr/>
        </p:nvSpPr>
        <p:spPr>
          <a:xfrm>
            <a:off x="1913163" y="998584"/>
            <a:ext cx="678964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5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We IMPACT </a:t>
            </a:r>
            <a:r>
              <a:rPr lang="en-US" sz="150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business and society through research, education, and action, </a:t>
            </a:r>
            <a:br>
              <a:rPr lang="en-US" sz="150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</a:br>
            <a:r>
              <a:rPr lang="en-US" sz="1500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to contribute to a more inclusive, prosperous, and sustainable world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2CB5F326-4477-49CB-AC00-E3985B366115}"/>
              </a:ext>
            </a:extLst>
          </p:cNvPr>
          <p:cNvGrpSpPr/>
          <p:nvPr/>
        </p:nvGrpSpPr>
        <p:grpSpPr>
          <a:xfrm>
            <a:off x="357582" y="1862393"/>
            <a:ext cx="3961468" cy="1268865"/>
            <a:chOff x="335071" y="2349394"/>
            <a:chExt cx="5281957" cy="1691818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30A52D4A-529D-423D-AF44-B03962B76542}"/>
                </a:ext>
              </a:extLst>
            </p:cNvPr>
            <p:cNvSpPr/>
            <p:nvPr/>
          </p:nvSpPr>
          <p:spPr>
            <a:xfrm>
              <a:off x="335071" y="2349394"/>
              <a:ext cx="5281957" cy="1691817"/>
            </a:xfrm>
            <a:prstGeom prst="roundRect">
              <a:avLst>
                <a:gd name="adj" fmla="val 4199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-760" t="-49668" r="-760" b="-49668"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>
                <a:latin typeface="Arial" panose="020B0604020202020204" pitchFamily="34" charset="0"/>
              </a:endParaRP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06A483D1-0A66-46DC-B320-E63B502C8ED4}"/>
                </a:ext>
              </a:extLst>
            </p:cNvPr>
            <p:cNvSpPr/>
            <p:nvPr/>
          </p:nvSpPr>
          <p:spPr>
            <a:xfrm>
              <a:off x="335071" y="2349395"/>
              <a:ext cx="5281957" cy="1691817"/>
            </a:xfrm>
            <a:prstGeom prst="roundRect">
              <a:avLst>
                <a:gd name="adj" fmla="val 4199"/>
              </a:avLst>
            </a:prstGeom>
            <a:solidFill>
              <a:srgbClr val="00305C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>
                <a:latin typeface="Arial" panose="020B060402020202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E953EA9-8F04-45A7-A0C9-ADD8E9BD985D}"/>
                </a:ext>
              </a:extLst>
            </p:cNvPr>
            <p:cNvSpPr txBox="1"/>
            <p:nvPr/>
          </p:nvSpPr>
          <p:spPr>
            <a:xfrm>
              <a:off x="1572456" y="2508428"/>
              <a:ext cx="295158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050" cap="all">
                  <a:solidFill>
                    <a:srgbClr val="B9975B"/>
                  </a:solidFill>
                  <a:latin typeface="Arial Black" panose="020B0A04020102020204" pitchFamily="34" charset="0"/>
                  <a:cs typeface="DIN Pro Cond Black" panose="020B0A06020101010102" pitchFamily="34" charset="0"/>
                </a:rPr>
                <a:t>HEC PARIS MISSION</a:t>
              </a:r>
            </a:p>
          </p:txBody>
        </p:sp>
        <p:pic>
          <p:nvPicPr>
            <p:cNvPr id="64" name="Image 4">
              <a:extLst>
                <a:ext uri="{FF2B5EF4-FFF2-40B4-BE49-F238E27FC236}">
                  <a16:creationId xmlns:a16="http://schemas.microsoft.com/office/drawing/2014/main" id="{678CDCF3-2E54-4F0F-92F1-58F5C143CB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77" r="6777"/>
            <a:stretch/>
          </p:blipFill>
          <p:spPr>
            <a:xfrm>
              <a:off x="512810" y="2831549"/>
              <a:ext cx="725068" cy="838746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A35A66E6-9597-47A7-B5D1-D98865F27923}"/>
                </a:ext>
              </a:extLst>
            </p:cNvPr>
            <p:cNvCxnSpPr>
              <a:cxnSpLocks/>
            </p:cNvCxnSpPr>
            <p:nvPr/>
          </p:nvCxnSpPr>
          <p:spPr>
            <a:xfrm>
              <a:off x="1415617" y="2493783"/>
              <a:ext cx="0" cy="1364443"/>
            </a:xfrm>
            <a:prstGeom prst="line">
              <a:avLst/>
            </a:prstGeom>
            <a:ln>
              <a:solidFill>
                <a:schemeClr val="bg1">
                  <a:alpha val="54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F68CB76-AC19-4DA9-AF0B-7C1D8FD2E2BD}"/>
                </a:ext>
              </a:extLst>
            </p:cNvPr>
            <p:cNvSpPr txBox="1"/>
            <p:nvPr/>
          </p:nvSpPr>
          <p:spPr>
            <a:xfrm>
              <a:off x="1572456" y="2875091"/>
              <a:ext cx="1679445" cy="9848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We THINK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and push the boundaries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of knowledg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E643D63-1481-4A93-BB72-3321077A8624}"/>
                </a:ext>
              </a:extLst>
            </p:cNvPr>
            <p:cNvSpPr txBox="1"/>
            <p:nvPr/>
          </p:nvSpPr>
          <p:spPr>
            <a:xfrm>
              <a:off x="3002139" y="2875091"/>
              <a:ext cx="1679445" cy="7694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We TEACH, </a:t>
              </a:r>
              <a:b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learn and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grow together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3A029B4-E029-46C8-AE16-24049E9B5BA7}"/>
                </a:ext>
              </a:extLst>
            </p:cNvPr>
            <p:cNvSpPr txBox="1"/>
            <p:nvPr/>
          </p:nvSpPr>
          <p:spPr>
            <a:xfrm>
              <a:off x="4356668" y="2875091"/>
              <a:ext cx="1260360" cy="9848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We ACT</a:t>
              </a: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,</a:t>
              </a:r>
            </a:p>
            <a:p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to unleash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human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otential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D47B0FF-5A6D-4DE2-916E-DBF38BE99086}"/>
                </a:ext>
              </a:extLst>
            </p:cNvPr>
            <p:cNvCxnSpPr>
              <a:cxnSpLocks/>
            </p:cNvCxnSpPr>
            <p:nvPr/>
          </p:nvCxnSpPr>
          <p:spPr>
            <a:xfrm>
              <a:off x="3805194" y="2641238"/>
              <a:ext cx="1622129" cy="0"/>
            </a:xfrm>
            <a:prstGeom prst="line">
              <a:avLst/>
            </a:prstGeom>
            <a:ln>
              <a:solidFill>
                <a:srgbClr val="B9975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A054F524-583E-4723-8AC7-ED8BF924E7FB}"/>
              </a:ext>
            </a:extLst>
          </p:cNvPr>
          <p:cNvGrpSpPr/>
          <p:nvPr/>
        </p:nvGrpSpPr>
        <p:grpSpPr>
          <a:xfrm>
            <a:off x="357582" y="3380133"/>
            <a:ext cx="3961468" cy="1269001"/>
            <a:chOff x="335071" y="4373046"/>
            <a:chExt cx="5281957" cy="1692000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026D4C84-5227-4F66-A7CE-BA286AAA2E18}"/>
                </a:ext>
              </a:extLst>
            </p:cNvPr>
            <p:cNvSpPr/>
            <p:nvPr/>
          </p:nvSpPr>
          <p:spPr>
            <a:xfrm>
              <a:off x="335071" y="4373046"/>
              <a:ext cx="5281957" cy="1692000"/>
            </a:xfrm>
            <a:prstGeom prst="roundRect">
              <a:avLst>
                <a:gd name="adj" fmla="val 4199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-760" t="-49668" r="-760" b="-49668"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050">
                <a:latin typeface="Arial" panose="020B0604020202020204" pitchFamily="34" charset="0"/>
              </a:endParaRPr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2FABB598-AB9A-4C26-BED4-9238C1FC796E}"/>
                </a:ext>
              </a:extLst>
            </p:cNvPr>
            <p:cNvSpPr/>
            <p:nvPr/>
          </p:nvSpPr>
          <p:spPr>
            <a:xfrm>
              <a:off x="335071" y="4373046"/>
              <a:ext cx="5281957" cy="1692000"/>
            </a:xfrm>
            <a:prstGeom prst="roundRect">
              <a:avLst>
                <a:gd name="adj" fmla="val 4199"/>
              </a:avLst>
            </a:prstGeom>
            <a:solidFill>
              <a:srgbClr val="00305C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>
                <a:latin typeface="Arial" panose="020B060402020202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A23050D-73A4-41A9-84E1-6729BA6AB748}"/>
                </a:ext>
              </a:extLst>
            </p:cNvPr>
            <p:cNvSpPr txBox="1"/>
            <p:nvPr/>
          </p:nvSpPr>
          <p:spPr>
            <a:xfrm>
              <a:off x="1572456" y="4532081"/>
              <a:ext cx="295158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fr-FR" sz="1050" cap="all">
                  <a:solidFill>
                    <a:srgbClr val="B9975B"/>
                  </a:solidFill>
                  <a:latin typeface="Arial Black" panose="020B0A04020102020204" pitchFamily="34" charset="0"/>
                  <a:cs typeface="DIN Pro Cond Black" panose="020B0A06020101010102" pitchFamily="34" charset="0"/>
                </a:rPr>
                <a:t>HEC ALUMNI MISSION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490B6C9C-75EC-4D9A-B94A-C3D13149259D}"/>
                </a:ext>
              </a:extLst>
            </p:cNvPr>
            <p:cNvCxnSpPr>
              <a:cxnSpLocks/>
            </p:cNvCxnSpPr>
            <p:nvPr/>
          </p:nvCxnSpPr>
          <p:spPr>
            <a:xfrm>
              <a:off x="1415617" y="4588489"/>
              <a:ext cx="0" cy="1264361"/>
            </a:xfrm>
            <a:prstGeom prst="line">
              <a:avLst/>
            </a:prstGeom>
            <a:ln>
              <a:solidFill>
                <a:schemeClr val="bg1">
                  <a:alpha val="54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9A4BBDD2-27FD-4F05-B245-75D24305C17D}"/>
                </a:ext>
              </a:extLst>
            </p:cNvPr>
            <p:cNvSpPr txBox="1"/>
            <p:nvPr/>
          </p:nvSpPr>
          <p:spPr>
            <a:xfrm>
              <a:off x="1572456" y="4898743"/>
              <a:ext cx="1679445" cy="984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We SHARE, </a:t>
              </a:r>
              <a:b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grow and create memories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together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4568F6E-745F-4368-94AA-9907BBD56924}"/>
                </a:ext>
              </a:extLst>
            </p:cNvPr>
            <p:cNvSpPr txBox="1"/>
            <p:nvPr/>
          </p:nvSpPr>
          <p:spPr>
            <a:xfrm>
              <a:off x="3002139" y="4898743"/>
              <a:ext cx="1679445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We DARE </a:t>
              </a:r>
              <a:b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with our vision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and actions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0695E79-BEDB-435D-BE65-49E942107F30}"/>
                </a:ext>
              </a:extLst>
            </p:cNvPr>
            <p:cNvSpPr txBox="1"/>
            <p:nvPr/>
          </p:nvSpPr>
          <p:spPr>
            <a:xfrm>
              <a:off x="4356668" y="4898743"/>
              <a:ext cx="1260360" cy="984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We CARE </a:t>
              </a:r>
              <a:br>
                <a:rPr lang="en-US" sz="105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for our community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and beyond 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854EC292-CA2B-4D81-B781-5311E5A25C29}"/>
                </a:ext>
              </a:extLst>
            </p:cNvPr>
            <p:cNvCxnSpPr>
              <a:cxnSpLocks/>
            </p:cNvCxnSpPr>
            <p:nvPr/>
          </p:nvCxnSpPr>
          <p:spPr>
            <a:xfrm>
              <a:off x="3986711" y="4664890"/>
              <a:ext cx="1440612" cy="0"/>
            </a:xfrm>
            <a:prstGeom prst="line">
              <a:avLst/>
            </a:prstGeom>
            <a:ln>
              <a:solidFill>
                <a:srgbClr val="B9975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6" name="Image 3">
              <a:extLst>
                <a:ext uri="{FF2B5EF4-FFF2-40B4-BE49-F238E27FC236}">
                  <a16:creationId xmlns:a16="http://schemas.microsoft.com/office/drawing/2014/main" id="{35F689AC-2D91-4057-91AC-559D40D4BF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801" b="-6801"/>
            <a:stretch/>
          </p:blipFill>
          <p:spPr>
            <a:xfrm>
              <a:off x="556764" y="5002656"/>
              <a:ext cx="601702" cy="432780"/>
            </a:xfrm>
            <a:prstGeom prst="rect">
              <a:avLst/>
            </a:prstGeom>
          </p:spPr>
        </p:pic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B2659257-F974-4F46-9B53-2F450C6609A6}"/>
              </a:ext>
            </a:extLst>
          </p:cNvPr>
          <p:cNvGrpSpPr/>
          <p:nvPr/>
        </p:nvGrpSpPr>
        <p:grpSpPr>
          <a:xfrm>
            <a:off x="6013261" y="2614273"/>
            <a:ext cx="1533017" cy="1602230"/>
            <a:chOff x="8017680" y="3485695"/>
            <a:chExt cx="2044022" cy="2136307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36933A9-716F-4CDA-A44D-B9C6DB7D5BDD}"/>
                </a:ext>
              </a:extLst>
            </p:cNvPr>
            <p:cNvSpPr/>
            <p:nvPr/>
          </p:nvSpPr>
          <p:spPr>
            <a:xfrm>
              <a:off x="8017680" y="3577980"/>
              <a:ext cx="2044022" cy="2044022"/>
            </a:xfrm>
            <a:prstGeom prst="ellipse">
              <a:avLst/>
            </a:prstGeom>
            <a:noFill/>
            <a:ln>
              <a:solidFill>
                <a:srgbClr val="B9975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F6D1EFD8-A647-4C9D-BAE6-53216816A308}"/>
                </a:ext>
              </a:extLst>
            </p:cNvPr>
            <p:cNvSpPr txBox="1"/>
            <p:nvPr/>
          </p:nvSpPr>
          <p:spPr>
            <a:xfrm>
              <a:off x="8189129" y="3804644"/>
              <a:ext cx="1701122" cy="15388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200" b="1">
                  <a:solidFill>
                    <a:srgbClr val="B9975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SHARED </a:t>
              </a:r>
              <a:br>
                <a:rPr lang="en-US" sz="1200" b="1">
                  <a:solidFill>
                    <a:srgbClr val="B9975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1200" b="1">
                  <a:solidFill>
                    <a:srgbClr val="B9975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VALUES</a:t>
              </a:r>
            </a:p>
            <a:p>
              <a:pPr lvl="0" algn="ctr"/>
              <a:r>
                <a:rPr lang="en-US" sz="900" b="1">
                  <a:solidFill>
                    <a:srgbClr val="163C6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Driven by our European roots </a:t>
              </a:r>
              <a:br>
                <a:rPr lang="en-US" sz="900" b="1">
                  <a:solidFill>
                    <a:srgbClr val="163C6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</a:br>
              <a:r>
                <a:rPr lang="en-US" sz="900" b="1">
                  <a:solidFill>
                    <a:srgbClr val="163C6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and a 140-year-old history, our core values are</a:t>
              </a:r>
              <a:endParaRPr lang="fr-FR" sz="9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203DA69-A255-4B5C-B78A-3982B29CDF65}"/>
                </a:ext>
              </a:extLst>
            </p:cNvPr>
            <p:cNvGrpSpPr/>
            <p:nvPr/>
          </p:nvGrpSpPr>
          <p:grpSpPr>
            <a:xfrm>
              <a:off x="8947406" y="3485695"/>
              <a:ext cx="184568" cy="184568"/>
              <a:chOff x="8782180" y="3101557"/>
              <a:chExt cx="184568" cy="184568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C11C9E7D-5CE6-478F-867F-5678BFA1B2FD}"/>
                  </a:ext>
                </a:extLst>
              </p:cNvPr>
              <p:cNvSpPr/>
              <p:nvPr/>
            </p:nvSpPr>
            <p:spPr>
              <a:xfrm>
                <a:off x="8848856" y="3168234"/>
                <a:ext cx="51216" cy="51216"/>
              </a:xfrm>
              <a:prstGeom prst="ellipse">
                <a:avLst/>
              </a:prstGeom>
              <a:solidFill>
                <a:srgbClr val="003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82377A9B-4118-4F92-B196-5923299542FF}"/>
                  </a:ext>
                </a:extLst>
              </p:cNvPr>
              <p:cNvSpPr/>
              <p:nvPr/>
            </p:nvSpPr>
            <p:spPr>
              <a:xfrm>
                <a:off x="8782180" y="3101557"/>
                <a:ext cx="184568" cy="184568"/>
              </a:xfrm>
              <a:prstGeom prst="ellipse">
                <a:avLst/>
              </a:prstGeom>
              <a:noFill/>
              <a:ln w="6350">
                <a:solidFill>
                  <a:srgbClr val="003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97B54A08-7969-4BFB-9798-6F43A714FCCC}"/>
                </a:ext>
              </a:extLst>
            </p:cNvPr>
            <p:cNvGrpSpPr/>
            <p:nvPr/>
          </p:nvGrpSpPr>
          <p:grpSpPr>
            <a:xfrm>
              <a:off x="8101332" y="3932608"/>
              <a:ext cx="184568" cy="184568"/>
              <a:chOff x="8782180" y="3101557"/>
              <a:chExt cx="184568" cy="184568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FAC191C6-7527-48D6-89C9-E3A1FAD311D1}"/>
                  </a:ext>
                </a:extLst>
              </p:cNvPr>
              <p:cNvSpPr/>
              <p:nvPr/>
            </p:nvSpPr>
            <p:spPr>
              <a:xfrm>
                <a:off x="8848856" y="3168234"/>
                <a:ext cx="51216" cy="51216"/>
              </a:xfrm>
              <a:prstGeom prst="ellipse">
                <a:avLst/>
              </a:prstGeom>
              <a:solidFill>
                <a:srgbClr val="003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927780CE-417F-49DC-B7C7-6C2A4E18D502}"/>
                  </a:ext>
                </a:extLst>
              </p:cNvPr>
              <p:cNvSpPr/>
              <p:nvPr/>
            </p:nvSpPr>
            <p:spPr>
              <a:xfrm>
                <a:off x="8782180" y="3101557"/>
                <a:ext cx="184568" cy="184568"/>
              </a:xfrm>
              <a:prstGeom prst="ellipse">
                <a:avLst/>
              </a:prstGeom>
              <a:noFill/>
              <a:ln w="6350">
                <a:solidFill>
                  <a:srgbClr val="003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EF50F4A-E9D2-4648-B599-1217F4663EC0}"/>
                </a:ext>
              </a:extLst>
            </p:cNvPr>
            <p:cNvGrpSpPr/>
            <p:nvPr/>
          </p:nvGrpSpPr>
          <p:grpSpPr>
            <a:xfrm>
              <a:off x="9791409" y="3932608"/>
              <a:ext cx="184568" cy="184568"/>
              <a:chOff x="8782180" y="3101557"/>
              <a:chExt cx="184568" cy="184568"/>
            </a:xfrm>
          </p:grpSpPr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3F59F85C-0D04-4CC2-B0FC-2E08F598DA84}"/>
                  </a:ext>
                </a:extLst>
              </p:cNvPr>
              <p:cNvSpPr/>
              <p:nvPr/>
            </p:nvSpPr>
            <p:spPr>
              <a:xfrm>
                <a:off x="8848856" y="3168234"/>
                <a:ext cx="51216" cy="51216"/>
              </a:xfrm>
              <a:prstGeom prst="ellipse">
                <a:avLst/>
              </a:prstGeom>
              <a:solidFill>
                <a:srgbClr val="003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35B19830-0DF7-4D3D-931A-0F34AFB477B6}"/>
                  </a:ext>
                </a:extLst>
              </p:cNvPr>
              <p:cNvSpPr/>
              <p:nvPr/>
            </p:nvSpPr>
            <p:spPr>
              <a:xfrm>
                <a:off x="8782180" y="3101557"/>
                <a:ext cx="184568" cy="184568"/>
              </a:xfrm>
              <a:prstGeom prst="ellipse">
                <a:avLst/>
              </a:prstGeom>
              <a:noFill/>
              <a:ln w="6350">
                <a:solidFill>
                  <a:srgbClr val="003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2AAC89FA-61E3-4141-994D-CE7DA2B0CCF5}"/>
                </a:ext>
              </a:extLst>
            </p:cNvPr>
            <p:cNvGrpSpPr/>
            <p:nvPr/>
          </p:nvGrpSpPr>
          <p:grpSpPr>
            <a:xfrm>
              <a:off x="9772555" y="5143035"/>
              <a:ext cx="184568" cy="184568"/>
              <a:chOff x="8782180" y="3101557"/>
              <a:chExt cx="184568" cy="184568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133015D7-4747-4476-A173-AC1746DC678F}"/>
                  </a:ext>
                </a:extLst>
              </p:cNvPr>
              <p:cNvSpPr/>
              <p:nvPr/>
            </p:nvSpPr>
            <p:spPr>
              <a:xfrm>
                <a:off x="8848856" y="3168234"/>
                <a:ext cx="51216" cy="51216"/>
              </a:xfrm>
              <a:prstGeom prst="ellipse">
                <a:avLst/>
              </a:prstGeom>
              <a:solidFill>
                <a:srgbClr val="003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91BFEC14-D3EC-4E8A-868F-7542B8222787}"/>
                  </a:ext>
                </a:extLst>
              </p:cNvPr>
              <p:cNvSpPr/>
              <p:nvPr/>
            </p:nvSpPr>
            <p:spPr>
              <a:xfrm>
                <a:off x="8782180" y="3101557"/>
                <a:ext cx="184568" cy="184568"/>
              </a:xfrm>
              <a:prstGeom prst="ellipse">
                <a:avLst/>
              </a:prstGeom>
              <a:noFill/>
              <a:ln w="6350">
                <a:solidFill>
                  <a:srgbClr val="003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D67E2087-07BE-46BA-82EE-EDDF21E3BFA4}"/>
                </a:ext>
              </a:extLst>
            </p:cNvPr>
            <p:cNvGrpSpPr/>
            <p:nvPr/>
          </p:nvGrpSpPr>
          <p:grpSpPr>
            <a:xfrm>
              <a:off x="8151436" y="5143035"/>
              <a:ext cx="184568" cy="184568"/>
              <a:chOff x="8782180" y="3101557"/>
              <a:chExt cx="184568" cy="184568"/>
            </a:xfrm>
          </p:grpSpPr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34ED250B-25D7-4718-92CE-4F36F63D2D44}"/>
                  </a:ext>
                </a:extLst>
              </p:cNvPr>
              <p:cNvSpPr/>
              <p:nvPr/>
            </p:nvSpPr>
            <p:spPr>
              <a:xfrm>
                <a:off x="8848856" y="3168234"/>
                <a:ext cx="51216" cy="51216"/>
              </a:xfrm>
              <a:prstGeom prst="ellipse">
                <a:avLst/>
              </a:prstGeom>
              <a:solidFill>
                <a:srgbClr val="003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6C723E82-5F8F-4CB1-969A-276D191718DD}"/>
                  </a:ext>
                </a:extLst>
              </p:cNvPr>
              <p:cNvSpPr/>
              <p:nvPr/>
            </p:nvSpPr>
            <p:spPr>
              <a:xfrm>
                <a:off x="8782180" y="3101557"/>
                <a:ext cx="184568" cy="184568"/>
              </a:xfrm>
              <a:prstGeom prst="ellipse">
                <a:avLst/>
              </a:prstGeom>
              <a:noFill/>
              <a:ln w="6350">
                <a:solidFill>
                  <a:srgbClr val="003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350"/>
              </a:p>
            </p:txBody>
          </p:sp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68BCF907-87EE-400A-BA27-CF4598DBA317}"/>
              </a:ext>
            </a:extLst>
          </p:cNvPr>
          <p:cNvGrpSpPr/>
          <p:nvPr/>
        </p:nvGrpSpPr>
        <p:grpSpPr>
          <a:xfrm>
            <a:off x="6120766" y="1766366"/>
            <a:ext cx="1275842" cy="827451"/>
            <a:chOff x="8161021" y="2355155"/>
            <a:chExt cx="1701122" cy="1103268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32013D37-3EB4-49A0-BE73-916EB87DEA99}"/>
                </a:ext>
              </a:extLst>
            </p:cNvPr>
            <p:cNvGrpSpPr/>
            <p:nvPr/>
          </p:nvGrpSpPr>
          <p:grpSpPr>
            <a:xfrm>
              <a:off x="8654365" y="2355155"/>
              <a:ext cx="770650" cy="770566"/>
              <a:chOff x="8654365" y="2221360"/>
              <a:chExt cx="770650" cy="770566"/>
            </a:xfrm>
          </p:grpSpPr>
          <p:sp>
            <p:nvSpPr>
              <p:cNvPr id="143" name="Rectangle: Rounded Corners 142">
                <a:extLst>
                  <a:ext uri="{FF2B5EF4-FFF2-40B4-BE49-F238E27FC236}">
                    <a16:creationId xmlns:a16="http://schemas.microsoft.com/office/drawing/2014/main" id="{756E689A-5355-45EF-8609-4AA937F2493A}"/>
                  </a:ext>
                </a:extLst>
              </p:cNvPr>
              <p:cNvSpPr/>
              <p:nvPr/>
            </p:nvSpPr>
            <p:spPr>
              <a:xfrm>
                <a:off x="8654365" y="2221360"/>
                <a:ext cx="770650" cy="770566"/>
              </a:xfrm>
              <a:prstGeom prst="roundRect">
                <a:avLst>
                  <a:gd name="adj" fmla="val 50000"/>
                </a:avLst>
              </a:prstGeom>
              <a:solidFill>
                <a:srgbClr val="00305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fr-FR" sz="1200">
                  <a:latin typeface="Arial" panose="020B0604020202020204" pitchFamily="34" charset="0"/>
                </a:endParaRPr>
              </a:p>
            </p:txBody>
          </p:sp>
          <p:pic>
            <p:nvPicPr>
              <p:cNvPr id="132" name="Picture 131" descr="Logo&#10;&#10;Description automatically generated">
                <a:extLst>
                  <a:ext uri="{FF2B5EF4-FFF2-40B4-BE49-F238E27FC236}">
                    <a16:creationId xmlns:a16="http://schemas.microsoft.com/office/drawing/2014/main" id="{470EA220-6345-4B82-8753-3AF50620E2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16019" y="2276066"/>
                <a:ext cx="647342" cy="647342"/>
              </a:xfrm>
              <a:prstGeom prst="rect">
                <a:avLst/>
              </a:prstGeom>
            </p:spPr>
          </p:pic>
        </p:grp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07A8A1A5-FE81-4E45-B69E-AD256DD127AF}"/>
                </a:ext>
              </a:extLst>
            </p:cNvPr>
            <p:cNvSpPr txBox="1"/>
            <p:nvPr/>
          </p:nvSpPr>
          <p:spPr>
            <a:xfrm>
              <a:off x="8161021" y="3119868"/>
              <a:ext cx="1701122" cy="338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050" b="1">
                  <a:solidFill>
                    <a:srgbClr val="003066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EXCELLENCE</a:t>
              </a:r>
              <a:endParaRPr lang="fr-FR" sz="900" b="1">
                <a:solidFill>
                  <a:srgbClr val="003066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C1A9F6B7-B310-4146-9E6B-F82440E67552}"/>
              </a:ext>
            </a:extLst>
          </p:cNvPr>
          <p:cNvGrpSpPr/>
          <p:nvPr/>
        </p:nvGrpSpPr>
        <p:grpSpPr>
          <a:xfrm>
            <a:off x="7592931" y="2438379"/>
            <a:ext cx="1161052" cy="853411"/>
            <a:chOff x="10123906" y="3251173"/>
            <a:chExt cx="1548069" cy="1137883"/>
          </a:xfrm>
        </p:grpSpPr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AE0D05F6-3C10-4045-9AB2-A443AA5FBB9B}"/>
                </a:ext>
              </a:extLst>
            </p:cNvPr>
            <p:cNvSpPr/>
            <p:nvPr/>
          </p:nvSpPr>
          <p:spPr>
            <a:xfrm>
              <a:off x="10136815" y="3257560"/>
              <a:ext cx="770650" cy="770566"/>
            </a:xfrm>
            <a:prstGeom prst="roundRect">
              <a:avLst>
                <a:gd name="adj" fmla="val 50000"/>
              </a:avLst>
            </a:prstGeom>
            <a:solidFill>
              <a:srgbClr val="0030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>
                <a:latin typeface="Arial" panose="020B0604020202020204" pitchFamily="34" charset="0"/>
              </a:endParaRPr>
            </a:p>
          </p:txBody>
        </p: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74B56683-53C1-45B0-B942-2F2BD07CDAD0}"/>
                </a:ext>
              </a:extLst>
            </p:cNvPr>
            <p:cNvGrpSpPr/>
            <p:nvPr/>
          </p:nvGrpSpPr>
          <p:grpSpPr>
            <a:xfrm>
              <a:off x="10123906" y="3251173"/>
              <a:ext cx="1548069" cy="1137883"/>
              <a:chOff x="10123906" y="3251173"/>
              <a:chExt cx="1548069" cy="1137883"/>
            </a:xfrm>
          </p:grpSpPr>
          <p:pic>
            <p:nvPicPr>
              <p:cNvPr id="130" name="Picture 129" descr="Logo&#10;&#10;Description automatically generated">
                <a:extLst>
                  <a:ext uri="{FF2B5EF4-FFF2-40B4-BE49-F238E27FC236}">
                    <a16:creationId xmlns:a16="http://schemas.microsoft.com/office/drawing/2014/main" id="{EDDDE250-1175-4024-A0EF-008C6F403F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39627" y="3251173"/>
                <a:ext cx="753222" cy="753222"/>
              </a:xfrm>
              <a:prstGeom prst="rect">
                <a:avLst/>
              </a:prstGeom>
            </p:spPr>
          </p:pic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986874FA-2078-424D-9A89-5C38A3B69010}"/>
                  </a:ext>
                </a:extLst>
              </p:cNvPr>
              <p:cNvSpPr txBox="1"/>
              <p:nvPr/>
            </p:nvSpPr>
            <p:spPr>
              <a:xfrm>
                <a:off x="10123906" y="4050501"/>
                <a:ext cx="1548069" cy="3385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lang="en-US" sz="1050" b="1">
                    <a:solidFill>
                      <a:srgbClr val="003066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CURIOSITY</a:t>
                </a:r>
                <a:endParaRPr lang="fr-FR" sz="900" b="1">
                  <a:solidFill>
                    <a:srgbClr val="003066"/>
                  </a:solidFill>
                  <a:latin typeface="Arial" panose="020B0604020202020204" pitchFamily="34" charset="0"/>
                  <a:cs typeface="DIN Pro Cond Black" panose="020B0A06020101010102" pitchFamily="34" charset="0"/>
                </a:endParaRPr>
              </a:p>
            </p:txBody>
          </p:sp>
        </p:grp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5CF58BCA-501F-44BF-AF48-51B7E2662818}"/>
              </a:ext>
            </a:extLst>
          </p:cNvPr>
          <p:cNvGrpSpPr/>
          <p:nvPr/>
        </p:nvGrpSpPr>
        <p:grpSpPr>
          <a:xfrm>
            <a:off x="4383344" y="2400261"/>
            <a:ext cx="1557333" cy="1056866"/>
            <a:chOff x="5844458" y="3200344"/>
            <a:chExt cx="2076444" cy="1409153"/>
          </a:xfrm>
        </p:grpSpPr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DDBC7C6C-DF2C-4A9F-AB88-1635C8DE450E}"/>
                </a:ext>
              </a:extLst>
            </p:cNvPr>
            <p:cNvGrpSpPr/>
            <p:nvPr/>
          </p:nvGrpSpPr>
          <p:grpSpPr>
            <a:xfrm>
              <a:off x="7031182" y="3200344"/>
              <a:ext cx="878766" cy="878766"/>
              <a:chOff x="7031182" y="3066549"/>
              <a:chExt cx="878766" cy="878766"/>
            </a:xfrm>
          </p:grpSpPr>
          <p:sp>
            <p:nvSpPr>
              <p:cNvPr id="142" name="Rectangle: Rounded Corners 141">
                <a:extLst>
                  <a:ext uri="{FF2B5EF4-FFF2-40B4-BE49-F238E27FC236}">
                    <a16:creationId xmlns:a16="http://schemas.microsoft.com/office/drawing/2014/main" id="{71269B09-43E7-4F1A-AD2C-17AAF714C5A6}"/>
                  </a:ext>
                </a:extLst>
              </p:cNvPr>
              <p:cNvSpPr/>
              <p:nvPr/>
            </p:nvSpPr>
            <p:spPr>
              <a:xfrm>
                <a:off x="7082237" y="3117416"/>
                <a:ext cx="770650" cy="770566"/>
              </a:xfrm>
              <a:prstGeom prst="roundRect">
                <a:avLst>
                  <a:gd name="adj" fmla="val 50000"/>
                </a:avLst>
              </a:prstGeom>
              <a:solidFill>
                <a:srgbClr val="00305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fr-FR" sz="1200">
                  <a:latin typeface="Arial" panose="020B0604020202020204" pitchFamily="34" charset="0"/>
                </a:endParaRPr>
              </a:p>
            </p:txBody>
          </p:sp>
          <p:pic>
            <p:nvPicPr>
              <p:cNvPr id="36" name="Picture 35" descr="A picture containing text, night sky&#10;&#10;Description automatically generated">
                <a:extLst>
                  <a:ext uri="{FF2B5EF4-FFF2-40B4-BE49-F238E27FC236}">
                    <a16:creationId xmlns:a16="http://schemas.microsoft.com/office/drawing/2014/main" id="{883547E7-C5CC-4C7E-9BCD-730DC78D6D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31182" y="3066549"/>
                <a:ext cx="878766" cy="878766"/>
              </a:xfrm>
              <a:prstGeom prst="rect">
                <a:avLst/>
              </a:prstGeom>
            </p:spPr>
          </p:pic>
        </p:grp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CB517C70-E6ED-42C2-8FDD-9452106DDB4B}"/>
                </a:ext>
              </a:extLst>
            </p:cNvPr>
            <p:cNvSpPr txBox="1"/>
            <p:nvPr/>
          </p:nvSpPr>
          <p:spPr>
            <a:xfrm>
              <a:off x="5844458" y="4055500"/>
              <a:ext cx="2076444" cy="553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r"/>
              <a:r>
                <a:rPr lang="en-US" sz="1050" b="1">
                  <a:solidFill>
                    <a:srgbClr val="003066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ENTREPRENEURIAL SPIRIT</a:t>
              </a:r>
              <a:endParaRPr lang="fr-FR" sz="900" b="1">
                <a:solidFill>
                  <a:srgbClr val="003066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1A88C145-E7A2-4D59-8D78-3139E7B49D04}"/>
              </a:ext>
            </a:extLst>
          </p:cNvPr>
          <p:cNvGrpSpPr/>
          <p:nvPr/>
        </p:nvGrpSpPr>
        <p:grpSpPr>
          <a:xfrm>
            <a:off x="5129460" y="3723099"/>
            <a:ext cx="968822" cy="850766"/>
            <a:chOff x="6839278" y="4964134"/>
            <a:chExt cx="1291763" cy="1134355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278E277C-9C5C-48DA-8EB1-D97C2010F424}"/>
                </a:ext>
              </a:extLst>
            </p:cNvPr>
            <p:cNvGrpSpPr/>
            <p:nvPr/>
          </p:nvGrpSpPr>
          <p:grpSpPr>
            <a:xfrm>
              <a:off x="7220316" y="4964134"/>
              <a:ext cx="770650" cy="770566"/>
              <a:chOff x="7220316" y="4830339"/>
              <a:chExt cx="770650" cy="770566"/>
            </a:xfrm>
          </p:grpSpPr>
          <p:sp>
            <p:nvSpPr>
              <p:cNvPr id="146" name="Rectangle: Rounded Corners 145">
                <a:extLst>
                  <a:ext uri="{FF2B5EF4-FFF2-40B4-BE49-F238E27FC236}">
                    <a16:creationId xmlns:a16="http://schemas.microsoft.com/office/drawing/2014/main" id="{A8CFA023-FCE6-44F8-BB26-47505DA82794}"/>
                  </a:ext>
                </a:extLst>
              </p:cNvPr>
              <p:cNvSpPr/>
              <p:nvPr/>
            </p:nvSpPr>
            <p:spPr>
              <a:xfrm>
                <a:off x="7220316" y="4830339"/>
                <a:ext cx="770650" cy="770566"/>
              </a:xfrm>
              <a:prstGeom prst="roundRect">
                <a:avLst>
                  <a:gd name="adj" fmla="val 50000"/>
                </a:avLst>
              </a:prstGeom>
              <a:solidFill>
                <a:srgbClr val="00305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fr-FR" sz="1200">
                  <a:latin typeface="Arial" panose="020B0604020202020204" pitchFamily="34" charset="0"/>
                </a:endParaRPr>
              </a:p>
            </p:txBody>
          </p:sp>
          <p:pic>
            <p:nvPicPr>
              <p:cNvPr id="32" name="Picture 31" descr="A picture containing logo&#10;&#10;Description automatically generated">
                <a:extLst>
                  <a:ext uri="{FF2B5EF4-FFF2-40B4-BE49-F238E27FC236}">
                    <a16:creationId xmlns:a16="http://schemas.microsoft.com/office/drawing/2014/main" id="{A3AF3F5B-FE73-426A-B12F-B7B0C72FF8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80481" y="4889643"/>
                <a:ext cx="650320" cy="650320"/>
              </a:xfrm>
              <a:prstGeom prst="rect">
                <a:avLst/>
              </a:prstGeom>
            </p:spPr>
          </p:pic>
        </p:grp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FAF653BE-9D46-4CAB-A0AA-FF5262D468D3}"/>
                </a:ext>
              </a:extLst>
            </p:cNvPr>
            <p:cNvSpPr txBox="1"/>
            <p:nvPr/>
          </p:nvSpPr>
          <p:spPr>
            <a:xfrm>
              <a:off x="6839278" y="5759934"/>
              <a:ext cx="1291763" cy="338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r"/>
              <a:r>
                <a:rPr lang="en-US" sz="1050" b="1">
                  <a:solidFill>
                    <a:srgbClr val="003066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DIVERSITY</a:t>
              </a:r>
              <a:endParaRPr lang="fr-FR" sz="900" b="1">
                <a:solidFill>
                  <a:srgbClr val="003066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EF9F5F17-BE21-4D20-AE35-B6C41F403492}"/>
              </a:ext>
            </a:extLst>
          </p:cNvPr>
          <p:cNvGrpSpPr/>
          <p:nvPr/>
        </p:nvGrpSpPr>
        <p:grpSpPr>
          <a:xfrm>
            <a:off x="7442839" y="3722484"/>
            <a:ext cx="1383519" cy="851380"/>
            <a:chOff x="10030221" y="4963315"/>
            <a:chExt cx="1701122" cy="1135174"/>
          </a:xfrm>
        </p:grpSpPr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A9EC092B-EE14-47E5-8321-181434E48D9F}"/>
                </a:ext>
              </a:extLst>
            </p:cNvPr>
            <p:cNvSpPr/>
            <p:nvPr/>
          </p:nvSpPr>
          <p:spPr>
            <a:xfrm>
              <a:off x="10127541" y="4963315"/>
              <a:ext cx="770650" cy="770566"/>
            </a:xfrm>
            <a:prstGeom prst="roundRect">
              <a:avLst>
                <a:gd name="adj" fmla="val 50000"/>
              </a:avLst>
            </a:prstGeom>
            <a:solidFill>
              <a:srgbClr val="0030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fr-FR" sz="1200">
                <a:latin typeface="Arial" panose="020B060402020202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6581EDF9-A0BA-46D5-AD3F-29332DF43685}"/>
                </a:ext>
              </a:extLst>
            </p:cNvPr>
            <p:cNvSpPr txBox="1"/>
            <p:nvPr/>
          </p:nvSpPr>
          <p:spPr>
            <a:xfrm>
              <a:off x="10030221" y="5759934"/>
              <a:ext cx="1701122" cy="338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/>
              <a:r>
                <a:rPr lang="en-US" sz="1050" b="1">
                  <a:solidFill>
                    <a:srgbClr val="003066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RESPONSIBILITY</a:t>
              </a:r>
              <a:endParaRPr lang="fr-FR" sz="900" b="1">
                <a:solidFill>
                  <a:srgbClr val="003066"/>
                </a:solidFill>
                <a:latin typeface="Arial" panose="020B0604020202020204" pitchFamily="34" charset="0"/>
                <a:cs typeface="DIN Pro Cond Black" panose="020B0A06020101010102" pitchFamily="34" charset="0"/>
              </a:endParaRPr>
            </a:p>
          </p:txBody>
        </p:sp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EC43AA0B-1630-4918-964C-C62D443E5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63498" y="4981804"/>
              <a:ext cx="717284" cy="7172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279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3647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99E43AC-9C52-4C16-B24D-20295175A18C}"/>
              </a:ext>
            </a:extLst>
          </p:cNvPr>
          <p:cNvSpPr txBox="1"/>
          <p:nvPr/>
        </p:nvSpPr>
        <p:spPr>
          <a:xfrm>
            <a:off x="1256320" y="143710"/>
            <a:ext cx="6654314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457178">
              <a:lnSpc>
                <a:spcPct val="90000"/>
              </a:lnSpc>
            </a:pPr>
            <a:r>
              <a:rPr lang="fr-FR" sz="2100" b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FOUR KEY AREAS </a:t>
            </a:r>
            <a:r>
              <a:rPr lang="fr-FR" sz="21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TO FOSTER SYNERGI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0E5107-49F4-419C-B3C2-5AA457C222A0}"/>
              </a:ext>
            </a:extLst>
          </p:cNvPr>
          <p:cNvCxnSpPr>
            <a:cxnSpLocks/>
          </p:cNvCxnSpPr>
          <p:nvPr/>
        </p:nvCxnSpPr>
        <p:spPr>
          <a:xfrm flipH="1">
            <a:off x="4463145" y="737824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D5DA47F-A33E-442E-B961-E84E64E9E86B}"/>
              </a:ext>
            </a:extLst>
          </p:cNvPr>
          <p:cNvCxnSpPr>
            <a:cxnSpLocks/>
          </p:cNvCxnSpPr>
          <p:nvPr/>
        </p:nvCxnSpPr>
        <p:spPr>
          <a:xfrm>
            <a:off x="3" y="709249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1A10D4C-D6A8-4E93-929E-61585045486B}"/>
              </a:ext>
            </a:extLst>
          </p:cNvPr>
          <p:cNvSpPr/>
          <p:nvPr/>
        </p:nvSpPr>
        <p:spPr>
          <a:xfrm>
            <a:off x="143125" y="778023"/>
            <a:ext cx="8860022" cy="3593732"/>
          </a:xfrm>
          <a:prstGeom prst="roundRect">
            <a:avLst>
              <a:gd name="adj" fmla="val 2835"/>
            </a:avLst>
          </a:prstGeom>
          <a:gradFill>
            <a:gsLst>
              <a:gs pos="0">
                <a:srgbClr val="B9975B">
                  <a:alpha val="39000"/>
                </a:srgbClr>
              </a:gs>
              <a:gs pos="100000">
                <a:srgbClr val="B9975B">
                  <a:alpha val="0"/>
                </a:srgbClr>
              </a:gs>
            </a:gsLst>
            <a:lin ang="5400000" scaled="1"/>
          </a:gradFill>
          <a:ln>
            <a:solidFill>
              <a:srgbClr val="B9975B">
                <a:alpha val="18000"/>
              </a:srgbClr>
            </a:solidFill>
          </a:ln>
          <a:effectLst>
            <a:outerShdw blurRad="508000" dist="203200" dir="5400000" sx="73000" sy="73000" algn="ctr" rotWithShape="0">
              <a:srgbClr val="B9975B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fr-FR" sz="105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36AC047-172E-4DCB-93FD-331CF865BC70}"/>
              </a:ext>
            </a:extLst>
          </p:cNvPr>
          <p:cNvSpPr/>
          <p:nvPr/>
        </p:nvSpPr>
        <p:spPr>
          <a:xfrm>
            <a:off x="2634155" y="806485"/>
            <a:ext cx="2049771" cy="374348"/>
          </a:xfrm>
          <a:prstGeom prst="roundRect">
            <a:avLst>
              <a:gd name="adj" fmla="val 7310"/>
            </a:avLst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r>
              <a:rPr lang="fr-FR" sz="1050" b="1">
                <a:solidFill>
                  <a:prstClr val="white"/>
                </a:solidFill>
                <a:latin typeface="Arial" panose="020B0604020202020204" pitchFamily="34" charset="0"/>
              </a:rPr>
              <a:t>TALEN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1F1F722-7009-42DE-B871-0E42EF378F75}"/>
              </a:ext>
            </a:extLst>
          </p:cNvPr>
          <p:cNvSpPr/>
          <p:nvPr/>
        </p:nvSpPr>
        <p:spPr>
          <a:xfrm>
            <a:off x="4740486" y="806485"/>
            <a:ext cx="2152375" cy="374348"/>
          </a:xfrm>
          <a:prstGeom prst="roundRect">
            <a:avLst>
              <a:gd name="adj" fmla="val 7310"/>
            </a:avLst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r>
              <a:rPr lang="fr-FR" sz="1050" b="1">
                <a:solidFill>
                  <a:prstClr val="white"/>
                </a:solidFill>
                <a:latin typeface="Arial" panose="020B0604020202020204" pitchFamily="34" charset="0"/>
              </a:rPr>
              <a:t>INNOVATIO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C0308B6-F39C-4467-8D35-140E443F8107}"/>
              </a:ext>
            </a:extLst>
          </p:cNvPr>
          <p:cNvSpPr/>
          <p:nvPr/>
        </p:nvSpPr>
        <p:spPr>
          <a:xfrm>
            <a:off x="2634156" y="1228614"/>
            <a:ext cx="2061691" cy="3457026"/>
          </a:xfrm>
          <a:prstGeom prst="roundRect">
            <a:avLst>
              <a:gd name="adj" fmla="val 2659"/>
            </a:avLst>
          </a:prstGeom>
          <a:gradFill>
            <a:gsLst>
              <a:gs pos="0">
                <a:srgbClr val="003A70">
                  <a:alpha val="59000"/>
                </a:srgbClr>
              </a:gs>
              <a:gs pos="100000">
                <a:srgbClr val="00305C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178"/>
            <a:r>
              <a:rPr lang="en-US" sz="1100" b="1" i="1">
                <a:solidFill>
                  <a:prstClr val="white"/>
                </a:solidFill>
                <a:latin typeface="Calibri"/>
              </a:rPr>
              <a:t>Development: accompany your major cultural &amp; business transformations</a:t>
            </a:r>
            <a:endParaRPr lang="en-US" sz="1200" b="1" i="1">
              <a:solidFill>
                <a:prstClr val="white"/>
              </a:solidFill>
              <a:latin typeface="Calibri"/>
            </a:endParaRPr>
          </a:p>
          <a:p>
            <a:pPr marL="182554" indent="-182554" defTabSz="457178">
              <a:buFont typeface="Wingdings" panose="05000000000000000000" pitchFamily="2" charset="2"/>
              <a:buChar char="Ø"/>
            </a:pPr>
            <a:r>
              <a:rPr lang="en-US" sz="1050">
                <a:solidFill>
                  <a:prstClr val="white"/>
                </a:solidFill>
                <a:latin typeface="Calibri"/>
              </a:rPr>
              <a:t>Executive Custom or in-company programs</a:t>
            </a:r>
          </a:p>
          <a:p>
            <a:pPr defTabSz="457178"/>
            <a:endParaRPr lang="en-US" sz="700">
              <a:solidFill>
                <a:prstClr val="white"/>
              </a:solidFill>
              <a:latin typeface="Calibri"/>
            </a:endParaRPr>
          </a:p>
          <a:p>
            <a:pPr defTabSz="457178"/>
            <a:r>
              <a:rPr lang="en-US" sz="1100" b="1" i="1">
                <a:solidFill>
                  <a:prstClr val="white"/>
                </a:solidFill>
                <a:latin typeface="Calibri"/>
              </a:rPr>
              <a:t>Engagement &amp; Recruitment</a:t>
            </a:r>
          </a:p>
          <a:p>
            <a:pPr marL="182554" indent="-182554" defTabSz="457178">
              <a:buFont typeface="Wingdings" panose="05000000000000000000" pitchFamily="2" charset="2"/>
              <a:buChar char="Ø"/>
            </a:pPr>
            <a:r>
              <a:rPr lang="en-US" sz="1050">
                <a:solidFill>
                  <a:prstClr val="white"/>
                </a:solidFill>
                <a:latin typeface="Calibri"/>
              </a:rPr>
              <a:t>Build your employer branding and presence on campus (career fairs, job board) with HEC Talents (students) &amp; within the community (HEC Alumni Life Project (graduates). HEC Paris is a one-stop talent place with 4,500 students (135 nationalities, various backgrounds)</a:t>
            </a:r>
          </a:p>
          <a:p>
            <a:pPr marL="182554" indent="-182554" defTabSz="457178">
              <a:buFont typeface="Wingdings" panose="05000000000000000000" pitchFamily="2" charset="2"/>
              <a:buChar char="Ø"/>
              <a:defRPr/>
            </a:pPr>
            <a:r>
              <a:rPr lang="en-US" sz="1050">
                <a:solidFill>
                  <a:prstClr val="white"/>
                </a:solidFill>
                <a:latin typeface="Calibri"/>
              </a:rPr>
              <a:t>Connect - sponsor students’ associations</a:t>
            </a:r>
            <a:endParaRPr lang="en-US" sz="1200" i="1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FAC3CE7-9EFF-4E85-984B-C4303AA814CA}"/>
              </a:ext>
            </a:extLst>
          </p:cNvPr>
          <p:cNvCxnSpPr>
            <a:cxnSpLocks/>
            <a:endCxn id="25" idx="2"/>
          </p:cNvCxnSpPr>
          <p:nvPr/>
        </p:nvCxnSpPr>
        <p:spPr>
          <a:xfrm flipV="1">
            <a:off x="2562590" y="1180833"/>
            <a:ext cx="3254082" cy="1327428"/>
          </a:xfrm>
          <a:prstGeom prst="line">
            <a:avLst/>
          </a:prstGeom>
          <a:ln>
            <a:solidFill>
              <a:schemeClr val="bg1">
                <a:alpha val="1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2AA2C1B-CE04-4A99-9FC7-C8EB61CCB8F2}"/>
              </a:ext>
            </a:extLst>
          </p:cNvPr>
          <p:cNvGrpSpPr/>
          <p:nvPr/>
        </p:nvGrpSpPr>
        <p:grpSpPr>
          <a:xfrm>
            <a:off x="4727230" y="1228614"/>
            <a:ext cx="2190409" cy="3457026"/>
            <a:chOff x="6166651" y="2955142"/>
            <a:chExt cx="2709562" cy="249204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099CF0E-2E9E-4E42-AD74-E94A2B0CACB6}"/>
                </a:ext>
              </a:extLst>
            </p:cNvPr>
            <p:cNvSpPr/>
            <p:nvPr/>
          </p:nvSpPr>
          <p:spPr>
            <a:xfrm>
              <a:off x="6184900" y="2955142"/>
              <a:ext cx="2691313" cy="2492046"/>
            </a:xfrm>
            <a:prstGeom prst="roundRect">
              <a:avLst>
                <a:gd name="adj" fmla="val 2161"/>
              </a:avLst>
            </a:prstGeom>
            <a:gradFill>
              <a:gsLst>
                <a:gs pos="0">
                  <a:srgbClr val="003A70">
                    <a:alpha val="59000"/>
                  </a:srgbClr>
                </a:gs>
                <a:gs pos="100000">
                  <a:srgbClr val="00305C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457178">
                <a:defRPr/>
              </a:pPr>
              <a:r>
                <a:rPr lang="en-US" sz="1100" b="1" i="1">
                  <a:solidFill>
                    <a:prstClr val="white"/>
                  </a:solidFill>
                  <a:latin typeface="Calibri"/>
                </a:rPr>
                <a:t>Vibrant entrepreneurial ecosystem</a:t>
              </a:r>
            </a:p>
            <a:p>
              <a:pPr marL="182240" indent="-182240" defTabSz="457178">
                <a:buFont typeface="Wingdings" panose="05000000000000000000" pitchFamily="2" charset="2"/>
                <a:buChar char="Ø"/>
                <a:defRPr/>
              </a:pPr>
              <a:r>
                <a:rPr lang="en-US" sz="1100">
                  <a:solidFill>
                    <a:prstClr val="white"/>
                  </a:solidFill>
                  <a:latin typeface="Calibri"/>
                </a:rPr>
                <a:t>Students: ~100 start-up projects every academic year</a:t>
              </a:r>
              <a:endParaRPr lang="en-US" sz="1100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marL="182240" indent="-182240" defTabSz="457178">
                <a:buFont typeface="Wingdings" panose="05000000000000000000" pitchFamily="2" charset="2"/>
                <a:buChar char="Ø"/>
                <a:defRPr/>
              </a:pPr>
              <a:r>
                <a:rPr lang="en-US" sz="1100">
                  <a:solidFill>
                    <a:prstClr val="white"/>
                  </a:solidFill>
                  <a:latin typeface="Calibri"/>
                </a:rPr>
                <a:t>HEC Incubator is the largest entrepreneurial space within Station F (world’s largest start-up campus)</a:t>
              </a:r>
              <a:endParaRPr lang="en-US" sz="1100" b="1" i="1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defTabSz="457178">
                <a:defRPr/>
              </a:pPr>
              <a:endParaRPr lang="en-US" sz="1100" b="1" i="1">
                <a:solidFill>
                  <a:prstClr val="white"/>
                </a:solidFill>
                <a:latin typeface="Calibri"/>
              </a:endParaRPr>
            </a:p>
            <a:p>
              <a:pPr defTabSz="457178">
                <a:defRPr/>
              </a:pPr>
              <a:r>
                <a:rPr lang="en-US" sz="1100" b="1" i="1">
                  <a:solidFill>
                    <a:prstClr val="white"/>
                  </a:solidFill>
                  <a:latin typeface="Calibri"/>
                </a:rPr>
                <a:t>Ignite &amp; Accelerate</a:t>
              </a:r>
              <a:endParaRPr lang="en-US" sz="1100" b="1" i="1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marL="182240" indent="-182240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>
                  <a:solidFill>
                    <a:prstClr val="white"/>
                  </a:solidFill>
                  <a:latin typeface="Calibri"/>
                </a:rPr>
                <a:t>A dedicated team for your innovation portfolio or for your intrapreneurial projects (“</a:t>
              </a:r>
              <a:r>
                <a:rPr lang="en-US" sz="1050" err="1">
                  <a:solidFill>
                    <a:prstClr val="white"/>
                  </a:solidFill>
                  <a:latin typeface="Calibri"/>
                </a:rPr>
                <a:t>excubation</a:t>
              </a:r>
              <a:r>
                <a:rPr lang="en-US" sz="1050">
                  <a:solidFill>
                    <a:prstClr val="white"/>
                  </a:solidFill>
                  <a:latin typeface="Calibri"/>
                </a:rPr>
                <a:t>” - acceleration)</a:t>
              </a:r>
              <a:endParaRPr lang="en-US" sz="1050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marL="182240" indent="-182240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>
                  <a:solidFill>
                    <a:prstClr val="white"/>
                  </a:solidFill>
                  <a:latin typeface="Calibri"/>
                </a:rPr>
                <a:t>Bring your strategic topics to benefit from students’ fresh look (Business Projects with final year students, MBA projects)</a:t>
              </a:r>
              <a:endParaRPr lang="en-US" sz="1050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050E5459-0C3E-4CC3-8CAC-3874BAA54A1D}"/>
                </a:ext>
              </a:extLst>
            </p:cNvPr>
            <p:cNvCxnSpPr>
              <a:cxnSpLocks/>
            </p:cNvCxnSpPr>
            <p:nvPr/>
          </p:nvCxnSpPr>
          <p:spPr>
            <a:xfrm>
              <a:off x="6166651" y="4060079"/>
              <a:ext cx="2535591" cy="0"/>
            </a:xfrm>
            <a:prstGeom prst="line">
              <a:avLst/>
            </a:prstGeom>
            <a:ln>
              <a:solidFill>
                <a:schemeClr val="bg1">
                  <a:alpha val="1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F3488576-5273-44FB-A663-6FB83F4F9786}"/>
              </a:ext>
            </a:extLst>
          </p:cNvPr>
          <p:cNvCxnSpPr>
            <a:cxnSpLocks/>
            <a:endCxn id="25" idx="2"/>
          </p:cNvCxnSpPr>
          <p:nvPr/>
        </p:nvCxnSpPr>
        <p:spPr>
          <a:xfrm flipH="1" flipV="1">
            <a:off x="5816672" y="1180834"/>
            <a:ext cx="1089954" cy="1341998"/>
          </a:xfrm>
          <a:prstGeom prst="line">
            <a:avLst/>
          </a:prstGeom>
          <a:ln>
            <a:solidFill>
              <a:schemeClr val="bg1">
                <a:alpha val="1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3EDA0598-DE24-4E5F-8B86-1D78B6A54BB5}"/>
              </a:ext>
            </a:extLst>
          </p:cNvPr>
          <p:cNvSpPr/>
          <p:nvPr/>
        </p:nvSpPr>
        <p:spPr>
          <a:xfrm>
            <a:off x="197509" y="806485"/>
            <a:ext cx="2368784" cy="374348"/>
          </a:xfrm>
          <a:prstGeom prst="roundRect">
            <a:avLst>
              <a:gd name="adj" fmla="val 7310"/>
            </a:avLst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r>
              <a:rPr lang="fr-FR" sz="1050" b="1" dirty="0">
                <a:solidFill>
                  <a:prstClr val="white"/>
                </a:solidFill>
                <a:latin typeface="Arial" panose="020B0604020202020204" pitchFamily="34" charset="0"/>
              </a:rPr>
              <a:t>THOUGHT-LEADERSHIP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69AE0E4-48B2-45F3-9E98-8BEA25B7B389}"/>
              </a:ext>
            </a:extLst>
          </p:cNvPr>
          <p:cNvGrpSpPr/>
          <p:nvPr/>
        </p:nvGrpSpPr>
        <p:grpSpPr>
          <a:xfrm>
            <a:off x="175556" y="1228614"/>
            <a:ext cx="2392719" cy="3457026"/>
            <a:chOff x="3474558" y="2955142"/>
            <a:chExt cx="2959822" cy="2492046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9EB650BB-775B-4748-9FA1-28DAA6785F3C}"/>
                </a:ext>
              </a:extLst>
            </p:cNvPr>
            <p:cNvSpPr/>
            <p:nvPr/>
          </p:nvSpPr>
          <p:spPr>
            <a:xfrm>
              <a:off x="3504166" y="2955142"/>
              <a:ext cx="2930214" cy="2492046"/>
            </a:xfrm>
            <a:prstGeom prst="roundRect">
              <a:avLst>
                <a:gd name="adj" fmla="val 3180"/>
              </a:avLst>
            </a:prstGeom>
            <a:gradFill>
              <a:gsLst>
                <a:gs pos="0">
                  <a:srgbClr val="003A70">
                    <a:alpha val="59000"/>
                  </a:srgbClr>
                </a:gs>
                <a:gs pos="100000">
                  <a:srgbClr val="00305C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457178"/>
              <a:r>
                <a:rPr lang="en-US" sz="1100" b="1" i="1" dirty="0">
                  <a:solidFill>
                    <a:prstClr val="white"/>
                  </a:solidFill>
                  <a:latin typeface="Calibri"/>
                </a:rPr>
                <a:t>Nurture your strategic thinking and share your expertise</a:t>
              </a:r>
            </a:p>
            <a:p>
              <a:pPr marL="182554" indent="-182554" defTabSz="457178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prstClr val="white"/>
                  </a:solidFill>
                  <a:latin typeface="Calibri"/>
                </a:rPr>
                <a:t>Push the boundaries of knowledge by producing the highest quality research, disciplinary and cross-disciplinary with a unique combination of scientific excellence &amp; business relevance</a:t>
              </a:r>
            </a:p>
            <a:p>
              <a:pPr marL="182554" indent="-182554" defTabSz="457178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prstClr val="white"/>
                  </a:solidFill>
                  <a:latin typeface="Calibri"/>
                </a:rPr>
                <a:t>Create a Chair or join one of our Centers of expertise</a:t>
              </a:r>
            </a:p>
            <a:p>
              <a:pPr marL="182554" indent="-182554" defTabSz="457178">
                <a:buFont typeface="Wingdings" panose="05000000000000000000" pitchFamily="2" charset="2"/>
                <a:buChar char="Ø"/>
              </a:pPr>
              <a:endParaRPr lang="en-US" sz="1050" dirty="0">
                <a:solidFill>
                  <a:prstClr val="white"/>
                </a:solidFill>
                <a:latin typeface="Calibri"/>
              </a:endParaRPr>
            </a:p>
            <a:p>
              <a:pPr defTabSz="457178">
                <a:defRPr/>
              </a:pPr>
              <a:r>
                <a:rPr lang="en-US" sz="1100" b="1" i="1" dirty="0">
                  <a:solidFill>
                    <a:prstClr val="white"/>
                  </a:solidFill>
                  <a:latin typeface="Calibri"/>
                </a:rPr>
                <a:t>Influence &amp; visibility</a:t>
              </a:r>
            </a:p>
            <a:p>
              <a:pPr marL="171442" indent="-171442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 i="1" dirty="0">
                  <a:solidFill>
                    <a:prstClr val="white"/>
                  </a:solidFill>
                  <a:latin typeface="Calibri"/>
                </a:rPr>
                <a:t>Conferences, alumni clubs: a vibrant ecosystem of decision- and policy-makers, incl. the HEC Alumni community worldwide</a:t>
              </a:r>
            </a:p>
            <a:p>
              <a:pPr marL="171442" indent="-171442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 i="1" dirty="0">
                  <a:solidFill>
                    <a:prstClr val="white"/>
                  </a:solidFill>
                  <a:latin typeface="Calibri"/>
                </a:rPr>
                <a:t>HEC is a media (HEC Stories, </a:t>
              </a:r>
              <a:r>
                <a:rPr lang="en-US" sz="1050" i="1" dirty="0" err="1">
                  <a:solidFill>
                    <a:prstClr val="white"/>
                  </a:solidFill>
                  <a:latin typeface="Calibri"/>
                </a:rPr>
                <a:t>L’Entretien</a:t>
              </a:r>
              <a:r>
                <a:rPr lang="en-US" sz="1050" i="1" dirty="0">
                  <a:solidFill>
                    <a:prstClr val="white"/>
                  </a:solidFill>
                  <a:latin typeface="Calibri"/>
                </a:rPr>
                <a:t> with BFM Business…)</a:t>
              </a:r>
            </a:p>
            <a:p>
              <a:pPr defTabSz="457178"/>
              <a:endParaRPr lang="en-US" sz="1050" dirty="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72A62BB3-E4A2-40B7-92B8-079AC6AD4D3F}"/>
                </a:ext>
              </a:extLst>
            </p:cNvPr>
            <p:cNvCxnSpPr>
              <a:cxnSpLocks/>
            </p:cNvCxnSpPr>
            <p:nvPr/>
          </p:nvCxnSpPr>
          <p:spPr>
            <a:xfrm>
              <a:off x="3474558" y="4060079"/>
              <a:ext cx="2535591" cy="0"/>
            </a:xfrm>
            <a:prstGeom prst="line">
              <a:avLst/>
            </a:prstGeom>
            <a:ln>
              <a:solidFill>
                <a:schemeClr val="bg1">
                  <a:alpha val="1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6" name="Rectangle: Rounded Corners 24">
            <a:extLst>
              <a:ext uri="{FF2B5EF4-FFF2-40B4-BE49-F238E27FC236}">
                <a16:creationId xmlns:a16="http://schemas.microsoft.com/office/drawing/2014/main" id="{F0CA45A0-D62C-8D42-AFA0-70663B224DD2}"/>
              </a:ext>
            </a:extLst>
          </p:cNvPr>
          <p:cNvSpPr/>
          <p:nvPr/>
        </p:nvSpPr>
        <p:spPr>
          <a:xfrm>
            <a:off x="6952763" y="806485"/>
            <a:ext cx="2011203" cy="374348"/>
          </a:xfrm>
          <a:prstGeom prst="roundRect">
            <a:avLst>
              <a:gd name="adj" fmla="val 7310"/>
            </a:avLst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508000" dist="203200" dir="5400000" sx="73000" sy="73000" algn="ctr" rotWithShape="0">
              <a:srgbClr val="00305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r>
              <a:rPr lang="fr-FR" sz="1050" b="1">
                <a:solidFill>
                  <a:prstClr val="white"/>
                </a:solidFill>
                <a:latin typeface="Arial" panose="020B0604020202020204" pitchFamily="34" charset="0"/>
              </a:rPr>
              <a:t>IMPACT</a:t>
            </a:r>
          </a:p>
        </p:txBody>
      </p:sp>
      <p:grpSp>
        <p:nvGrpSpPr>
          <p:cNvPr id="110" name="Group 20">
            <a:extLst>
              <a:ext uri="{FF2B5EF4-FFF2-40B4-BE49-F238E27FC236}">
                <a16:creationId xmlns:a16="http://schemas.microsoft.com/office/drawing/2014/main" id="{6C40D81F-40B0-4BBA-9792-61AF474109EF}"/>
              </a:ext>
            </a:extLst>
          </p:cNvPr>
          <p:cNvGrpSpPr/>
          <p:nvPr/>
        </p:nvGrpSpPr>
        <p:grpSpPr>
          <a:xfrm>
            <a:off x="6975693" y="1228614"/>
            <a:ext cx="2096747" cy="3457026"/>
            <a:chOff x="6184900" y="2955142"/>
            <a:chExt cx="2662463" cy="2492046"/>
          </a:xfrm>
        </p:grpSpPr>
        <p:sp>
          <p:nvSpPr>
            <p:cNvPr id="111" name="Rectangle: Rounded Corners 6">
              <a:extLst>
                <a:ext uri="{FF2B5EF4-FFF2-40B4-BE49-F238E27FC236}">
                  <a16:creationId xmlns:a16="http://schemas.microsoft.com/office/drawing/2014/main" id="{9F3BCF64-A6FF-4015-9DCD-7A6DB5126266}"/>
                </a:ext>
              </a:extLst>
            </p:cNvPr>
            <p:cNvSpPr/>
            <p:nvPr/>
          </p:nvSpPr>
          <p:spPr>
            <a:xfrm>
              <a:off x="6184900" y="2955142"/>
              <a:ext cx="2535591" cy="2492046"/>
            </a:xfrm>
            <a:prstGeom prst="roundRect">
              <a:avLst>
                <a:gd name="adj" fmla="val 2161"/>
              </a:avLst>
            </a:prstGeom>
            <a:gradFill>
              <a:gsLst>
                <a:gs pos="0">
                  <a:srgbClr val="003A70">
                    <a:alpha val="59000"/>
                  </a:srgbClr>
                </a:gs>
                <a:gs pos="100000">
                  <a:srgbClr val="00305C"/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457178">
                <a:defRPr/>
              </a:pPr>
              <a:r>
                <a:rPr lang="en-US" sz="1100" b="1" i="1">
                  <a:solidFill>
                    <a:prstClr val="white"/>
                  </a:solidFill>
                  <a:latin typeface="Calibri"/>
                </a:rPr>
                <a:t>Increase collective impact</a:t>
              </a:r>
            </a:p>
            <a:p>
              <a:pPr marL="170811" indent="-170811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>
                  <a:solidFill>
                    <a:prstClr val="white"/>
                  </a:solidFill>
                  <a:latin typeface="Calibri"/>
                </a:rPr>
                <a:t>Give talent perspective: HEC Paris is involved with several French high-schools (PACE program to help students gain confidence in their abilities, reflect on choices of studies whatever the field + </a:t>
              </a:r>
              <a:r>
                <a:rPr lang="en-US" sz="1050" err="1">
                  <a:solidFill>
                    <a:prstClr val="white"/>
                  </a:solidFill>
                  <a:latin typeface="Calibri"/>
                </a:rPr>
                <a:t>Eloquentia@HEC</a:t>
              </a:r>
              <a:r>
                <a:rPr lang="en-US" sz="1050">
                  <a:solidFill>
                    <a:prstClr val="white"/>
                  </a:solidFill>
                  <a:latin typeface="Calibri"/>
                </a:rPr>
                <a:t> program, the 1</a:t>
              </a:r>
              <a:r>
                <a:rPr lang="en-US" sz="1050" baseline="30000">
                  <a:solidFill>
                    <a:prstClr val="white"/>
                  </a:solidFill>
                  <a:latin typeface="Calibri"/>
                </a:rPr>
                <a:t>st</a:t>
              </a:r>
              <a:r>
                <a:rPr lang="en-US" sz="1050">
                  <a:solidFill>
                    <a:prstClr val="white"/>
                  </a:solidFill>
                  <a:latin typeface="Calibri"/>
                </a:rPr>
                <a:t> national public speaking competition dedicated to high school students)</a:t>
              </a:r>
              <a:endParaRPr lang="en-US" sz="1050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marL="170811" indent="-170811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>
                  <a:solidFill>
                    <a:prstClr val="white"/>
                  </a:solidFill>
                  <a:latin typeface="Calibri"/>
                </a:rPr>
                <a:t>Scholarship programs for talent from under-privileged background (France + International (EMEA))</a:t>
              </a:r>
              <a:endParaRPr lang="en-US" sz="1050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marL="170811" indent="-170811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>
                  <a:solidFill>
                    <a:prstClr val="white"/>
                  </a:solidFill>
                  <a:latin typeface="Calibri"/>
                </a:rPr>
                <a:t>Stand Up Women entrepreneurship program</a:t>
              </a:r>
              <a:endParaRPr lang="en-US" sz="1050">
                <a:solidFill>
                  <a:prstClr val="white"/>
                </a:solidFill>
                <a:latin typeface="Calibri"/>
                <a:cs typeface="Calibri"/>
              </a:endParaRPr>
            </a:p>
            <a:p>
              <a:pPr marL="170811" indent="-170811" defTabSz="457178">
                <a:buFont typeface="Wingdings" panose="05000000000000000000" pitchFamily="2" charset="2"/>
                <a:buChar char="Ø"/>
                <a:defRPr/>
              </a:pPr>
              <a:r>
                <a:rPr lang="en-US" sz="1050">
                  <a:solidFill>
                    <a:prstClr val="white"/>
                  </a:solidFill>
                  <a:latin typeface="Calibri"/>
                </a:rPr>
                <a:t>Acceleration for social &amp; solidarity-based companies</a:t>
              </a:r>
              <a:endParaRPr lang="en-US" sz="1050" i="1">
                <a:solidFill>
                  <a:prstClr val="white"/>
                </a:solidFill>
                <a:latin typeface="Calibri"/>
                <a:cs typeface="Calibri"/>
              </a:endParaRPr>
            </a:p>
          </p:txBody>
        </p:sp>
        <p:cxnSp>
          <p:nvCxnSpPr>
            <p:cNvPr id="112" name="Straight Connector 61">
              <a:extLst>
                <a:ext uri="{FF2B5EF4-FFF2-40B4-BE49-F238E27FC236}">
                  <a16:creationId xmlns:a16="http://schemas.microsoft.com/office/drawing/2014/main" id="{6C6760D4-F435-490C-8121-735EDB2FD1F2}"/>
                </a:ext>
              </a:extLst>
            </p:cNvPr>
            <p:cNvCxnSpPr>
              <a:cxnSpLocks/>
            </p:cNvCxnSpPr>
            <p:nvPr/>
          </p:nvCxnSpPr>
          <p:spPr>
            <a:xfrm>
              <a:off x="6311772" y="4068804"/>
              <a:ext cx="2535591" cy="0"/>
            </a:xfrm>
            <a:prstGeom prst="line">
              <a:avLst/>
            </a:prstGeom>
            <a:ln>
              <a:solidFill>
                <a:schemeClr val="bg1">
                  <a:alpha val="1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3" name="Slide Number Placeholder 4">
            <a:extLst>
              <a:ext uri="{FF2B5EF4-FFF2-40B4-BE49-F238E27FC236}">
                <a16:creationId xmlns:a16="http://schemas.microsoft.com/office/drawing/2014/main" id="{7C04A600-F5B9-40B9-8756-A08C01FBC7D2}"/>
              </a:ext>
            </a:extLst>
          </p:cNvPr>
          <p:cNvSpPr txBox="1">
            <a:spLocks/>
          </p:cNvSpPr>
          <p:nvPr/>
        </p:nvSpPr>
        <p:spPr>
          <a:xfrm>
            <a:off x="6503584" y="4847988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178"/>
            <a:fld id="{87FB5E3A-1E28-1B4A-91D5-F1561850C4F5}" type="slidenum">
              <a:rPr lang="en-US" sz="1200">
                <a:solidFill>
                  <a:prstClr val="black"/>
                </a:solidFill>
                <a:latin typeface="Calibri"/>
              </a:rPr>
              <a:pPr algn="r" defTabSz="457178"/>
              <a:t>4</a:t>
            </a:fld>
            <a:endParaRPr lang="en-US" sz="12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756475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latin typeface="DIN" panose="02000503040000020003" pitchFamily="2" charset="0"/>
              </a:rPr>
              <a:t>HEC PARIS’ FACTS &amp; FIGURES</a:t>
            </a:r>
          </a:p>
        </p:txBody>
      </p:sp>
    </p:spTree>
    <p:extLst>
      <p:ext uri="{BB962C8B-B14F-4D97-AF65-F5344CB8AC3E}">
        <p14:creationId xmlns:p14="http://schemas.microsoft.com/office/powerpoint/2010/main" val="1306467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1CF5530-0CF4-413E-B5C3-555ECD12EB56}"/>
              </a:ext>
            </a:extLst>
          </p:cNvPr>
          <p:cNvCxnSpPr>
            <a:cxnSpLocks/>
          </p:cNvCxnSpPr>
          <p:nvPr/>
        </p:nvCxnSpPr>
        <p:spPr>
          <a:xfrm>
            <a:off x="9144000" y="-6550"/>
            <a:ext cx="0" cy="5150050"/>
          </a:xfrm>
          <a:prstGeom prst="line">
            <a:avLst/>
          </a:prstGeom>
          <a:ln>
            <a:solidFill>
              <a:srgbClr val="00305C">
                <a:alpha val="2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A4C50E-DF17-4CB3-A14A-40335C951DA1}"/>
              </a:ext>
            </a:extLst>
          </p:cNvPr>
          <p:cNvCxnSpPr>
            <a:cxnSpLocks/>
          </p:cNvCxnSpPr>
          <p:nvPr/>
        </p:nvCxnSpPr>
        <p:spPr>
          <a:xfrm>
            <a:off x="0" y="-6550"/>
            <a:ext cx="0" cy="5150050"/>
          </a:xfrm>
          <a:prstGeom prst="line">
            <a:avLst/>
          </a:prstGeom>
          <a:ln>
            <a:solidFill>
              <a:srgbClr val="00305C">
                <a:alpha val="2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1976410-97AF-4EC6-BE36-3B9DEB6C5EB5}"/>
              </a:ext>
            </a:extLst>
          </p:cNvPr>
          <p:cNvSpPr txBox="1"/>
          <p:nvPr/>
        </p:nvSpPr>
        <p:spPr>
          <a:xfrm>
            <a:off x="3076575" y="22960"/>
            <a:ext cx="2990850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1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KEY </a:t>
            </a:r>
            <a:r>
              <a:rPr lang="en-US" sz="2100" b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FIGUR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072803-7BEE-4C0A-B407-DBD3FE04E0ED}"/>
              </a:ext>
            </a:extLst>
          </p:cNvPr>
          <p:cNvGrpSpPr/>
          <p:nvPr/>
        </p:nvGrpSpPr>
        <p:grpSpPr>
          <a:xfrm>
            <a:off x="870236" y="1225480"/>
            <a:ext cx="1451489" cy="2231225"/>
            <a:chOff x="929649" y="2672822"/>
            <a:chExt cx="1935318" cy="2974967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B622D7A-446D-48CF-85AB-B2040447CA9A}"/>
                </a:ext>
              </a:extLst>
            </p:cNvPr>
            <p:cNvGrpSpPr/>
            <p:nvPr/>
          </p:nvGrpSpPr>
          <p:grpSpPr>
            <a:xfrm>
              <a:off x="929649" y="2672822"/>
              <a:ext cx="1935318" cy="2974967"/>
              <a:chOff x="929649" y="2672822"/>
              <a:chExt cx="1935318" cy="2974967"/>
            </a:xfrm>
            <a:effectLst>
              <a:outerShdw blurRad="419100" dist="317500" dir="5400000" sx="84000" sy="84000" algn="ctr" rotWithShape="0">
                <a:srgbClr val="003A70"/>
              </a:outerShdw>
            </a:effectLst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1DE56118-920D-4D5D-9583-6A1369DB760C}"/>
                  </a:ext>
                </a:extLst>
              </p:cNvPr>
              <p:cNvSpPr/>
              <p:nvPr/>
            </p:nvSpPr>
            <p:spPr>
              <a:xfrm>
                <a:off x="929649" y="2672822"/>
                <a:ext cx="1935318" cy="2974967"/>
              </a:xfrm>
              <a:prstGeom prst="roundRect">
                <a:avLst>
                  <a:gd name="adj" fmla="val 4199"/>
                </a:avLst>
              </a:prstGeom>
              <a:blipFill>
                <a:blip r:embed="rId3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2" name="Rectangle: Rounded Corners 1">
                <a:extLst>
                  <a:ext uri="{FF2B5EF4-FFF2-40B4-BE49-F238E27FC236}">
                    <a16:creationId xmlns:a16="http://schemas.microsoft.com/office/drawing/2014/main" id="{BCF364AF-ED83-488A-8D08-780A5E9382FF}"/>
                  </a:ext>
                </a:extLst>
              </p:cNvPr>
              <p:cNvSpPr/>
              <p:nvPr/>
            </p:nvSpPr>
            <p:spPr>
              <a:xfrm>
                <a:off x="929649" y="2672822"/>
                <a:ext cx="1935318" cy="2974967"/>
              </a:xfrm>
              <a:prstGeom prst="roundRect">
                <a:avLst>
                  <a:gd name="adj" fmla="val 4199"/>
                </a:avLst>
              </a:prstGeom>
              <a:gradFill>
                <a:gsLst>
                  <a:gs pos="0">
                    <a:srgbClr val="003A70">
                      <a:alpha val="59000"/>
                    </a:srgbClr>
                  </a:gs>
                  <a:gs pos="100000">
                    <a:srgbClr val="00305C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202025EF-F664-49F2-A3F1-5790BB5CA977}"/>
                  </a:ext>
                </a:extLst>
              </p:cNvPr>
              <p:cNvSpPr txBox="1"/>
              <p:nvPr/>
            </p:nvSpPr>
            <p:spPr>
              <a:xfrm>
                <a:off x="1100922" y="3986314"/>
                <a:ext cx="1764043" cy="12618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>
                    <a:solidFill>
                      <a:srgbClr val="B9975B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4,500</a:t>
                </a:r>
              </a:p>
              <a:p>
                <a: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  <a:t>Students </a:t>
                </a:r>
                <a:b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</a:br>
                <a: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  <a:t>in degree </a:t>
                </a:r>
                <a:b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</a:br>
                <a: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  <a:t>programs</a:t>
                </a:r>
              </a:p>
            </p:txBody>
          </p:sp>
        </p:grp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BC00A1D9-82E0-47BD-868E-75A22011C53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31826" y="3708705"/>
              <a:ext cx="336745" cy="336745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0881BEC-48CC-4B49-86E2-4EA05A60ECCD}"/>
              </a:ext>
            </a:extLst>
          </p:cNvPr>
          <p:cNvGrpSpPr/>
          <p:nvPr/>
        </p:nvGrpSpPr>
        <p:grpSpPr>
          <a:xfrm>
            <a:off x="2739775" y="1022422"/>
            <a:ext cx="1451489" cy="2231225"/>
            <a:chOff x="3036105" y="2363374"/>
            <a:chExt cx="1935318" cy="2974967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96A2FC5-E74D-476F-B9B4-B5DD870AEE0C}"/>
                </a:ext>
              </a:extLst>
            </p:cNvPr>
            <p:cNvGrpSpPr/>
            <p:nvPr/>
          </p:nvGrpSpPr>
          <p:grpSpPr>
            <a:xfrm>
              <a:off x="3036105" y="2363374"/>
              <a:ext cx="1935318" cy="2974967"/>
              <a:chOff x="3036105" y="2672822"/>
              <a:chExt cx="1935318" cy="2974967"/>
            </a:xfrm>
            <a:effectLst>
              <a:outerShdw blurRad="419100" dist="317500" dir="5400000" sx="84000" sy="84000" algn="ctr" rotWithShape="0">
                <a:srgbClr val="003A70"/>
              </a:outerShdw>
            </a:effectLst>
          </p:grpSpPr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9E897FA6-B52D-47D0-8615-0644E9A7B496}"/>
                  </a:ext>
                </a:extLst>
              </p:cNvPr>
              <p:cNvSpPr/>
              <p:nvPr/>
            </p:nvSpPr>
            <p:spPr>
              <a:xfrm>
                <a:off x="3036105" y="2672822"/>
                <a:ext cx="1935318" cy="2974967"/>
              </a:xfrm>
              <a:prstGeom prst="roundRect">
                <a:avLst>
                  <a:gd name="adj" fmla="val 4199"/>
                </a:avLst>
              </a:pr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48" name="Rectangle: Rounded Corners 47">
                <a:extLst>
                  <a:ext uri="{FF2B5EF4-FFF2-40B4-BE49-F238E27FC236}">
                    <a16:creationId xmlns:a16="http://schemas.microsoft.com/office/drawing/2014/main" id="{D294E0B3-DF83-46C0-B926-CB2AFE20D486}"/>
                  </a:ext>
                </a:extLst>
              </p:cNvPr>
              <p:cNvSpPr/>
              <p:nvPr/>
            </p:nvSpPr>
            <p:spPr>
              <a:xfrm>
                <a:off x="3036105" y="2672822"/>
                <a:ext cx="1935318" cy="2974967"/>
              </a:xfrm>
              <a:prstGeom prst="roundRect">
                <a:avLst>
                  <a:gd name="adj" fmla="val 4199"/>
                </a:avLst>
              </a:prstGeom>
              <a:gradFill>
                <a:gsLst>
                  <a:gs pos="0">
                    <a:srgbClr val="003A70">
                      <a:alpha val="59000"/>
                    </a:srgbClr>
                  </a:gs>
                  <a:gs pos="100000">
                    <a:srgbClr val="00305C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A3B485C-3249-4F27-8A6A-115CABF706C2}"/>
                  </a:ext>
                </a:extLst>
              </p:cNvPr>
              <p:cNvSpPr txBox="1"/>
              <p:nvPr/>
            </p:nvSpPr>
            <p:spPr>
              <a:xfrm>
                <a:off x="3200833" y="3569050"/>
                <a:ext cx="1764043" cy="147732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>
                    <a:solidFill>
                      <a:srgbClr val="B9975B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8,000</a:t>
                </a:r>
              </a:p>
              <a:p>
                <a: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  <a:t>Participants in</a:t>
                </a:r>
                <a:b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</a:br>
                <a:r>
                  <a:rPr lang="en-US" sz="105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  <a:t>Executive Education programs</a:t>
                </a:r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EDF7CFFF-7D3E-475D-B1CB-E24CA2294CA9}"/>
                </a:ext>
              </a:extLst>
            </p:cNvPr>
            <p:cNvGrpSpPr/>
            <p:nvPr/>
          </p:nvGrpSpPr>
          <p:grpSpPr>
            <a:xfrm>
              <a:off x="3318919" y="3072833"/>
              <a:ext cx="296998" cy="186768"/>
              <a:chOff x="3318919" y="3008632"/>
              <a:chExt cx="399090" cy="250969"/>
            </a:xfrm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DD3FC054-9C1B-484B-96F6-913B6C5D8180}"/>
                  </a:ext>
                </a:extLst>
              </p:cNvPr>
              <p:cNvSpPr/>
              <p:nvPr/>
            </p:nvSpPr>
            <p:spPr>
              <a:xfrm>
                <a:off x="3466255" y="3039496"/>
                <a:ext cx="103147" cy="103141"/>
              </a:xfrm>
              <a:custGeom>
                <a:avLst/>
                <a:gdLst>
                  <a:gd name="connsiteX0" fmla="*/ 48238 w 96471"/>
                  <a:gd name="connsiteY0" fmla="*/ 96467 h 96466"/>
                  <a:gd name="connsiteX1" fmla="*/ 48254 w 96471"/>
                  <a:gd name="connsiteY1" fmla="*/ 96467 h 96466"/>
                  <a:gd name="connsiteX2" fmla="*/ 82329 w 96471"/>
                  <a:gd name="connsiteY2" fmla="*/ 82308 h 96466"/>
                  <a:gd name="connsiteX3" fmla="*/ 96471 w 96471"/>
                  <a:gd name="connsiteY3" fmla="*/ 48225 h 96466"/>
                  <a:gd name="connsiteX4" fmla="*/ 48233 w 96471"/>
                  <a:gd name="connsiteY4" fmla="*/ 0 h 96466"/>
                  <a:gd name="connsiteX5" fmla="*/ 14142 w 96471"/>
                  <a:gd name="connsiteY5" fmla="*/ 14159 h 96466"/>
                  <a:gd name="connsiteX6" fmla="*/ 0 w 96471"/>
                  <a:gd name="connsiteY6" fmla="*/ 48242 h 96466"/>
                  <a:gd name="connsiteX7" fmla="*/ 48238 w 96471"/>
                  <a:gd name="connsiteY7" fmla="*/ 96467 h 9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6471" h="96466">
                    <a:moveTo>
                      <a:pt x="48238" y="96467"/>
                    </a:moveTo>
                    <a:lnTo>
                      <a:pt x="48254" y="96467"/>
                    </a:lnTo>
                    <a:cubicBezTo>
                      <a:pt x="61115" y="96467"/>
                      <a:pt x="73213" y="91432"/>
                      <a:pt x="82329" y="82308"/>
                    </a:cubicBezTo>
                    <a:cubicBezTo>
                      <a:pt x="91453" y="73184"/>
                      <a:pt x="96479" y="61074"/>
                      <a:pt x="96471" y="48225"/>
                    </a:cubicBezTo>
                    <a:cubicBezTo>
                      <a:pt x="96463" y="21628"/>
                      <a:pt x="74822" y="0"/>
                      <a:pt x="48233" y="0"/>
                    </a:cubicBezTo>
                    <a:cubicBezTo>
                      <a:pt x="35373" y="0"/>
                      <a:pt x="23267" y="5035"/>
                      <a:pt x="14142" y="14159"/>
                    </a:cubicBezTo>
                    <a:cubicBezTo>
                      <a:pt x="5027" y="23283"/>
                      <a:pt x="0" y="35393"/>
                      <a:pt x="0" y="48242"/>
                    </a:cubicBezTo>
                    <a:cubicBezTo>
                      <a:pt x="21" y="74834"/>
                      <a:pt x="21653" y="96467"/>
                      <a:pt x="48238" y="96467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>
                  <a:latin typeface="Arial" panose="020B0604020202020204" pitchFamily="34" charset="0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DF585B6E-4B39-4509-A6E9-C66EE1D61DE6}"/>
                  </a:ext>
                </a:extLst>
              </p:cNvPr>
              <p:cNvSpPr/>
              <p:nvPr/>
            </p:nvSpPr>
            <p:spPr>
              <a:xfrm>
                <a:off x="3350701" y="3008632"/>
                <a:ext cx="103160" cy="103141"/>
              </a:xfrm>
              <a:custGeom>
                <a:avLst/>
                <a:gdLst>
                  <a:gd name="connsiteX0" fmla="*/ 48250 w 96483"/>
                  <a:gd name="connsiteY0" fmla="*/ 96467 h 96466"/>
                  <a:gd name="connsiteX1" fmla="*/ 48258 w 96483"/>
                  <a:gd name="connsiteY1" fmla="*/ 96467 h 96466"/>
                  <a:gd name="connsiteX2" fmla="*/ 82333 w 96483"/>
                  <a:gd name="connsiteY2" fmla="*/ 82308 h 96466"/>
                  <a:gd name="connsiteX3" fmla="*/ 96483 w 96483"/>
                  <a:gd name="connsiteY3" fmla="*/ 48225 h 96466"/>
                  <a:gd name="connsiteX4" fmla="*/ 48246 w 96483"/>
                  <a:gd name="connsiteY4" fmla="*/ 0 h 96466"/>
                  <a:gd name="connsiteX5" fmla="*/ 14142 w 96483"/>
                  <a:gd name="connsiteY5" fmla="*/ 14159 h 96466"/>
                  <a:gd name="connsiteX6" fmla="*/ 0 w 96483"/>
                  <a:gd name="connsiteY6" fmla="*/ 48262 h 96466"/>
                  <a:gd name="connsiteX7" fmla="*/ 48250 w 96483"/>
                  <a:gd name="connsiteY7" fmla="*/ 96467 h 9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6483" h="96466">
                    <a:moveTo>
                      <a:pt x="48250" y="96467"/>
                    </a:moveTo>
                    <a:lnTo>
                      <a:pt x="48258" y="96467"/>
                    </a:lnTo>
                    <a:cubicBezTo>
                      <a:pt x="61119" y="96467"/>
                      <a:pt x="73217" y="91432"/>
                      <a:pt x="82333" y="82308"/>
                    </a:cubicBezTo>
                    <a:cubicBezTo>
                      <a:pt x="91469" y="73184"/>
                      <a:pt x="96483" y="61078"/>
                      <a:pt x="96483" y="48225"/>
                    </a:cubicBezTo>
                    <a:cubicBezTo>
                      <a:pt x="96467" y="21632"/>
                      <a:pt x="74834" y="0"/>
                      <a:pt x="48246" y="0"/>
                    </a:cubicBezTo>
                    <a:cubicBezTo>
                      <a:pt x="35377" y="17"/>
                      <a:pt x="23271" y="5035"/>
                      <a:pt x="14142" y="14159"/>
                    </a:cubicBezTo>
                    <a:cubicBezTo>
                      <a:pt x="5027" y="23283"/>
                      <a:pt x="0" y="35393"/>
                      <a:pt x="0" y="48262"/>
                    </a:cubicBezTo>
                    <a:cubicBezTo>
                      <a:pt x="17" y="74834"/>
                      <a:pt x="21657" y="96467"/>
                      <a:pt x="48250" y="96467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>
                  <a:latin typeface="Arial" panose="020B060402020202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8DEE6043-C690-4AA4-894E-4C25B7008D33}"/>
                  </a:ext>
                </a:extLst>
              </p:cNvPr>
              <p:cNvSpPr/>
              <p:nvPr/>
            </p:nvSpPr>
            <p:spPr>
              <a:xfrm>
                <a:off x="3583051" y="3008632"/>
                <a:ext cx="103151" cy="103141"/>
              </a:xfrm>
              <a:custGeom>
                <a:avLst/>
                <a:gdLst>
                  <a:gd name="connsiteX0" fmla="*/ 48242 w 96475"/>
                  <a:gd name="connsiteY0" fmla="*/ 96467 h 96466"/>
                  <a:gd name="connsiteX1" fmla="*/ 48258 w 96475"/>
                  <a:gd name="connsiteY1" fmla="*/ 96467 h 96466"/>
                  <a:gd name="connsiteX2" fmla="*/ 82333 w 96475"/>
                  <a:gd name="connsiteY2" fmla="*/ 82308 h 96466"/>
                  <a:gd name="connsiteX3" fmla="*/ 96475 w 96475"/>
                  <a:gd name="connsiteY3" fmla="*/ 48225 h 96466"/>
                  <a:gd name="connsiteX4" fmla="*/ 48238 w 96475"/>
                  <a:gd name="connsiteY4" fmla="*/ 0 h 96466"/>
                  <a:gd name="connsiteX5" fmla="*/ 14134 w 96475"/>
                  <a:gd name="connsiteY5" fmla="*/ 14159 h 96466"/>
                  <a:gd name="connsiteX6" fmla="*/ 0 w 96475"/>
                  <a:gd name="connsiteY6" fmla="*/ 48262 h 96466"/>
                  <a:gd name="connsiteX7" fmla="*/ 48242 w 96475"/>
                  <a:gd name="connsiteY7" fmla="*/ 96467 h 9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6475" h="96466">
                    <a:moveTo>
                      <a:pt x="48242" y="96467"/>
                    </a:moveTo>
                    <a:lnTo>
                      <a:pt x="48258" y="96467"/>
                    </a:lnTo>
                    <a:cubicBezTo>
                      <a:pt x="61111" y="96467"/>
                      <a:pt x="73217" y="91432"/>
                      <a:pt x="82333" y="82308"/>
                    </a:cubicBezTo>
                    <a:cubicBezTo>
                      <a:pt x="91449" y="73184"/>
                      <a:pt x="96475" y="61078"/>
                      <a:pt x="96475" y="48225"/>
                    </a:cubicBezTo>
                    <a:cubicBezTo>
                      <a:pt x="96459" y="21632"/>
                      <a:pt x="74814" y="0"/>
                      <a:pt x="48238" y="0"/>
                    </a:cubicBezTo>
                    <a:cubicBezTo>
                      <a:pt x="35368" y="17"/>
                      <a:pt x="23250" y="5035"/>
                      <a:pt x="14134" y="14159"/>
                    </a:cubicBezTo>
                    <a:cubicBezTo>
                      <a:pt x="5018" y="23283"/>
                      <a:pt x="-8" y="35393"/>
                      <a:pt x="0" y="48262"/>
                    </a:cubicBezTo>
                    <a:cubicBezTo>
                      <a:pt x="17" y="74834"/>
                      <a:pt x="21649" y="96467"/>
                      <a:pt x="48242" y="96467"/>
                    </a:cubicBezTo>
                    <a:close/>
                  </a:path>
                </a:pathLst>
              </a:custGeom>
              <a:noFill/>
              <a:ln w="1587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>
                  <a:latin typeface="Arial" panose="020B060402020202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8A1EAB6A-62D1-4418-A883-05367E53EBF8}"/>
                  </a:ext>
                </a:extLst>
              </p:cNvPr>
              <p:cNvSpPr/>
              <p:nvPr/>
            </p:nvSpPr>
            <p:spPr>
              <a:xfrm>
                <a:off x="3576138" y="3145431"/>
                <a:ext cx="127890" cy="69508"/>
              </a:xfrm>
              <a:custGeom>
                <a:avLst/>
                <a:gdLst>
                  <a:gd name="connsiteX0" fmla="*/ 15378 w 119613"/>
                  <a:gd name="connsiteY0" fmla="*/ 241 h 65009"/>
                  <a:gd name="connsiteX1" fmla="*/ 0 w 119613"/>
                  <a:gd name="connsiteY1" fmla="*/ 24399 h 65009"/>
                  <a:gd name="connsiteX2" fmla="*/ 19206 w 119613"/>
                  <a:gd name="connsiteY2" fmla="*/ 65009 h 65009"/>
                  <a:gd name="connsiteX3" fmla="*/ 119613 w 119613"/>
                  <a:gd name="connsiteY3" fmla="*/ 64989 h 65009"/>
                  <a:gd name="connsiteX4" fmla="*/ 96027 w 119613"/>
                  <a:gd name="connsiteY4" fmla="*/ 0 h 65009"/>
                  <a:gd name="connsiteX5" fmla="*/ 15378 w 119613"/>
                  <a:gd name="connsiteY5" fmla="*/ 241 h 65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613" h="65009">
                    <a:moveTo>
                      <a:pt x="15378" y="241"/>
                    </a:moveTo>
                    <a:cubicBezTo>
                      <a:pt x="11571" y="4566"/>
                      <a:pt x="5371" y="12674"/>
                      <a:pt x="0" y="24399"/>
                    </a:cubicBezTo>
                    <a:cubicBezTo>
                      <a:pt x="10153" y="36978"/>
                      <a:pt x="15934" y="51792"/>
                      <a:pt x="19206" y="65009"/>
                    </a:cubicBezTo>
                    <a:lnTo>
                      <a:pt x="119613" y="64989"/>
                    </a:lnTo>
                    <a:cubicBezTo>
                      <a:pt x="118929" y="51792"/>
                      <a:pt x="115242" y="20616"/>
                      <a:pt x="96027" y="0"/>
                    </a:cubicBezTo>
                    <a:cubicBezTo>
                      <a:pt x="83668" y="7440"/>
                      <a:pt x="49171" y="23818"/>
                      <a:pt x="15378" y="241"/>
                    </a:cubicBezTo>
                    <a:close/>
                  </a:path>
                </a:pathLst>
              </a:custGeom>
              <a:noFill/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>
                  <a:latin typeface="Arial" panose="020B0604020202020204" pitchFamily="34" charset="0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4D8CDE1D-6003-4718-B7FA-70E85CD041BF}"/>
                  </a:ext>
                </a:extLst>
              </p:cNvPr>
              <p:cNvSpPr/>
              <p:nvPr/>
            </p:nvSpPr>
            <p:spPr>
              <a:xfrm>
                <a:off x="3448557" y="3176280"/>
                <a:ext cx="138679" cy="69526"/>
              </a:xfrm>
              <a:custGeom>
                <a:avLst/>
                <a:gdLst>
                  <a:gd name="connsiteX0" fmla="*/ 25469 w 129703"/>
                  <a:gd name="connsiteY0" fmla="*/ 257 h 65026"/>
                  <a:gd name="connsiteX1" fmla="*/ 0 w 129703"/>
                  <a:gd name="connsiteY1" fmla="*/ 65026 h 65026"/>
                  <a:gd name="connsiteX2" fmla="*/ 129704 w 129703"/>
                  <a:gd name="connsiteY2" fmla="*/ 64989 h 65026"/>
                  <a:gd name="connsiteX3" fmla="*/ 106118 w 129703"/>
                  <a:gd name="connsiteY3" fmla="*/ 0 h 65026"/>
                  <a:gd name="connsiteX4" fmla="*/ 25469 w 129703"/>
                  <a:gd name="connsiteY4" fmla="*/ 257 h 65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703" h="65026">
                    <a:moveTo>
                      <a:pt x="25469" y="257"/>
                    </a:moveTo>
                    <a:cubicBezTo>
                      <a:pt x="18207" y="8473"/>
                      <a:pt x="2281" y="30271"/>
                      <a:pt x="0" y="65026"/>
                    </a:cubicBezTo>
                    <a:lnTo>
                      <a:pt x="129704" y="64989"/>
                    </a:lnTo>
                    <a:cubicBezTo>
                      <a:pt x="129023" y="51808"/>
                      <a:pt x="125332" y="20633"/>
                      <a:pt x="106118" y="0"/>
                    </a:cubicBezTo>
                    <a:cubicBezTo>
                      <a:pt x="93755" y="7453"/>
                      <a:pt x="59261" y="23831"/>
                      <a:pt x="25469" y="257"/>
                    </a:cubicBezTo>
                    <a:close/>
                  </a:path>
                </a:pathLst>
              </a:custGeom>
              <a:noFill/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>
                  <a:latin typeface="Arial" panose="020B0604020202020204" pitchFamily="34" charset="0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36B60253-6886-4843-8DA1-D86A83E95D9E}"/>
                  </a:ext>
                </a:extLst>
              </p:cNvPr>
              <p:cNvSpPr/>
              <p:nvPr/>
            </p:nvSpPr>
            <p:spPr>
              <a:xfrm>
                <a:off x="3332999" y="3145435"/>
                <a:ext cx="129318" cy="69503"/>
              </a:xfrm>
              <a:custGeom>
                <a:avLst/>
                <a:gdLst>
                  <a:gd name="connsiteX0" fmla="*/ 106126 w 120948"/>
                  <a:gd name="connsiteY0" fmla="*/ 0 h 65005"/>
                  <a:gd name="connsiteX1" fmla="*/ 25477 w 120948"/>
                  <a:gd name="connsiteY1" fmla="*/ 236 h 65005"/>
                  <a:gd name="connsiteX2" fmla="*/ 0 w 120948"/>
                  <a:gd name="connsiteY2" fmla="*/ 65005 h 65005"/>
                  <a:gd name="connsiteX3" fmla="*/ 100017 w 120948"/>
                  <a:gd name="connsiteY3" fmla="*/ 64985 h 65005"/>
                  <a:gd name="connsiteX4" fmla="*/ 120949 w 120948"/>
                  <a:gd name="connsiteY4" fmla="*/ 23938 h 65005"/>
                  <a:gd name="connsiteX5" fmla="*/ 106126 w 120948"/>
                  <a:gd name="connsiteY5" fmla="*/ 0 h 65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948" h="65005">
                    <a:moveTo>
                      <a:pt x="106126" y="0"/>
                    </a:moveTo>
                    <a:cubicBezTo>
                      <a:pt x="93755" y="7436"/>
                      <a:pt x="59274" y="23814"/>
                      <a:pt x="25477" y="236"/>
                    </a:cubicBezTo>
                    <a:cubicBezTo>
                      <a:pt x="18215" y="8473"/>
                      <a:pt x="2281" y="30251"/>
                      <a:pt x="0" y="65005"/>
                    </a:cubicBezTo>
                    <a:lnTo>
                      <a:pt x="100017" y="64985"/>
                    </a:lnTo>
                    <a:cubicBezTo>
                      <a:pt x="105587" y="45550"/>
                      <a:pt x="114524" y="31901"/>
                      <a:pt x="120949" y="23938"/>
                    </a:cubicBezTo>
                    <a:cubicBezTo>
                      <a:pt x="117506" y="15490"/>
                      <a:pt x="112762" y="7109"/>
                      <a:pt x="106126" y="0"/>
                    </a:cubicBezTo>
                    <a:close/>
                  </a:path>
                </a:pathLst>
              </a:custGeom>
              <a:noFill/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>
                  <a:latin typeface="Arial" panose="020B0604020202020204" pitchFamily="34" charset="0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25D1F8AA-C22C-47DC-9117-10ECA8198A82}"/>
                  </a:ext>
                </a:extLst>
              </p:cNvPr>
              <p:cNvSpPr/>
              <p:nvPr/>
            </p:nvSpPr>
            <p:spPr>
              <a:xfrm>
                <a:off x="3318919" y="3129596"/>
                <a:ext cx="399090" cy="130005"/>
              </a:xfrm>
              <a:custGeom>
                <a:avLst/>
                <a:gdLst>
                  <a:gd name="connsiteX0" fmla="*/ 341807 w 373260"/>
                  <a:gd name="connsiteY0" fmla="*/ 1779 h 121591"/>
                  <a:gd name="connsiteX1" fmla="*/ 333508 w 373260"/>
                  <a:gd name="connsiteY1" fmla="*/ 1414 h 121591"/>
                  <a:gd name="connsiteX2" fmla="*/ 259371 w 373260"/>
                  <a:gd name="connsiteY2" fmla="*/ 1451 h 121591"/>
                  <a:gd name="connsiteX3" fmla="*/ 251055 w 373260"/>
                  <a:gd name="connsiteY3" fmla="*/ 1580 h 121591"/>
                  <a:gd name="connsiteX4" fmla="*/ 230779 w 373260"/>
                  <a:gd name="connsiteY4" fmla="*/ 29500 h 121591"/>
                  <a:gd name="connsiteX5" fmla="*/ 224280 w 373260"/>
                  <a:gd name="connsiteY5" fmla="*/ 30284 h 121591"/>
                  <a:gd name="connsiteX6" fmla="*/ 150143 w 373260"/>
                  <a:gd name="connsiteY6" fmla="*/ 30321 h 121591"/>
                  <a:gd name="connsiteX7" fmla="*/ 144116 w 373260"/>
                  <a:gd name="connsiteY7" fmla="*/ 29193 h 121591"/>
                  <a:gd name="connsiteX8" fmla="*/ 124512 w 373260"/>
                  <a:gd name="connsiteY8" fmla="*/ 1779 h 121591"/>
                  <a:gd name="connsiteX9" fmla="*/ 116205 w 373260"/>
                  <a:gd name="connsiteY9" fmla="*/ 1414 h 121591"/>
                  <a:gd name="connsiteX10" fmla="*/ 42076 w 373260"/>
                  <a:gd name="connsiteY10" fmla="*/ 1451 h 121591"/>
                  <a:gd name="connsiteX11" fmla="*/ 33760 w 373260"/>
                  <a:gd name="connsiteY11" fmla="*/ 1580 h 121591"/>
                  <a:gd name="connsiteX12" fmla="*/ 1 w 373260"/>
                  <a:gd name="connsiteY12" fmla="*/ 86202 h 121591"/>
                  <a:gd name="connsiteX13" fmla="*/ 1863 w 373260"/>
                  <a:gd name="connsiteY13" fmla="*/ 90818 h 121591"/>
                  <a:gd name="connsiteX14" fmla="*/ 6454 w 373260"/>
                  <a:gd name="connsiteY14" fmla="*/ 92746 h 121591"/>
                  <a:gd name="connsiteX15" fmla="*/ 110233 w 373260"/>
                  <a:gd name="connsiteY15" fmla="*/ 92726 h 121591"/>
                  <a:gd name="connsiteX16" fmla="*/ 108068 w 373260"/>
                  <a:gd name="connsiteY16" fmla="*/ 115047 h 121591"/>
                  <a:gd name="connsiteX17" fmla="*/ 109922 w 373260"/>
                  <a:gd name="connsiteY17" fmla="*/ 119683 h 121591"/>
                  <a:gd name="connsiteX18" fmla="*/ 114529 w 373260"/>
                  <a:gd name="connsiteY18" fmla="*/ 121591 h 121591"/>
                  <a:gd name="connsiteX19" fmla="*/ 257550 w 373260"/>
                  <a:gd name="connsiteY19" fmla="*/ 121575 h 121591"/>
                  <a:gd name="connsiteX20" fmla="*/ 264003 w 373260"/>
                  <a:gd name="connsiteY20" fmla="*/ 115320 h 121591"/>
                  <a:gd name="connsiteX21" fmla="*/ 262349 w 373260"/>
                  <a:gd name="connsiteY21" fmla="*/ 92726 h 121591"/>
                  <a:gd name="connsiteX22" fmla="*/ 366783 w 373260"/>
                  <a:gd name="connsiteY22" fmla="*/ 92709 h 121591"/>
                  <a:gd name="connsiteX23" fmla="*/ 373236 w 373260"/>
                  <a:gd name="connsiteY23" fmla="*/ 86476 h 121591"/>
                  <a:gd name="connsiteX24" fmla="*/ 341807 w 373260"/>
                  <a:gd name="connsiteY24" fmla="*/ 1779 h 121591"/>
                  <a:gd name="connsiteX25" fmla="*/ 113190 w 373260"/>
                  <a:gd name="connsiteY25" fmla="*/ 79803 h 121591"/>
                  <a:gd name="connsiteX26" fmla="*/ 13173 w 373260"/>
                  <a:gd name="connsiteY26" fmla="*/ 79819 h 121591"/>
                  <a:gd name="connsiteX27" fmla="*/ 38650 w 373260"/>
                  <a:gd name="connsiteY27" fmla="*/ 15050 h 121591"/>
                  <a:gd name="connsiteX28" fmla="*/ 119299 w 373260"/>
                  <a:gd name="connsiteY28" fmla="*/ 14814 h 121591"/>
                  <a:gd name="connsiteX29" fmla="*/ 134121 w 373260"/>
                  <a:gd name="connsiteY29" fmla="*/ 38757 h 121591"/>
                  <a:gd name="connsiteX30" fmla="*/ 113190 w 373260"/>
                  <a:gd name="connsiteY30" fmla="*/ 79803 h 121591"/>
                  <a:gd name="connsiteX31" fmla="*/ 121248 w 373260"/>
                  <a:gd name="connsiteY31" fmla="*/ 108685 h 121591"/>
                  <a:gd name="connsiteX32" fmla="*/ 146717 w 373260"/>
                  <a:gd name="connsiteY32" fmla="*/ 43916 h 121591"/>
                  <a:gd name="connsiteX33" fmla="*/ 227366 w 373260"/>
                  <a:gd name="connsiteY33" fmla="*/ 43663 h 121591"/>
                  <a:gd name="connsiteX34" fmla="*/ 250952 w 373260"/>
                  <a:gd name="connsiteY34" fmla="*/ 108651 h 121591"/>
                  <a:gd name="connsiteX35" fmla="*/ 121248 w 373260"/>
                  <a:gd name="connsiteY35" fmla="*/ 108685 h 121591"/>
                  <a:gd name="connsiteX36" fmla="*/ 259777 w 373260"/>
                  <a:gd name="connsiteY36" fmla="*/ 79819 h 121591"/>
                  <a:gd name="connsiteX37" fmla="*/ 240571 w 373260"/>
                  <a:gd name="connsiteY37" fmla="*/ 39209 h 121591"/>
                  <a:gd name="connsiteX38" fmla="*/ 255949 w 373260"/>
                  <a:gd name="connsiteY38" fmla="*/ 15050 h 121591"/>
                  <a:gd name="connsiteX39" fmla="*/ 336598 w 373260"/>
                  <a:gd name="connsiteY39" fmla="*/ 14814 h 121591"/>
                  <a:gd name="connsiteX40" fmla="*/ 360184 w 373260"/>
                  <a:gd name="connsiteY40" fmla="*/ 79803 h 121591"/>
                  <a:gd name="connsiteX41" fmla="*/ 259777 w 373260"/>
                  <a:gd name="connsiteY41" fmla="*/ 79819 h 12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373260" h="121591">
                    <a:moveTo>
                      <a:pt x="341807" y="1779"/>
                    </a:moveTo>
                    <a:cubicBezTo>
                      <a:pt x="339489" y="-349"/>
                      <a:pt x="335989" y="-494"/>
                      <a:pt x="333508" y="1414"/>
                    </a:cubicBezTo>
                    <a:cubicBezTo>
                      <a:pt x="333119" y="1725"/>
                      <a:pt x="294918" y="30408"/>
                      <a:pt x="259371" y="1451"/>
                    </a:cubicBezTo>
                    <a:cubicBezTo>
                      <a:pt x="256932" y="-531"/>
                      <a:pt x="253436" y="-477"/>
                      <a:pt x="251055" y="1580"/>
                    </a:cubicBezTo>
                    <a:cubicBezTo>
                      <a:pt x="250301" y="2252"/>
                      <a:pt x="239858" y="11542"/>
                      <a:pt x="230779" y="29500"/>
                    </a:cubicBezTo>
                    <a:cubicBezTo>
                      <a:pt x="228681" y="28591"/>
                      <a:pt x="226188" y="28828"/>
                      <a:pt x="224280" y="30284"/>
                    </a:cubicBezTo>
                    <a:cubicBezTo>
                      <a:pt x="222725" y="31466"/>
                      <a:pt x="185523" y="59132"/>
                      <a:pt x="150143" y="30321"/>
                    </a:cubicBezTo>
                    <a:cubicBezTo>
                      <a:pt x="148405" y="28902"/>
                      <a:pt x="146145" y="28558"/>
                      <a:pt x="144116" y="29193"/>
                    </a:cubicBezTo>
                    <a:cubicBezTo>
                      <a:pt x="139554" y="19376"/>
                      <a:pt x="133246" y="9796"/>
                      <a:pt x="124512" y="1779"/>
                    </a:cubicBezTo>
                    <a:cubicBezTo>
                      <a:pt x="122194" y="-349"/>
                      <a:pt x="118693" y="-494"/>
                      <a:pt x="116205" y="1414"/>
                    </a:cubicBezTo>
                    <a:cubicBezTo>
                      <a:pt x="115823" y="1725"/>
                      <a:pt x="77631" y="30408"/>
                      <a:pt x="42076" y="1451"/>
                    </a:cubicBezTo>
                    <a:cubicBezTo>
                      <a:pt x="39641" y="-531"/>
                      <a:pt x="36132" y="-477"/>
                      <a:pt x="33760" y="1580"/>
                    </a:cubicBezTo>
                    <a:cubicBezTo>
                      <a:pt x="32404" y="2762"/>
                      <a:pt x="793" y="30864"/>
                      <a:pt x="1" y="86202"/>
                    </a:cubicBezTo>
                    <a:cubicBezTo>
                      <a:pt x="-28" y="87931"/>
                      <a:pt x="635" y="89582"/>
                      <a:pt x="1863" y="90818"/>
                    </a:cubicBezTo>
                    <a:cubicBezTo>
                      <a:pt x="3074" y="92054"/>
                      <a:pt x="4729" y="92746"/>
                      <a:pt x="6454" y="92746"/>
                    </a:cubicBezTo>
                    <a:lnTo>
                      <a:pt x="110233" y="92726"/>
                    </a:lnTo>
                    <a:cubicBezTo>
                      <a:pt x="109005" y="99614"/>
                      <a:pt x="108188" y="107013"/>
                      <a:pt x="108068" y="115047"/>
                    </a:cubicBezTo>
                    <a:cubicBezTo>
                      <a:pt x="108043" y="116776"/>
                      <a:pt x="108715" y="118447"/>
                      <a:pt x="109922" y="119683"/>
                    </a:cubicBezTo>
                    <a:cubicBezTo>
                      <a:pt x="111141" y="120903"/>
                      <a:pt x="112796" y="121591"/>
                      <a:pt x="114529" y="121591"/>
                    </a:cubicBezTo>
                    <a:lnTo>
                      <a:pt x="257550" y="121575"/>
                    </a:lnTo>
                    <a:cubicBezTo>
                      <a:pt x="261034" y="121575"/>
                      <a:pt x="263887" y="118812"/>
                      <a:pt x="264003" y="115320"/>
                    </a:cubicBezTo>
                    <a:cubicBezTo>
                      <a:pt x="264028" y="114429"/>
                      <a:pt x="264265" y="105288"/>
                      <a:pt x="262349" y="92726"/>
                    </a:cubicBezTo>
                    <a:lnTo>
                      <a:pt x="366783" y="92709"/>
                    </a:lnTo>
                    <a:cubicBezTo>
                      <a:pt x="370262" y="92709"/>
                      <a:pt x="373115" y="89947"/>
                      <a:pt x="373236" y="86476"/>
                    </a:cubicBezTo>
                    <a:cubicBezTo>
                      <a:pt x="373310" y="84257"/>
                      <a:pt x="374646" y="31864"/>
                      <a:pt x="341807" y="1779"/>
                    </a:cubicBezTo>
                    <a:close/>
                    <a:moveTo>
                      <a:pt x="113190" y="79803"/>
                    </a:moveTo>
                    <a:lnTo>
                      <a:pt x="13173" y="79819"/>
                    </a:lnTo>
                    <a:cubicBezTo>
                      <a:pt x="15454" y="45060"/>
                      <a:pt x="31388" y="23287"/>
                      <a:pt x="38650" y="15050"/>
                    </a:cubicBezTo>
                    <a:cubicBezTo>
                      <a:pt x="72442" y="38628"/>
                      <a:pt x="106927" y="22250"/>
                      <a:pt x="119299" y="14814"/>
                    </a:cubicBezTo>
                    <a:cubicBezTo>
                      <a:pt x="125935" y="21923"/>
                      <a:pt x="130679" y="30300"/>
                      <a:pt x="134121" y="38757"/>
                    </a:cubicBezTo>
                    <a:cubicBezTo>
                      <a:pt x="127693" y="46715"/>
                      <a:pt x="118760" y="60368"/>
                      <a:pt x="113190" y="79803"/>
                    </a:cubicBezTo>
                    <a:close/>
                    <a:moveTo>
                      <a:pt x="121248" y="108685"/>
                    </a:moveTo>
                    <a:cubicBezTo>
                      <a:pt x="123529" y="73930"/>
                      <a:pt x="139455" y="52132"/>
                      <a:pt x="146717" y="43916"/>
                    </a:cubicBezTo>
                    <a:cubicBezTo>
                      <a:pt x="180509" y="67493"/>
                      <a:pt x="215003" y="51116"/>
                      <a:pt x="227366" y="43663"/>
                    </a:cubicBezTo>
                    <a:cubicBezTo>
                      <a:pt x="246580" y="64296"/>
                      <a:pt x="250272" y="95471"/>
                      <a:pt x="250952" y="108651"/>
                    </a:cubicBezTo>
                    <a:lnTo>
                      <a:pt x="121248" y="108685"/>
                    </a:lnTo>
                    <a:close/>
                    <a:moveTo>
                      <a:pt x="259777" y="79819"/>
                    </a:moveTo>
                    <a:cubicBezTo>
                      <a:pt x="256505" y="66606"/>
                      <a:pt x="250724" y="51787"/>
                      <a:pt x="240571" y="39209"/>
                    </a:cubicBezTo>
                    <a:cubicBezTo>
                      <a:pt x="245942" y="27484"/>
                      <a:pt x="252142" y="19376"/>
                      <a:pt x="255949" y="15050"/>
                    </a:cubicBezTo>
                    <a:cubicBezTo>
                      <a:pt x="289742" y="38628"/>
                      <a:pt x="324235" y="22250"/>
                      <a:pt x="336598" y="14814"/>
                    </a:cubicBezTo>
                    <a:cubicBezTo>
                      <a:pt x="355813" y="35430"/>
                      <a:pt x="359504" y="66606"/>
                      <a:pt x="360184" y="79803"/>
                    </a:cubicBezTo>
                    <a:lnTo>
                      <a:pt x="259777" y="79819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06FDAFC-3DC7-45A2-A649-9A76AE9C3068}"/>
              </a:ext>
            </a:extLst>
          </p:cNvPr>
          <p:cNvGrpSpPr/>
          <p:nvPr/>
        </p:nvGrpSpPr>
        <p:grpSpPr>
          <a:xfrm>
            <a:off x="4669772" y="1225480"/>
            <a:ext cx="1455031" cy="2231225"/>
            <a:chOff x="5124841" y="2672821"/>
            <a:chExt cx="1940041" cy="2974967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688F6AA9-EAC4-4380-B07A-03CBA274F1D8}"/>
                </a:ext>
              </a:extLst>
            </p:cNvPr>
            <p:cNvGrpSpPr/>
            <p:nvPr/>
          </p:nvGrpSpPr>
          <p:grpSpPr>
            <a:xfrm>
              <a:off x="5124841" y="2672821"/>
              <a:ext cx="1940041" cy="2974967"/>
              <a:chOff x="5124841" y="2672822"/>
              <a:chExt cx="1940041" cy="2974967"/>
            </a:xfrm>
            <a:effectLst>
              <a:outerShdw blurRad="419100" dist="317500" dir="5400000" sx="84000" sy="84000" algn="ctr" rotWithShape="0">
                <a:srgbClr val="003A70"/>
              </a:outerShdw>
            </a:effectLst>
          </p:grpSpPr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11109212-625D-4A94-8550-DE296D4E523E}"/>
                  </a:ext>
                </a:extLst>
              </p:cNvPr>
              <p:cNvSpPr/>
              <p:nvPr/>
            </p:nvSpPr>
            <p:spPr>
              <a:xfrm>
                <a:off x="5124841" y="2672822"/>
                <a:ext cx="1935318" cy="2974967"/>
              </a:xfrm>
              <a:prstGeom prst="roundRect">
                <a:avLst>
                  <a:gd name="adj" fmla="val 4199"/>
                </a:avLst>
              </a:prstGeom>
              <a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F09FD0AE-669A-4471-8BE9-7D892DE504A2}"/>
                  </a:ext>
                </a:extLst>
              </p:cNvPr>
              <p:cNvSpPr/>
              <p:nvPr/>
            </p:nvSpPr>
            <p:spPr>
              <a:xfrm>
                <a:off x="5124841" y="2672822"/>
                <a:ext cx="1935318" cy="2974967"/>
              </a:xfrm>
              <a:prstGeom prst="roundRect">
                <a:avLst>
                  <a:gd name="adj" fmla="val 4199"/>
                </a:avLst>
              </a:prstGeom>
              <a:gradFill>
                <a:gsLst>
                  <a:gs pos="0">
                    <a:srgbClr val="003A70">
                      <a:alpha val="59000"/>
                    </a:srgbClr>
                  </a:gs>
                  <a:gs pos="100000">
                    <a:srgbClr val="00305C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C14DB90-4327-4B3B-ABF0-A9D3E1EE84EF}"/>
                  </a:ext>
                </a:extLst>
              </p:cNvPr>
              <p:cNvSpPr txBox="1"/>
              <p:nvPr/>
            </p:nvSpPr>
            <p:spPr>
              <a:xfrm>
                <a:off x="5300840" y="3986313"/>
                <a:ext cx="1764042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>
                    <a:solidFill>
                      <a:srgbClr val="B9975B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167</a:t>
                </a:r>
              </a:p>
              <a:p>
                <a:r>
                  <a:rPr lang="en-US" sz="105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  <a:t>Full-time faculty</a:t>
                </a:r>
              </a:p>
            </p:txBody>
          </p:sp>
        </p:grpSp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AD8D1A76-B0BF-4B0A-B214-2EE185A2A2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86387" y="3697101"/>
              <a:ext cx="304801" cy="304801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C280EE6-452A-4A48-8DCA-D5D97639C238}"/>
              </a:ext>
            </a:extLst>
          </p:cNvPr>
          <p:cNvGrpSpPr/>
          <p:nvPr/>
        </p:nvGrpSpPr>
        <p:grpSpPr>
          <a:xfrm>
            <a:off x="6671806" y="1022422"/>
            <a:ext cx="1453622" cy="2231225"/>
            <a:chOff x="7237973" y="2363374"/>
            <a:chExt cx="1938162" cy="297496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EE3AE09-CF0D-4092-A32B-806A99A23D09}"/>
                </a:ext>
              </a:extLst>
            </p:cNvPr>
            <p:cNvGrpSpPr/>
            <p:nvPr/>
          </p:nvGrpSpPr>
          <p:grpSpPr>
            <a:xfrm>
              <a:off x="7237973" y="2363374"/>
              <a:ext cx="1938162" cy="2974967"/>
              <a:chOff x="7237973" y="2672822"/>
              <a:chExt cx="1938162" cy="2974967"/>
            </a:xfrm>
            <a:effectLst>
              <a:outerShdw blurRad="419100" dist="317500" dir="5400000" sx="84000" sy="84000" algn="ctr" rotWithShape="0">
                <a:srgbClr val="003A70"/>
              </a:outerShdw>
            </a:effectLst>
          </p:grpSpPr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3ED804BB-9092-44C7-94BA-8F44603ADD73}"/>
                  </a:ext>
                </a:extLst>
              </p:cNvPr>
              <p:cNvSpPr/>
              <p:nvPr/>
            </p:nvSpPr>
            <p:spPr>
              <a:xfrm>
                <a:off x="7240817" y="2672822"/>
                <a:ext cx="1935318" cy="2974967"/>
              </a:xfrm>
              <a:prstGeom prst="roundRect">
                <a:avLst>
                  <a:gd name="adj" fmla="val 4199"/>
                </a:avLst>
              </a:prstGeom>
              <a:blipFill>
                <a:blip r:embed="rId1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A825AB3D-B35F-4215-9240-EF9FE132C540}"/>
                  </a:ext>
                </a:extLst>
              </p:cNvPr>
              <p:cNvSpPr/>
              <p:nvPr/>
            </p:nvSpPr>
            <p:spPr>
              <a:xfrm>
                <a:off x="7237973" y="2672822"/>
                <a:ext cx="1935317" cy="2974967"/>
              </a:xfrm>
              <a:prstGeom prst="roundRect">
                <a:avLst>
                  <a:gd name="adj" fmla="val 4199"/>
                </a:avLst>
              </a:prstGeom>
              <a:gradFill>
                <a:gsLst>
                  <a:gs pos="0">
                    <a:srgbClr val="003A70">
                      <a:alpha val="59000"/>
                    </a:srgbClr>
                  </a:gs>
                  <a:gs pos="100000">
                    <a:srgbClr val="00305C"/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>
                  <a:latin typeface="Arial" panose="020B0604020202020204" pitchFamily="34" charset="0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09BAA81E-1459-4532-A032-57720F0B2485}"/>
                  </a:ext>
                </a:extLst>
              </p:cNvPr>
              <p:cNvSpPr txBox="1"/>
              <p:nvPr/>
            </p:nvSpPr>
            <p:spPr>
              <a:xfrm>
                <a:off x="7409248" y="3569049"/>
                <a:ext cx="1764043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b="1" dirty="0">
                    <a:solidFill>
                      <a:srgbClr val="B9975B"/>
                    </a:solidFill>
                    <a:latin typeface="Arial" panose="020B0604020202020204" pitchFamily="34" charset="0"/>
                    <a:cs typeface="DIN Pro Cond Black" panose="020B0A06020101010102" pitchFamily="34" charset="0"/>
                  </a:rPr>
                  <a:t>73,000</a:t>
                </a:r>
              </a:p>
              <a:p>
                <a:r>
                  <a:rPr lang="en-US" sz="1050" dirty="0">
                    <a:solidFill>
                      <a:schemeClr val="bg1"/>
                    </a:solidFill>
                    <a:latin typeface="Arial" panose="020B0604020202020204" pitchFamily="34" charset="0"/>
                    <a:cs typeface="DIN Pro Cond Bold" panose="020B0806020101010102" pitchFamily="34" charset="0"/>
                  </a:rPr>
                  <a:t>Alumni</a:t>
                </a:r>
              </a:p>
            </p:txBody>
          </p:sp>
        </p:grp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5A0BD8D5-12CF-4F87-AF13-5527529CFF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06214" y="2952707"/>
              <a:ext cx="294388" cy="294388"/>
            </a:xfrm>
            <a:prstGeom prst="rect">
              <a:avLst/>
            </a:prstGeom>
          </p:spPr>
        </p:pic>
      </p:grpSp>
      <p:sp>
        <p:nvSpPr>
          <p:cNvPr id="51" name="TextBox 115">
            <a:extLst>
              <a:ext uri="{FF2B5EF4-FFF2-40B4-BE49-F238E27FC236}">
                <a16:creationId xmlns:a16="http://schemas.microsoft.com/office/drawing/2014/main" id="{79FAC8E6-8FD6-2B49-AEFF-086E8C1D1D13}"/>
              </a:ext>
            </a:extLst>
          </p:cNvPr>
          <p:cNvSpPr txBox="1"/>
          <p:nvPr/>
        </p:nvSpPr>
        <p:spPr>
          <a:xfrm>
            <a:off x="584130" y="3710859"/>
            <a:ext cx="2450028" cy="30362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OUR GLOBAL NETWORKS</a:t>
            </a:r>
          </a:p>
        </p:txBody>
      </p:sp>
      <p:grpSp>
        <p:nvGrpSpPr>
          <p:cNvPr id="52" name="Group 7">
            <a:extLst>
              <a:ext uri="{FF2B5EF4-FFF2-40B4-BE49-F238E27FC236}">
                <a16:creationId xmlns:a16="http://schemas.microsoft.com/office/drawing/2014/main" id="{4FC1B474-11C9-D04A-959E-E367B73DA79B}"/>
              </a:ext>
            </a:extLst>
          </p:cNvPr>
          <p:cNvGrpSpPr/>
          <p:nvPr/>
        </p:nvGrpSpPr>
        <p:grpSpPr>
          <a:xfrm>
            <a:off x="2239018" y="4076898"/>
            <a:ext cx="1033023" cy="618268"/>
            <a:chOff x="364318" y="3945374"/>
            <a:chExt cx="1610625" cy="1051189"/>
          </a:xfrm>
        </p:grpSpPr>
        <p:sp>
          <p:nvSpPr>
            <p:cNvPr id="56" name="Rectangle: Rounded Corners 119">
              <a:extLst>
                <a:ext uri="{FF2B5EF4-FFF2-40B4-BE49-F238E27FC236}">
                  <a16:creationId xmlns:a16="http://schemas.microsoft.com/office/drawing/2014/main" id="{71667D1B-8FFB-654E-BBB7-29337CE9741E}"/>
                </a:ext>
              </a:extLst>
            </p:cNvPr>
            <p:cNvSpPr/>
            <p:nvPr/>
          </p:nvSpPr>
          <p:spPr>
            <a:xfrm>
              <a:off x="364318" y="3945374"/>
              <a:ext cx="1610625" cy="1051189"/>
            </a:xfrm>
            <a:prstGeom prst="roundRect">
              <a:avLst>
                <a:gd name="adj" fmla="val 419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101600" dir="5400000" sx="73000" sy="73000" algn="ctr" rotWithShape="0">
                <a:schemeClr val="tx1">
                  <a:alpha val="5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</a:endParaRPr>
            </a:p>
          </p:txBody>
        </p:sp>
        <p:pic>
          <p:nvPicPr>
            <p:cNvPr id="60" name="Image 44">
              <a:extLst>
                <a:ext uri="{FF2B5EF4-FFF2-40B4-BE49-F238E27FC236}">
                  <a16:creationId xmlns:a16="http://schemas.microsoft.com/office/drawing/2014/main" id="{FF955974-CBC2-0C4C-95CD-C73DF2CE03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9167" y="4054500"/>
              <a:ext cx="1326041" cy="583457"/>
            </a:xfrm>
            <a:prstGeom prst="rect">
              <a:avLst/>
            </a:prstGeom>
          </p:spPr>
        </p:pic>
      </p:grpSp>
      <p:grpSp>
        <p:nvGrpSpPr>
          <p:cNvPr id="61" name="Group 15">
            <a:extLst>
              <a:ext uri="{FF2B5EF4-FFF2-40B4-BE49-F238E27FC236}">
                <a16:creationId xmlns:a16="http://schemas.microsoft.com/office/drawing/2014/main" id="{879D0A24-D556-E94B-A566-78D9F0DA96B4}"/>
              </a:ext>
            </a:extLst>
          </p:cNvPr>
          <p:cNvGrpSpPr/>
          <p:nvPr/>
        </p:nvGrpSpPr>
        <p:grpSpPr>
          <a:xfrm>
            <a:off x="3993644" y="4060708"/>
            <a:ext cx="1092233" cy="627255"/>
            <a:chOff x="1893444" y="3945375"/>
            <a:chExt cx="1673233" cy="952057"/>
          </a:xfrm>
        </p:grpSpPr>
        <p:sp>
          <p:nvSpPr>
            <p:cNvPr id="62" name="Rectangle: Rounded Corners 121">
              <a:extLst>
                <a:ext uri="{FF2B5EF4-FFF2-40B4-BE49-F238E27FC236}">
                  <a16:creationId xmlns:a16="http://schemas.microsoft.com/office/drawing/2014/main" id="{A247ADFA-4770-C849-8098-8961E817A221}"/>
                </a:ext>
              </a:extLst>
            </p:cNvPr>
            <p:cNvSpPr/>
            <p:nvPr/>
          </p:nvSpPr>
          <p:spPr>
            <a:xfrm>
              <a:off x="1893444" y="3945375"/>
              <a:ext cx="1673233" cy="952057"/>
            </a:xfrm>
            <a:prstGeom prst="roundRect">
              <a:avLst>
                <a:gd name="adj" fmla="val 419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101600" dir="5400000" sx="73000" sy="73000" algn="ctr" rotWithShape="0">
                <a:schemeClr val="tx1">
                  <a:alpha val="5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</a:endParaRPr>
            </a:p>
          </p:txBody>
        </p:sp>
        <p:pic>
          <p:nvPicPr>
            <p:cNvPr id="63" name="Image 43">
              <a:extLst>
                <a:ext uri="{FF2B5EF4-FFF2-40B4-BE49-F238E27FC236}">
                  <a16:creationId xmlns:a16="http://schemas.microsoft.com/office/drawing/2014/main" id="{DE9AA12A-BD9C-2F46-BC0C-05F4A39CD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2719" y="4198010"/>
              <a:ext cx="1269499" cy="465484"/>
            </a:xfrm>
            <a:prstGeom prst="rect">
              <a:avLst/>
            </a:prstGeom>
          </p:spPr>
        </p:pic>
      </p:grpSp>
      <p:grpSp>
        <p:nvGrpSpPr>
          <p:cNvPr id="64" name="Group 18">
            <a:extLst>
              <a:ext uri="{FF2B5EF4-FFF2-40B4-BE49-F238E27FC236}">
                <a16:creationId xmlns:a16="http://schemas.microsoft.com/office/drawing/2014/main" id="{670F83BB-27D6-E247-BE50-8117B7DBA577}"/>
              </a:ext>
            </a:extLst>
          </p:cNvPr>
          <p:cNvGrpSpPr/>
          <p:nvPr/>
        </p:nvGrpSpPr>
        <p:grpSpPr>
          <a:xfrm>
            <a:off x="5991301" y="4039717"/>
            <a:ext cx="1106912" cy="650109"/>
            <a:chOff x="1089651" y="5110444"/>
            <a:chExt cx="1475883" cy="801416"/>
          </a:xfrm>
        </p:grpSpPr>
        <p:sp>
          <p:nvSpPr>
            <p:cNvPr id="66" name="Rectangle: Rounded Corners 122">
              <a:extLst>
                <a:ext uri="{FF2B5EF4-FFF2-40B4-BE49-F238E27FC236}">
                  <a16:creationId xmlns:a16="http://schemas.microsoft.com/office/drawing/2014/main" id="{F2177877-7093-674B-84F1-07B121086E8E}"/>
                </a:ext>
              </a:extLst>
            </p:cNvPr>
            <p:cNvSpPr/>
            <p:nvPr/>
          </p:nvSpPr>
          <p:spPr>
            <a:xfrm>
              <a:off x="1089651" y="5110444"/>
              <a:ext cx="1475883" cy="801416"/>
            </a:xfrm>
            <a:prstGeom prst="roundRect">
              <a:avLst>
                <a:gd name="adj" fmla="val 419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101600" dir="5400000" sx="73000" sy="73000" algn="ctr" rotWithShape="0">
                <a:schemeClr val="tx1">
                  <a:alpha val="52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</a:endParaRPr>
            </a:p>
          </p:txBody>
        </p:sp>
        <p:pic>
          <p:nvPicPr>
            <p:cNvPr id="67" name="Image 42">
              <a:extLst>
                <a:ext uri="{FF2B5EF4-FFF2-40B4-BE49-F238E27FC236}">
                  <a16:creationId xmlns:a16="http://schemas.microsoft.com/office/drawing/2014/main" id="{4E671893-90BD-974B-8792-7E2EF3B43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38046" y="5239049"/>
              <a:ext cx="1202228" cy="512950"/>
            </a:xfrm>
            <a:prstGeom prst="rect">
              <a:avLst/>
            </a:prstGeom>
          </p:spPr>
        </p:pic>
      </p:grpSp>
      <p:cxnSp>
        <p:nvCxnSpPr>
          <p:cNvPr id="68" name="Straight Connector 137">
            <a:extLst>
              <a:ext uri="{FF2B5EF4-FFF2-40B4-BE49-F238E27FC236}">
                <a16:creationId xmlns:a16="http://schemas.microsoft.com/office/drawing/2014/main" id="{CC106F6A-DD43-2344-A582-311D1868CB3E}"/>
              </a:ext>
            </a:extLst>
          </p:cNvPr>
          <p:cNvCxnSpPr>
            <a:cxnSpLocks/>
          </p:cNvCxnSpPr>
          <p:nvPr/>
        </p:nvCxnSpPr>
        <p:spPr>
          <a:xfrm flipH="1">
            <a:off x="2782875" y="3847071"/>
            <a:ext cx="5670010" cy="0"/>
          </a:xfrm>
          <a:prstGeom prst="line">
            <a:avLst/>
          </a:prstGeom>
          <a:ln w="4445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90">
            <a:extLst>
              <a:ext uri="{FF2B5EF4-FFF2-40B4-BE49-F238E27FC236}">
                <a16:creationId xmlns:a16="http://schemas.microsoft.com/office/drawing/2014/main" id="{EA09E36F-01DE-4385-B592-8B1FEE314FAC}"/>
              </a:ext>
            </a:extLst>
          </p:cNvPr>
          <p:cNvCxnSpPr>
            <a:cxnSpLocks/>
          </p:cNvCxnSpPr>
          <p:nvPr/>
        </p:nvCxnSpPr>
        <p:spPr>
          <a:xfrm flipH="1">
            <a:off x="4463143" y="662711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91">
            <a:extLst>
              <a:ext uri="{FF2B5EF4-FFF2-40B4-BE49-F238E27FC236}">
                <a16:creationId xmlns:a16="http://schemas.microsoft.com/office/drawing/2014/main" id="{1EAA31DC-3F8D-4C20-ACE3-F0AC7B5DF23A}"/>
              </a:ext>
            </a:extLst>
          </p:cNvPr>
          <p:cNvCxnSpPr>
            <a:cxnSpLocks/>
          </p:cNvCxnSpPr>
          <p:nvPr/>
        </p:nvCxnSpPr>
        <p:spPr>
          <a:xfrm>
            <a:off x="2" y="634136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3302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oup 114">
            <a:extLst>
              <a:ext uri="{FF2B5EF4-FFF2-40B4-BE49-F238E27FC236}">
                <a16:creationId xmlns:a16="http://schemas.microsoft.com/office/drawing/2014/main" id="{D51A595E-E42A-44FF-B9A6-958AFCF65BB2}"/>
              </a:ext>
            </a:extLst>
          </p:cNvPr>
          <p:cNvGrpSpPr/>
          <p:nvPr/>
        </p:nvGrpSpPr>
        <p:grpSpPr>
          <a:xfrm>
            <a:off x="1221581" y="817110"/>
            <a:ext cx="6700839" cy="3873092"/>
            <a:chOff x="5619750" y="3153727"/>
            <a:chExt cx="952499" cy="550545"/>
          </a:xfrm>
          <a:solidFill>
            <a:srgbClr val="00305C">
              <a:alpha val="7000"/>
            </a:srgbClr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493A90F-36FB-41EC-88CF-8DF574A0FCFA}"/>
                </a:ext>
              </a:extLst>
            </p:cNvPr>
            <p:cNvSpPr/>
            <p:nvPr/>
          </p:nvSpPr>
          <p:spPr>
            <a:xfrm>
              <a:off x="5631180" y="3184207"/>
              <a:ext cx="286702" cy="520065"/>
            </a:xfrm>
            <a:custGeom>
              <a:avLst/>
              <a:gdLst>
                <a:gd name="connsiteX0" fmla="*/ 0 w 286702"/>
                <a:gd name="connsiteY0" fmla="*/ 54293 h 520065"/>
                <a:gd name="connsiteX1" fmla="*/ 0 w 286702"/>
                <a:gd name="connsiteY1" fmla="*/ 51435 h 520065"/>
                <a:gd name="connsiteX2" fmla="*/ 15240 w 286702"/>
                <a:gd name="connsiteY2" fmla="*/ 43815 h 520065"/>
                <a:gd name="connsiteX3" fmla="*/ 15240 w 286702"/>
                <a:gd name="connsiteY3" fmla="*/ 41910 h 520065"/>
                <a:gd name="connsiteX4" fmla="*/ 11430 w 286702"/>
                <a:gd name="connsiteY4" fmla="*/ 40958 h 520065"/>
                <a:gd name="connsiteX5" fmla="*/ 11430 w 286702"/>
                <a:gd name="connsiteY5" fmla="*/ 37148 h 520065"/>
                <a:gd name="connsiteX6" fmla="*/ 15240 w 286702"/>
                <a:gd name="connsiteY6" fmla="*/ 27623 h 520065"/>
                <a:gd name="connsiteX7" fmla="*/ 21908 w 286702"/>
                <a:gd name="connsiteY7" fmla="*/ 27623 h 520065"/>
                <a:gd name="connsiteX8" fmla="*/ 35243 w 286702"/>
                <a:gd name="connsiteY8" fmla="*/ 23813 h 520065"/>
                <a:gd name="connsiteX9" fmla="*/ 38100 w 286702"/>
                <a:gd name="connsiteY9" fmla="*/ 13335 h 520065"/>
                <a:gd name="connsiteX10" fmla="*/ 53340 w 286702"/>
                <a:gd name="connsiteY10" fmla="*/ 5715 h 520065"/>
                <a:gd name="connsiteX11" fmla="*/ 64770 w 286702"/>
                <a:gd name="connsiteY11" fmla="*/ 5715 h 520065"/>
                <a:gd name="connsiteX12" fmla="*/ 82867 w 286702"/>
                <a:gd name="connsiteY12" fmla="*/ 0 h 520065"/>
                <a:gd name="connsiteX13" fmla="*/ 86678 w 286702"/>
                <a:gd name="connsiteY13" fmla="*/ 0 h 520065"/>
                <a:gd name="connsiteX14" fmla="*/ 100965 w 286702"/>
                <a:gd name="connsiteY14" fmla="*/ 8573 h 520065"/>
                <a:gd name="connsiteX15" fmla="*/ 121920 w 286702"/>
                <a:gd name="connsiteY15" fmla="*/ 13335 h 520065"/>
                <a:gd name="connsiteX16" fmla="*/ 143828 w 286702"/>
                <a:gd name="connsiteY16" fmla="*/ 12383 h 520065"/>
                <a:gd name="connsiteX17" fmla="*/ 157163 w 286702"/>
                <a:gd name="connsiteY17" fmla="*/ 22860 h 520065"/>
                <a:gd name="connsiteX18" fmla="*/ 161925 w 286702"/>
                <a:gd name="connsiteY18" fmla="*/ 23813 h 520065"/>
                <a:gd name="connsiteX19" fmla="*/ 167640 w 286702"/>
                <a:gd name="connsiteY19" fmla="*/ 20955 h 520065"/>
                <a:gd name="connsiteX20" fmla="*/ 172403 w 286702"/>
                <a:gd name="connsiteY20" fmla="*/ 20955 h 520065"/>
                <a:gd name="connsiteX21" fmla="*/ 190500 w 286702"/>
                <a:gd name="connsiteY21" fmla="*/ 28575 h 520065"/>
                <a:gd name="connsiteX22" fmla="*/ 201930 w 286702"/>
                <a:gd name="connsiteY22" fmla="*/ 24765 h 520065"/>
                <a:gd name="connsiteX23" fmla="*/ 201930 w 286702"/>
                <a:gd name="connsiteY23" fmla="*/ 22860 h 520065"/>
                <a:gd name="connsiteX24" fmla="*/ 200025 w 286702"/>
                <a:gd name="connsiteY24" fmla="*/ 18098 h 520065"/>
                <a:gd name="connsiteX25" fmla="*/ 204788 w 286702"/>
                <a:gd name="connsiteY25" fmla="*/ 14288 h 520065"/>
                <a:gd name="connsiteX26" fmla="*/ 207645 w 286702"/>
                <a:gd name="connsiteY26" fmla="*/ 14288 h 520065"/>
                <a:gd name="connsiteX27" fmla="*/ 208598 w 286702"/>
                <a:gd name="connsiteY27" fmla="*/ 15240 h 520065"/>
                <a:gd name="connsiteX28" fmla="*/ 209550 w 286702"/>
                <a:gd name="connsiteY28" fmla="*/ 21908 h 520065"/>
                <a:gd name="connsiteX29" fmla="*/ 220028 w 286702"/>
                <a:gd name="connsiteY29" fmla="*/ 24765 h 520065"/>
                <a:gd name="connsiteX30" fmla="*/ 220028 w 286702"/>
                <a:gd name="connsiteY30" fmla="*/ 21908 h 520065"/>
                <a:gd name="connsiteX31" fmla="*/ 222885 w 286702"/>
                <a:gd name="connsiteY31" fmla="*/ 21908 h 520065"/>
                <a:gd name="connsiteX32" fmla="*/ 225743 w 286702"/>
                <a:gd name="connsiteY32" fmla="*/ 24765 h 520065"/>
                <a:gd name="connsiteX33" fmla="*/ 225743 w 286702"/>
                <a:gd name="connsiteY33" fmla="*/ 27623 h 520065"/>
                <a:gd name="connsiteX34" fmla="*/ 220028 w 286702"/>
                <a:gd name="connsiteY34" fmla="*/ 33338 h 520065"/>
                <a:gd name="connsiteX35" fmla="*/ 204788 w 286702"/>
                <a:gd name="connsiteY35" fmla="*/ 34290 h 520065"/>
                <a:gd name="connsiteX36" fmla="*/ 194310 w 286702"/>
                <a:gd name="connsiteY36" fmla="*/ 40958 h 520065"/>
                <a:gd name="connsiteX37" fmla="*/ 180023 w 286702"/>
                <a:gd name="connsiteY37" fmla="*/ 44768 h 520065"/>
                <a:gd name="connsiteX38" fmla="*/ 175260 w 286702"/>
                <a:gd name="connsiteY38" fmla="*/ 51435 h 520065"/>
                <a:gd name="connsiteX39" fmla="*/ 170498 w 286702"/>
                <a:gd name="connsiteY39" fmla="*/ 60008 h 520065"/>
                <a:gd name="connsiteX40" fmla="*/ 169545 w 286702"/>
                <a:gd name="connsiteY40" fmla="*/ 66675 h 520065"/>
                <a:gd name="connsiteX41" fmla="*/ 176213 w 286702"/>
                <a:gd name="connsiteY41" fmla="*/ 70485 h 520065"/>
                <a:gd name="connsiteX42" fmla="*/ 181928 w 286702"/>
                <a:gd name="connsiteY42" fmla="*/ 76200 h 520065"/>
                <a:gd name="connsiteX43" fmla="*/ 186690 w 286702"/>
                <a:gd name="connsiteY43" fmla="*/ 77153 h 520065"/>
                <a:gd name="connsiteX44" fmla="*/ 186690 w 286702"/>
                <a:gd name="connsiteY44" fmla="*/ 80963 h 520065"/>
                <a:gd name="connsiteX45" fmla="*/ 183833 w 286702"/>
                <a:gd name="connsiteY45" fmla="*/ 86678 h 520065"/>
                <a:gd name="connsiteX46" fmla="*/ 183833 w 286702"/>
                <a:gd name="connsiteY46" fmla="*/ 91440 h 520065"/>
                <a:gd name="connsiteX47" fmla="*/ 189548 w 286702"/>
                <a:gd name="connsiteY47" fmla="*/ 90488 h 520065"/>
                <a:gd name="connsiteX48" fmla="*/ 197168 w 286702"/>
                <a:gd name="connsiteY48" fmla="*/ 78105 h 520065"/>
                <a:gd name="connsiteX49" fmla="*/ 204788 w 286702"/>
                <a:gd name="connsiteY49" fmla="*/ 73343 h 520065"/>
                <a:gd name="connsiteX50" fmla="*/ 205740 w 286702"/>
                <a:gd name="connsiteY50" fmla="*/ 66675 h 520065"/>
                <a:gd name="connsiteX51" fmla="*/ 217170 w 286702"/>
                <a:gd name="connsiteY51" fmla="*/ 50483 h 520065"/>
                <a:gd name="connsiteX52" fmla="*/ 227648 w 286702"/>
                <a:gd name="connsiteY52" fmla="*/ 49530 h 520065"/>
                <a:gd name="connsiteX53" fmla="*/ 232410 w 286702"/>
                <a:gd name="connsiteY53" fmla="*/ 58103 h 520065"/>
                <a:gd name="connsiteX54" fmla="*/ 232410 w 286702"/>
                <a:gd name="connsiteY54" fmla="*/ 60960 h 520065"/>
                <a:gd name="connsiteX55" fmla="*/ 231458 w 286702"/>
                <a:gd name="connsiteY55" fmla="*/ 63818 h 520065"/>
                <a:gd name="connsiteX56" fmla="*/ 238125 w 286702"/>
                <a:gd name="connsiteY56" fmla="*/ 64770 h 520065"/>
                <a:gd name="connsiteX57" fmla="*/ 242888 w 286702"/>
                <a:gd name="connsiteY57" fmla="*/ 58103 h 520065"/>
                <a:gd name="connsiteX58" fmla="*/ 244793 w 286702"/>
                <a:gd name="connsiteY58" fmla="*/ 58103 h 520065"/>
                <a:gd name="connsiteX59" fmla="*/ 246698 w 286702"/>
                <a:gd name="connsiteY59" fmla="*/ 71438 h 520065"/>
                <a:gd name="connsiteX60" fmla="*/ 253365 w 286702"/>
                <a:gd name="connsiteY60" fmla="*/ 86678 h 520065"/>
                <a:gd name="connsiteX61" fmla="*/ 253365 w 286702"/>
                <a:gd name="connsiteY61" fmla="*/ 90488 h 520065"/>
                <a:gd name="connsiteX62" fmla="*/ 251460 w 286702"/>
                <a:gd name="connsiteY62" fmla="*/ 94298 h 520065"/>
                <a:gd name="connsiteX63" fmla="*/ 237173 w 286702"/>
                <a:gd name="connsiteY63" fmla="*/ 100965 h 520065"/>
                <a:gd name="connsiteX64" fmla="*/ 231458 w 286702"/>
                <a:gd name="connsiteY64" fmla="*/ 101918 h 520065"/>
                <a:gd name="connsiteX65" fmla="*/ 230505 w 286702"/>
                <a:gd name="connsiteY65" fmla="*/ 100013 h 520065"/>
                <a:gd name="connsiteX66" fmla="*/ 219075 w 286702"/>
                <a:gd name="connsiteY66" fmla="*/ 100013 h 520065"/>
                <a:gd name="connsiteX67" fmla="*/ 203835 w 286702"/>
                <a:gd name="connsiteY67" fmla="*/ 109538 h 520065"/>
                <a:gd name="connsiteX68" fmla="*/ 203835 w 286702"/>
                <a:gd name="connsiteY68" fmla="*/ 111443 h 520065"/>
                <a:gd name="connsiteX69" fmla="*/ 205740 w 286702"/>
                <a:gd name="connsiteY69" fmla="*/ 111443 h 520065"/>
                <a:gd name="connsiteX70" fmla="*/ 215265 w 286702"/>
                <a:gd name="connsiteY70" fmla="*/ 105728 h 520065"/>
                <a:gd name="connsiteX71" fmla="*/ 223838 w 286702"/>
                <a:gd name="connsiteY71" fmla="*/ 105728 h 520065"/>
                <a:gd name="connsiteX72" fmla="*/ 223838 w 286702"/>
                <a:gd name="connsiteY72" fmla="*/ 107632 h 520065"/>
                <a:gd name="connsiteX73" fmla="*/ 220980 w 286702"/>
                <a:gd name="connsiteY73" fmla="*/ 110490 h 520065"/>
                <a:gd name="connsiteX74" fmla="*/ 220980 w 286702"/>
                <a:gd name="connsiteY74" fmla="*/ 115253 h 520065"/>
                <a:gd name="connsiteX75" fmla="*/ 227648 w 286702"/>
                <a:gd name="connsiteY75" fmla="*/ 118110 h 520065"/>
                <a:gd name="connsiteX76" fmla="*/ 226695 w 286702"/>
                <a:gd name="connsiteY76" fmla="*/ 121920 h 520065"/>
                <a:gd name="connsiteX77" fmla="*/ 218123 w 286702"/>
                <a:gd name="connsiteY77" fmla="*/ 123825 h 520065"/>
                <a:gd name="connsiteX78" fmla="*/ 215265 w 286702"/>
                <a:gd name="connsiteY78" fmla="*/ 125730 h 520065"/>
                <a:gd name="connsiteX79" fmla="*/ 215265 w 286702"/>
                <a:gd name="connsiteY79" fmla="*/ 127635 h 520065"/>
                <a:gd name="connsiteX80" fmla="*/ 213360 w 286702"/>
                <a:gd name="connsiteY80" fmla="*/ 126682 h 520065"/>
                <a:gd name="connsiteX81" fmla="*/ 213360 w 286702"/>
                <a:gd name="connsiteY81" fmla="*/ 124778 h 520065"/>
                <a:gd name="connsiteX82" fmla="*/ 217170 w 286702"/>
                <a:gd name="connsiteY82" fmla="*/ 122873 h 520065"/>
                <a:gd name="connsiteX83" fmla="*/ 217170 w 286702"/>
                <a:gd name="connsiteY83" fmla="*/ 119063 h 520065"/>
                <a:gd name="connsiteX84" fmla="*/ 209550 w 286702"/>
                <a:gd name="connsiteY84" fmla="*/ 120968 h 520065"/>
                <a:gd name="connsiteX85" fmla="*/ 199073 w 286702"/>
                <a:gd name="connsiteY85" fmla="*/ 126682 h 520065"/>
                <a:gd name="connsiteX86" fmla="*/ 195263 w 286702"/>
                <a:gd name="connsiteY86" fmla="*/ 133350 h 520065"/>
                <a:gd name="connsiteX87" fmla="*/ 186690 w 286702"/>
                <a:gd name="connsiteY87" fmla="*/ 134303 h 520065"/>
                <a:gd name="connsiteX88" fmla="*/ 179070 w 286702"/>
                <a:gd name="connsiteY88" fmla="*/ 145733 h 520065"/>
                <a:gd name="connsiteX89" fmla="*/ 176213 w 286702"/>
                <a:gd name="connsiteY89" fmla="*/ 149543 h 520065"/>
                <a:gd name="connsiteX90" fmla="*/ 173355 w 286702"/>
                <a:gd name="connsiteY90" fmla="*/ 150495 h 520065"/>
                <a:gd name="connsiteX91" fmla="*/ 174308 w 286702"/>
                <a:gd name="connsiteY91" fmla="*/ 144780 h 520065"/>
                <a:gd name="connsiteX92" fmla="*/ 172403 w 286702"/>
                <a:gd name="connsiteY92" fmla="*/ 144780 h 520065"/>
                <a:gd name="connsiteX93" fmla="*/ 168593 w 286702"/>
                <a:gd name="connsiteY93" fmla="*/ 157163 h 520065"/>
                <a:gd name="connsiteX94" fmla="*/ 157163 w 286702"/>
                <a:gd name="connsiteY94" fmla="*/ 165735 h 520065"/>
                <a:gd name="connsiteX95" fmla="*/ 149543 w 286702"/>
                <a:gd name="connsiteY95" fmla="*/ 174308 h 520065"/>
                <a:gd name="connsiteX96" fmla="*/ 148590 w 286702"/>
                <a:gd name="connsiteY96" fmla="*/ 182880 h 520065"/>
                <a:gd name="connsiteX97" fmla="*/ 146685 w 286702"/>
                <a:gd name="connsiteY97" fmla="*/ 194310 h 520065"/>
                <a:gd name="connsiteX98" fmla="*/ 145733 w 286702"/>
                <a:gd name="connsiteY98" fmla="*/ 198120 h 520065"/>
                <a:gd name="connsiteX99" fmla="*/ 143828 w 286702"/>
                <a:gd name="connsiteY99" fmla="*/ 198120 h 520065"/>
                <a:gd name="connsiteX100" fmla="*/ 140970 w 286702"/>
                <a:gd name="connsiteY100" fmla="*/ 191453 h 520065"/>
                <a:gd name="connsiteX101" fmla="*/ 140970 w 286702"/>
                <a:gd name="connsiteY101" fmla="*/ 179070 h 520065"/>
                <a:gd name="connsiteX102" fmla="*/ 136208 w 286702"/>
                <a:gd name="connsiteY102" fmla="*/ 177165 h 520065"/>
                <a:gd name="connsiteX103" fmla="*/ 129540 w 286702"/>
                <a:gd name="connsiteY103" fmla="*/ 177165 h 520065"/>
                <a:gd name="connsiteX104" fmla="*/ 123825 w 286702"/>
                <a:gd name="connsiteY104" fmla="*/ 178118 h 520065"/>
                <a:gd name="connsiteX105" fmla="*/ 123825 w 286702"/>
                <a:gd name="connsiteY105" fmla="*/ 181928 h 520065"/>
                <a:gd name="connsiteX106" fmla="*/ 119063 w 286702"/>
                <a:gd name="connsiteY106" fmla="*/ 182880 h 520065"/>
                <a:gd name="connsiteX107" fmla="*/ 113348 w 286702"/>
                <a:gd name="connsiteY107" fmla="*/ 180023 h 520065"/>
                <a:gd name="connsiteX108" fmla="*/ 103823 w 286702"/>
                <a:gd name="connsiteY108" fmla="*/ 180023 h 520065"/>
                <a:gd name="connsiteX109" fmla="*/ 94298 w 286702"/>
                <a:gd name="connsiteY109" fmla="*/ 188595 h 520065"/>
                <a:gd name="connsiteX110" fmla="*/ 88583 w 286702"/>
                <a:gd name="connsiteY110" fmla="*/ 200025 h 520065"/>
                <a:gd name="connsiteX111" fmla="*/ 86678 w 286702"/>
                <a:gd name="connsiteY111" fmla="*/ 212408 h 520065"/>
                <a:gd name="connsiteX112" fmla="*/ 89535 w 286702"/>
                <a:gd name="connsiteY112" fmla="*/ 220028 h 520065"/>
                <a:gd name="connsiteX113" fmla="*/ 92392 w 286702"/>
                <a:gd name="connsiteY113" fmla="*/ 224790 h 520065"/>
                <a:gd name="connsiteX114" fmla="*/ 102870 w 286702"/>
                <a:gd name="connsiteY114" fmla="*/ 224790 h 520065"/>
                <a:gd name="connsiteX115" fmla="*/ 107633 w 286702"/>
                <a:gd name="connsiteY115" fmla="*/ 217170 h 520065"/>
                <a:gd name="connsiteX116" fmla="*/ 120015 w 286702"/>
                <a:gd name="connsiteY116" fmla="*/ 215265 h 520065"/>
                <a:gd name="connsiteX117" fmla="*/ 120015 w 286702"/>
                <a:gd name="connsiteY117" fmla="*/ 219075 h 520065"/>
                <a:gd name="connsiteX118" fmla="*/ 111442 w 286702"/>
                <a:gd name="connsiteY118" fmla="*/ 234315 h 520065"/>
                <a:gd name="connsiteX119" fmla="*/ 110490 w 286702"/>
                <a:gd name="connsiteY119" fmla="*/ 237173 h 520065"/>
                <a:gd name="connsiteX120" fmla="*/ 126683 w 286702"/>
                <a:gd name="connsiteY120" fmla="*/ 238125 h 520065"/>
                <a:gd name="connsiteX121" fmla="*/ 124778 w 286702"/>
                <a:gd name="connsiteY121" fmla="*/ 252413 h 520065"/>
                <a:gd name="connsiteX122" fmla="*/ 124778 w 286702"/>
                <a:gd name="connsiteY122" fmla="*/ 259080 h 520065"/>
                <a:gd name="connsiteX123" fmla="*/ 127635 w 286702"/>
                <a:gd name="connsiteY123" fmla="*/ 260985 h 520065"/>
                <a:gd name="connsiteX124" fmla="*/ 129540 w 286702"/>
                <a:gd name="connsiteY124" fmla="*/ 264795 h 520065"/>
                <a:gd name="connsiteX125" fmla="*/ 133350 w 286702"/>
                <a:gd name="connsiteY125" fmla="*/ 266700 h 520065"/>
                <a:gd name="connsiteX126" fmla="*/ 137160 w 286702"/>
                <a:gd name="connsiteY126" fmla="*/ 264795 h 520065"/>
                <a:gd name="connsiteX127" fmla="*/ 140018 w 286702"/>
                <a:gd name="connsiteY127" fmla="*/ 263843 h 520065"/>
                <a:gd name="connsiteX128" fmla="*/ 141923 w 286702"/>
                <a:gd name="connsiteY128" fmla="*/ 264795 h 520065"/>
                <a:gd name="connsiteX129" fmla="*/ 143828 w 286702"/>
                <a:gd name="connsiteY129" fmla="*/ 266700 h 520065"/>
                <a:gd name="connsiteX130" fmla="*/ 144780 w 286702"/>
                <a:gd name="connsiteY130" fmla="*/ 268605 h 520065"/>
                <a:gd name="connsiteX131" fmla="*/ 147638 w 286702"/>
                <a:gd name="connsiteY131" fmla="*/ 268605 h 520065"/>
                <a:gd name="connsiteX132" fmla="*/ 150495 w 286702"/>
                <a:gd name="connsiteY132" fmla="*/ 259080 h 520065"/>
                <a:gd name="connsiteX133" fmla="*/ 155258 w 286702"/>
                <a:gd name="connsiteY133" fmla="*/ 257175 h 520065"/>
                <a:gd name="connsiteX134" fmla="*/ 160973 w 286702"/>
                <a:gd name="connsiteY134" fmla="*/ 254318 h 520065"/>
                <a:gd name="connsiteX135" fmla="*/ 164783 w 286702"/>
                <a:gd name="connsiteY135" fmla="*/ 251460 h 520065"/>
                <a:gd name="connsiteX136" fmla="*/ 166688 w 286702"/>
                <a:gd name="connsiteY136" fmla="*/ 252413 h 520065"/>
                <a:gd name="connsiteX137" fmla="*/ 166688 w 286702"/>
                <a:gd name="connsiteY137" fmla="*/ 254318 h 520065"/>
                <a:gd name="connsiteX138" fmla="*/ 163830 w 286702"/>
                <a:gd name="connsiteY138" fmla="*/ 256223 h 520065"/>
                <a:gd name="connsiteX139" fmla="*/ 163830 w 286702"/>
                <a:gd name="connsiteY139" fmla="*/ 259080 h 520065"/>
                <a:gd name="connsiteX140" fmla="*/ 162878 w 286702"/>
                <a:gd name="connsiteY140" fmla="*/ 260033 h 520065"/>
                <a:gd name="connsiteX141" fmla="*/ 161925 w 286702"/>
                <a:gd name="connsiteY141" fmla="*/ 263843 h 520065"/>
                <a:gd name="connsiteX142" fmla="*/ 163830 w 286702"/>
                <a:gd name="connsiteY142" fmla="*/ 265748 h 520065"/>
                <a:gd name="connsiteX143" fmla="*/ 167640 w 286702"/>
                <a:gd name="connsiteY143" fmla="*/ 264795 h 520065"/>
                <a:gd name="connsiteX144" fmla="*/ 167640 w 286702"/>
                <a:gd name="connsiteY144" fmla="*/ 258128 h 520065"/>
                <a:gd name="connsiteX145" fmla="*/ 169545 w 286702"/>
                <a:gd name="connsiteY145" fmla="*/ 253365 h 520065"/>
                <a:gd name="connsiteX146" fmla="*/ 172403 w 286702"/>
                <a:gd name="connsiteY146" fmla="*/ 253365 h 520065"/>
                <a:gd name="connsiteX147" fmla="*/ 180023 w 286702"/>
                <a:gd name="connsiteY147" fmla="*/ 260033 h 520065"/>
                <a:gd name="connsiteX148" fmla="*/ 186690 w 286702"/>
                <a:gd name="connsiteY148" fmla="*/ 260985 h 520065"/>
                <a:gd name="connsiteX149" fmla="*/ 190500 w 286702"/>
                <a:gd name="connsiteY149" fmla="*/ 260033 h 520065"/>
                <a:gd name="connsiteX150" fmla="*/ 193358 w 286702"/>
                <a:gd name="connsiteY150" fmla="*/ 259080 h 520065"/>
                <a:gd name="connsiteX151" fmla="*/ 195263 w 286702"/>
                <a:gd name="connsiteY151" fmla="*/ 260033 h 520065"/>
                <a:gd name="connsiteX152" fmla="*/ 198120 w 286702"/>
                <a:gd name="connsiteY152" fmla="*/ 264795 h 520065"/>
                <a:gd name="connsiteX153" fmla="*/ 202883 w 286702"/>
                <a:gd name="connsiteY153" fmla="*/ 268605 h 520065"/>
                <a:gd name="connsiteX154" fmla="*/ 205740 w 286702"/>
                <a:gd name="connsiteY154" fmla="*/ 272415 h 520065"/>
                <a:gd name="connsiteX155" fmla="*/ 211455 w 286702"/>
                <a:gd name="connsiteY155" fmla="*/ 278130 h 520065"/>
                <a:gd name="connsiteX156" fmla="*/ 223838 w 286702"/>
                <a:gd name="connsiteY156" fmla="*/ 280035 h 520065"/>
                <a:gd name="connsiteX157" fmla="*/ 227648 w 286702"/>
                <a:gd name="connsiteY157" fmla="*/ 284798 h 520065"/>
                <a:gd name="connsiteX158" fmla="*/ 231458 w 286702"/>
                <a:gd name="connsiteY158" fmla="*/ 289560 h 520065"/>
                <a:gd name="connsiteX159" fmla="*/ 233363 w 286702"/>
                <a:gd name="connsiteY159" fmla="*/ 296228 h 520065"/>
                <a:gd name="connsiteX160" fmla="*/ 232410 w 286702"/>
                <a:gd name="connsiteY160" fmla="*/ 300990 h 520065"/>
                <a:gd name="connsiteX161" fmla="*/ 230505 w 286702"/>
                <a:gd name="connsiteY161" fmla="*/ 303848 h 520065"/>
                <a:gd name="connsiteX162" fmla="*/ 228600 w 286702"/>
                <a:gd name="connsiteY162" fmla="*/ 306705 h 520065"/>
                <a:gd name="connsiteX163" fmla="*/ 228600 w 286702"/>
                <a:gd name="connsiteY163" fmla="*/ 308610 h 520065"/>
                <a:gd name="connsiteX164" fmla="*/ 230505 w 286702"/>
                <a:gd name="connsiteY164" fmla="*/ 308610 h 520065"/>
                <a:gd name="connsiteX165" fmla="*/ 230505 w 286702"/>
                <a:gd name="connsiteY165" fmla="*/ 306705 h 520065"/>
                <a:gd name="connsiteX166" fmla="*/ 235268 w 286702"/>
                <a:gd name="connsiteY166" fmla="*/ 304800 h 520065"/>
                <a:gd name="connsiteX167" fmla="*/ 236220 w 286702"/>
                <a:gd name="connsiteY167" fmla="*/ 303848 h 520065"/>
                <a:gd name="connsiteX168" fmla="*/ 240030 w 286702"/>
                <a:gd name="connsiteY168" fmla="*/ 303848 h 520065"/>
                <a:gd name="connsiteX169" fmla="*/ 240030 w 286702"/>
                <a:gd name="connsiteY169" fmla="*/ 304800 h 520065"/>
                <a:gd name="connsiteX170" fmla="*/ 240030 w 286702"/>
                <a:gd name="connsiteY170" fmla="*/ 306705 h 520065"/>
                <a:gd name="connsiteX171" fmla="*/ 239078 w 286702"/>
                <a:gd name="connsiteY171" fmla="*/ 308610 h 520065"/>
                <a:gd name="connsiteX172" fmla="*/ 237173 w 286702"/>
                <a:gd name="connsiteY172" fmla="*/ 309563 h 520065"/>
                <a:gd name="connsiteX173" fmla="*/ 235268 w 286702"/>
                <a:gd name="connsiteY173" fmla="*/ 309563 h 520065"/>
                <a:gd name="connsiteX174" fmla="*/ 235268 w 286702"/>
                <a:gd name="connsiteY174" fmla="*/ 310515 h 520065"/>
                <a:gd name="connsiteX175" fmla="*/ 235268 w 286702"/>
                <a:gd name="connsiteY175" fmla="*/ 312420 h 520065"/>
                <a:gd name="connsiteX176" fmla="*/ 239078 w 286702"/>
                <a:gd name="connsiteY176" fmla="*/ 312420 h 520065"/>
                <a:gd name="connsiteX177" fmla="*/ 241935 w 286702"/>
                <a:gd name="connsiteY177" fmla="*/ 309563 h 520065"/>
                <a:gd name="connsiteX178" fmla="*/ 242888 w 286702"/>
                <a:gd name="connsiteY178" fmla="*/ 305753 h 520065"/>
                <a:gd name="connsiteX179" fmla="*/ 245745 w 286702"/>
                <a:gd name="connsiteY179" fmla="*/ 305753 h 520065"/>
                <a:gd name="connsiteX180" fmla="*/ 248603 w 286702"/>
                <a:gd name="connsiteY180" fmla="*/ 308610 h 520065"/>
                <a:gd name="connsiteX181" fmla="*/ 252413 w 286702"/>
                <a:gd name="connsiteY181" fmla="*/ 310515 h 520065"/>
                <a:gd name="connsiteX182" fmla="*/ 261938 w 286702"/>
                <a:gd name="connsiteY182" fmla="*/ 315278 h 520065"/>
                <a:gd name="connsiteX183" fmla="*/ 269558 w 286702"/>
                <a:gd name="connsiteY183" fmla="*/ 315278 h 520065"/>
                <a:gd name="connsiteX184" fmla="*/ 280035 w 286702"/>
                <a:gd name="connsiteY184" fmla="*/ 321945 h 520065"/>
                <a:gd name="connsiteX185" fmla="*/ 283845 w 286702"/>
                <a:gd name="connsiteY185" fmla="*/ 321945 h 520065"/>
                <a:gd name="connsiteX186" fmla="*/ 286703 w 286702"/>
                <a:gd name="connsiteY186" fmla="*/ 336233 h 520065"/>
                <a:gd name="connsiteX187" fmla="*/ 273368 w 286702"/>
                <a:gd name="connsiteY187" fmla="*/ 353378 h 520065"/>
                <a:gd name="connsiteX188" fmla="*/ 275273 w 286702"/>
                <a:gd name="connsiteY188" fmla="*/ 361950 h 520065"/>
                <a:gd name="connsiteX189" fmla="*/ 275273 w 286702"/>
                <a:gd name="connsiteY189" fmla="*/ 370523 h 520065"/>
                <a:gd name="connsiteX190" fmla="*/ 271463 w 286702"/>
                <a:gd name="connsiteY190" fmla="*/ 383858 h 520065"/>
                <a:gd name="connsiteX191" fmla="*/ 268605 w 286702"/>
                <a:gd name="connsiteY191" fmla="*/ 393383 h 520065"/>
                <a:gd name="connsiteX192" fmla="*/ 258128 w 286702"/>
                <a:gd name="connsiteY192" fmla="*/ 397193 h 520065"/>
                <a:gd name="connsiteX193" fmla="*/ 248603 w 286702"/>
                <a:gd name="connsiteY193" fmla="*/ 402908 h 520065"/>
                <a:gd name="connsiteX194" fmla="*/ 247650 w 286702"/>
                <a:gd name="connsiteY194" fmla="*/ 417195 h 520065"/>
                <a:gd name="connsiteX195" fmla="*/ 243840 w 286702"/>
                <a:gd name="connsiteY195" fmla="*/ 427672 h 520065"/>
                <a:gd name="connsiteX196" fmla="*/ 240030 w 286702"/>
                <a:gd name="connsiteY196" fmla="*/ 437197 h 520065"/>
                <a:gd name="connsiteX197" fmla="*/ 236220 w 286702"/>
                <a:gd name="connsiteY197" fmla="*/ 442913 h 520065"/>
                <a:gd name="connsiteX198" fmla="*/ 233363 w 286702"/>
                <a:gd name="connsiteY198" fmla="*/ 442913 h 520065"/>
                <a:gd name="connsiteX199" fmla="*/ 225743 w 286702"/>
                <a:gd name="connsiteY199" fmla="*/ 439103 h 520065"/>
                <a:gd name="connsiteX200" fmla="*/ 221933 w 286702"/>
                <a:gd name="connsiteY200" fmla="*/ 438150 h 520065"/>
                <a:gd name="connsiteX201" fmla="*/ 230505 w 286702"/>
                <a:gd name="connsiteY201" fmla="*/ 448628 h 520065"/>
                <a:gd name="connsiteX202" fmla="*/ 227648 w 286702"/>
                <a:gd name="connsiteY202" fmla="*/ 454343 h 520065"/>
                <a:gd name="connsiteX203" fmla="*/ 224790 w 286702"/>
                <a:gd name="connsiteY203" fmla="*/ 458153 h 520065"/>
                <a:gd name="connsiteX204" fmla="*/ 219075 w 286702"/>
                <a:gd name="connsiteY204" fmla="*/ 458153 h 520065"/>
                <a:gd name="connsiteX205" fmla="*/ 216218 w 286702"/>
                <a:gd name="connsiteY205" fmla="*/ 460058 h 520065"/>
                <a:gd name="connsiteX206" fmla="*/ 216218 w 286702"/>
                <a:gd name="connsiteY206" fmla="*/ 461963 h 520065"/>
                <a:gd name="connsiteX207" fmla="*/ 217170 w 286702"/>
                <a:gd name="connsiteY207" fmla="*/ 462915 h 520065"/>
                <a:gd name="connsiteX208" fmla="*/ 216218 w 286702"/>
                <a:gd name="connsiteY208" fmla="*/ 466725 h 520065"/>
                <a:gd name="connsiteX209" fmla="*/ 211455 w 286702"/>
                <a:gd name="connsiteY209" fmla="*/ 468630 h 520065"/>
                <a:gd name="connsiteX210" fmla="*/ 211455 w 286702"/>
                <a:gd name="connsiteY210" fmla="*/ 468630 h 520065"/>
                <a:gd name="connsiteX211" fmla="*/ 211455 w 286702"/>
                <a:gd name="connsiteY211" fmla="*/ 471488 h 520065"/>
                <a:gd name="connsiteX212" fmla="*/ 214313 w 286702"/>
                <a:gd name="connsiteY212" fmla="*/ 475297 h 520065"/>
                <a:gd name="connsiteX213" fmla="*/ 213360 w 286702"/>
                <a:gd name="connsiteY213" fmla="*/ 481965 h 520065"/>
                <a:gd name="connsiteX214" fmla="*/ 209550 w 286702"/>
                <a:gd name="connsiteY214" fmla="*/ 488633 h 520065"/>
                <a:gd name="connsiteX215" fmla="*/ 217170 w 286702"/>
                <a:gd name="connsiteY215" fmla="*/ 493395 h 520065"/>
                <a:gd name="connsiteX216" fmla="*/ 217170 w 286702"/>
                <a:gd name="connsiteY216" fmla="*/ 497205 h 520065"/>
                <a:gd name="connsiteX217" fmla="*/ 215265 w 286702"/>
                <a:gd name="connsiteY217" fmla="*/ 500063 h 520065"/>
                <a:gd name="connsiteX218" fmla="*/ 215265 w 286702"/>
                <a:gd name="connsiteY218" fmla="*/ 507683 h 520065"/>
                <a:gd name="connsiteX219" fmla="*/ 217170 w 286702"/>
                <a:gd name="connsiteY219" fmla="*/ 513397 h 520065"/>
                <a:gd name="connsiteX220" fmla="*/ 214313 w 286702"/>
                <a:gd name="connsiteY220" fmla="*/ 517208 h 520065"/>
                <a:gd name="connsiteX221" fmla="*/ 214313 w 286702"/>
                <a:gd name="connsiteY221" fmla="*/ 520065 h 520065"/>
                <a:gd name="connsiteX222" fmla="*/ 212408 w 286702"/>
                <a:gd name="connsiteY222" fmla="*/ 520065 h 520065"/>
                <a:gd name="connsiteX223" fmla="*/ 207645 w 286702"/>
                <a:gd name="connsiteY223" fmla="*/ 517208 h 520065"/>
                <a:gd name="connsiteX224" fmla="*/ 206693 w 286702"/>
                <a:gd name="connsiteY224" fmla="*/ 513397 h 520065"/>
                <a:gd name="connsiteX225" fmla="*/ 203835 w 286702"/>
                <a:gd name="connsiteY225" fmla="*/ 512445 h 520065"/>
                <a:gd name="connsiteX226" fmla="*/ 193358 w 286702"/>
                <a:gd name="connsiteY226" fmla="*/ 494347 h 520065"/>
                <a:gd name="connsiteX227" fmla="*/ 191453 w 286702"/>
                <a:gd name="connsiteY227" fmla="*/ 493395 h 520065"/>
                <a:gd name="connsiteX228" fmla="*/ 189548 w 286702"/>
                <a:gd name="connsiteY228" fmla="*/ 492443 h 520065"/>
                <a:gd name="connsiteX229" fmla="*/ 189548 w 286702"/>
                <a:gd name="connsiteY229" fmla="*/ 490538 h 520065"/>
                <a:gd name="connsiteX230" fmla="*/ 192405 w 286702"/>
                <a:gd name="connsiteY230" fmla="*/ 488633 h 520065"/>
                <a:gd name="connsiteX231" fmla="*/ 192405 w 286702"/>
                <a:gd name="connsiteY231" fmla="*/ 484822 h 520065"/>
                <a:gd name="connsiteX232" fmla="*/ 188595 w 286702"/>
                <a:gd name="connsiteY232" fmla="*/ 472440 h 520065"/>
                <a:gd name="connsiteX233" fmla="*/ 181928 w 286702"/>
                <a:gd name="connsiteY233" fmla="*/ 468630 h 520065"/>
                <a:gd name="connsiteX234" fmla="*/ 180975 w 286702"/>
                <a:gd name="connsiteY234" fmla="*/ 464820 h 520065"/>
                <a:gd name="connsiteX235" fmla="*/ 180975 w 286702"/>
                <a:gd name="connsiteY235" fmla="*/ 460058 h 520065"/>
                <a:gd name="connsiteX236" fmla="*/ 179070 w 286702"/>
                <a:gd name="connsiteY236" fmla="*/ 456247 h 520065"/>
                <a:gd name="connsiteX237" fmla="*/ 180023 w 286702"/>
                <a:gd name="connsiteY237" fmla="*/ 447675 h 520065"/>
                <a:gd name="connsiteX238" fmla="*/ 180975 w 286702"/>
                <a:gd name="connsiteY238" fmla="*/ 446722 h 520065"/>
                <a:gd name="connsiteX239" fmla="*/ 180975 w 286702"/>
                <a:gd name="connsiteY239" fmla="*/ 435293 h 520065"/>
                <a:gd name="connsiteX240" fmla="*/ 178118 w 286702"/>
                <a:gd name="connsiteY240" fmla="*/ 431483 h 520065"/>
                <a:gd name="connsiteX241" fmla="*/ 178118 w 286702"/>
                <a:gd name="connsiteY241" fmla="*/ 419100 h 520065"/>
                <a:gd name="connsiteX242" fmla="*/ 177165 w 286702"/>
                <a:gd name="connsiteY242" fmla="*/ 413385 h 520065"/>
                <a:gd name="connsiteX243" fmla="*/ 176213 w 286702"/>
                <a:gd name="connsiteY243" fmla="*/ 407670 h 520065"/>
                <a:gd name="connsiteX244" fmla="*/ 175260 w 286702"/>
                <a:gd name="connsiteY244" fmla="*/ 400050 h 520065"/>
                <a:gd name="connsiteX245" fmla="*/ 175260 w 286702"/>
                <a:gd name="connsiteY245" fmla="*/ 393383 h 520065"/>
                <a:gd name="connsiteX246" fmla="*/ 174308 w 286702"/>
                <a:gd name="connsiteY246" fmla="*/ 387668 h 520065"/>
                <a:gd name="connsiteX247" fmla="*/ 172403 w 286702"/>
                <a:gd name="connsiteY247" fmla="*/ 381000 h 520065"/>
                <a:gd name="connsiteX248" fmla="*/ 171450 w 286702"/>
                <a:gd name="connsiteY248" fmla="*/ 378143 h 520065"/>
                <a:gd name="connsiteX249" fmla="*/ 163830 w 286702"/>
                <a:gd name="connsiteY249" fmla="*/ 372428 h 520065"/>
                <a:gd name="connsiteX250" fmla="*/ 160020 w 286702"/>
                <a:gd name="connsiteY250" fmla="*/ 368618 h 520065"/>
                <a:gd name="connsiteX251" fmla="*/ 151448 w 286702"/>
                <a:gd name="connsiteY251" fmla="*/ 360045 h 520065"/>
                <a:gd name="connsiteX252" fmla="*/ 147638 w 286702"/>
                <a:gd name="connsiteY252" fmla="*/ 353378 h 520065"/>
                <a:gd name="connsiteX253" fmla="*/ 143828 w 286702"/>
                <a:gd name="connsiteY253" fmla="*/ 348615 h 520065"/>
                <a:gd name="connsiteX254" fmla="*/ 140018 w 286702"/>
                <a:gd name="connsiteY254" fmla="*/ 340995 h 520065"/>
                <a:gd name="connsiteX255" fmla="*/ 139065 w 286702"/>
                <a:gd name="connsiteY255" fmla="*/ 338138 h 520065"/>
                <a:gd name="connsiteX256" fmla="*/ 137160 w 286702"/>
                <a:gd name="connsiteY256" fmla="*/ 332423 h 520065"/>
                <a:gd name="connsiteX257" fmla="*/ 130492 w 286702"/>
                <a:gd name="connsiteY257" fmla="*/ 328613 h 520065"/>
                <a:gd name="connsiteX258" fmla="*/ 130492 w 286702"/>
                <a:gd name="connsiteY258" fmla="*/ 320040 h 520065"/>
                <a:gd name="connsiteX259" fmla="*/ 134303 w 286702"/>
                <a:gd name="connsiteY259" fmla="*/ 316230 h 520065"/>
                <a:gd name="connsiteX260" fmla="*/ 134303 w 286702"/>
                <a:gd name="connsiteY260" fmla="*/ 314325 h 520065"/>
                <a:gd name="connsiteX261" fmla="*/ 131445 w 286702"/>
                <a:gd name="connsiteY261" fmla="*/ 314325 h 520065"/>
                <a:gd name="connsiteX262" fmla="*/ 131445 w 286702"/>
                <a:gd name="connsiteY262" fmla="*/ 308610 h 520065"/>
                <a:gd name="connsiteX263" fmla="*/ 133350 w 286702"/>
                <a:gd name="connsiteY263" fmla="*/ 299085 h 520065"/>
                <a:gd name="connsiteX264" fmla="*/ 141923 w 286702"/>
                <a:gd name="connsiteY264" fmla="*/ 290513 h 520065"/>
                <a:gd name="connsiteX265" fmla="*/ 141923 w 286702"/>
                <a:gd name="connsiteY265" fmla="*/ 278130 h 520065"/>
                <a:gd name="connsiteX266" fmla="*/ 141923 w 286702"/>
                <a:gd name="connsiteY266" fmla="*/ 273368 h 520065"/>
                <a:gd name="connsiteX267" fmla="*/ 140970 w 286702"/>
                <a:gd name="connsiteY267" fmla="*/ 269558 h 520065"/>
                <a:gd name="connsiteX268" fmla="*/ 139065 w 286702"/>
                <a:gd name="connsiteY268" fmla="*/ 268605 h 520065"/>
                <a:gd name="connsiteX269" fmla="*/ 138113 w 286702"/>
                <a:gd name="connsiteY269" fmla="*/ 268605 h 520065"/>
                <a:gd name="connsiteX270" fmla="*/ 136208 w 286702"/>
                <a:gd name="connsiteY270" fmla="*/ 269558 h 520065"/>
                <a:gd name="connsiteX271" fmla="*/ 135255 w 286702"/>
                <a:gd name="connsiteY271" fmla="*/ 273368 h 520065"/>
                <a:gd name="connsiteX272" fmla="*/ 131445 w 286702"/>
                <a:gd name="connsiteY272" fmla="*/ 273368 h 520065"/>
                <a:gd name="connsiteX273" fmla="*/ 125730 w 286702"/>
                <a:gd name="connsiteY273" fmla="*/ 267653 h 520065"/>
                <a:gd name="connsiteX274" fmla="*/ 119063 w 286702"/>
                <a:gd name="connsiteY274" fmla="*/ 263843 h 520065"/>
                <a:gd name="connsiteX275" fmla="*/ 117158 w 286702"/>
                <a:gd name="connsiteY275" fmla="*/ 260985 h 520065"/>
                <a:gd name="connsiteX276" fmla="*/ 116205 w 286702"/>
                <a:gd name="connsiteY276" fmla="*/ 256223 h 520065"/>
                <a:gd name="connsiteX277" fmla="*/ 114300 w 286702"/>
                <a:gd name="connsiteY277" fmla="*/ 252413 h 520065"/>
                <a:gd name="connsiteX278" fmla="*/ 112395 w 286702"/>
                <a:gd name="connsiteY278" fmla="*/ 248603 h 520065"/>
                <a:gd name="connsiteX279" fmla="*/ 107633 w 286702"/>
                <a:gd name="connsiteY279" fmla="*/ 248603 h 520065"/>
                <a:gd name="connsiteX280" fmla="*/ 101917 w 286702"/>
                <a:gd name="connsiteY280" fmla="*/ 243840 h 520065"/>
                <a:gd name="connsiteX281" fmla="*/ 99060 w 286702"/>
                <a:gd name="connsiteY281" fmla="*/ 241935 h 520065"/>
                <a:gd name="connsiteX282" fmla="*/ 96203 w 286702"/>
                <a:gd name="connsiteY282" fmla="*/ 240030 h 520065"/>
                <a:gd name="connsiteX283" fmla="*/ 93345 w 286702"/>
                <a:gd name="connsiteY283" fmla="*/ 236220 h 520065"/>
                <a:gd name="connsiteX284" fmla="*/ 91440 w 286702"/>
                <a:gd name="connsiteY284" fmla="*/ 234315 h 520065"/>
                <a:gd name="connsiteX285" fmla="*/ 89535 w 286702"/>
                <a:gd name="connsiteY285" fmla="*/ 236220 h 520065"/>
                <a:gd name="connsiteX286" fmla="*/ 85725 w 286702"/>
                <a:gd name="connsiteY286" fmla="*/ 238125 h 520065"/>
                <a:gd name="connsiteX287" fmla="*/ 73342 w 286702"/>
                <a:gd name="connsiteY287" fmla="*/ 230505 h 520065"/>
                <a:gd name="connsiteX288" fmla="*/ 66675 w 286702"/>
                <a:gd name="connsiteY288" fmla="*/ 226695 h 520065"/>
                <a:gd name="connsiteX289" fmla="*/ 60960 w 286702"/>
                <a:gd name="connsiteY289" fmla="*/ 221933 h 520065"/>
                <a:gd name="connsiteX290" fmla="*/ 58103 w 286702"/>
                <a:gd name="connsiteY290" fmla="*/ 218123 h 520065"/>
                <a:gd name="connsiteX291" fmla="*/ 59055 w 286702"/>
                <a:gd name="connsiteY291" fmla="*/ 214313 h 520065"/>
                <a:gd name="connsiteX292" fmla="*/ 59055 w 286702"/>
                <a:gd name="connsiteY292" fmla="*/ 204788 h 520065"/>
                <a:gd name="connsiteX293" fmla="*/ 53340 w 286702"/>
                <a:gd name="connsiteY293" fmla="*/ 193358 h 520065"/>
                <a:gd name="connsiteX294" fmla="*/ 49530 w 286702"/>
                <a:gd name="connsiteY294" fmla="*/ 183833 h 520065"/>
                <a:gd name="connsiteX295" fmla="*/ 47625 w 286702"/>
                <a:gd name="connsiteY295" fmla="*/ 176213 h 520065"/>
                <a:gd name="connsiteX296" fmla="*/ 47625 w 286702"/>
                <a:gd name="connsiteY296" fmla="*/ 165735 h 520065"/>
                <a:gd name="connsiteX297" fmla="*/ 47625 w 286702"/>
                <a:gd name="connsiteY297" fmla="*/ 160020 h 520065"/>
                <a:gd name="connsiteX298" fmla="*/ 45720 w 286702"/>
                <a:gd name="connsiteY298" fmla="*/ 160020 h 520065"/>
                <a:gd name="connsiteX299" fmla="*/ 44768 w 286702"/>
                <a:gd name="connsiteY299" fmla="*/ 163830 h 520065"/>
                <a:gd name="connsiteX300" fmla="*/ 42862 w 286702"/>
                <a:gd name="connsiteY300" fmla="*/ 171450 h 520065"/>
                <a:gd name="connsiteX301" fmla="*/ 41910 w 286702"/>
                <a:gd name="connsiteY301" fmla="*/ 176213 h 520065"/>
                <a:gd name="connsiteX302" fmla="*/ 43815 w 286702"/>
                <a:gd name="connsiteY302" fmla="*/ 180975 h 520065"/>
                <a:gd name="connsiteX303" fmla="*/ 46673 w 286702"/>
                <a:gd name="connsiteY303" fmla="*/ 191453 h 520065"/>
                <a:gd name="connsiteX304" fmla="*/ 49530 w 286702"/>
                <a:gd name="connsiteY304" fmla="*/ 201930 h 520065"/>
                <a:gd name="connsiteX305" fmla="*/ 49530 w 286702"/>
                <a:gd name="connsiteY305" fmla="*/ 203835 h 520065"/>
                <a:gd name="connsiteX306" fmla="*/ 46673 w 286702"/>
                <a:gd name="connsiteY306" fmla="*/ 203835 h 520065"/>
                <a:gd name="connsiteX307" fmla="*/ 44768 w 286702"/>
                <a:gd name="connsiteY307" fmla="*/ 198120 h 520065"/>
                <a:gd name="connsiteX308" fmla="*/ 41910 w 286702"/>
                <a:gd name="connsiteY308" fmla="*/ 193358 h 520065"/>
                <a:gd name="connsiteX309" fmla="*/ 39053 w 286702"/>
                <a:gd name="connsiteY309" fmla="*/ 186690 h 520065"/>
                <a:gd name="connsiteX310" fmla="*/ 38100 w 286702"/>
                <a:gd name="connsiteY310" fmla="*/ 182880 h 520065"/>
                <a:gd name="connsiteX311" fmla="*/ 40005 w 286702"/>
                <a:gd name="connsiteY311" fmla="*/ 177165 h 520065"/>
                <a:gd name="connsiteX312" fmla="*/ 39053 w 286702"/>
                <a:gd name="connsiteY312" fmla="*/ 173355 h 520065"/>
                <a:gd name="connsiteX313" fmla="*/ 38100 w 286702"/>
                <a:gd name="connsiteY313" fmla="*/ 167640 h 520065"/>
                <a:gd name="connsiteX314" fmla="*/ 37148 w 286702"/>
                <a:gd name="connsiteY314" fmla="*/ 163830 h 520065"/>
                <a:gd name="connsiteX315" fmla="*/ 37148 w 286702"/>
                <a:gd name="connsiteY315" fmla="*/ 158115 h 520065"/>
                <a:gd name="connsiteX316" fmla="*/ 31433 w 286702"/>
                <a:gd name="connsiteY316" fmla="*/ 153353 h 520065"/>
                <a:gd name="connsiteX317" fmla="*/ 31433 w 286702"/>
                <a:gd name="connsiteY317" fmla="*/ 145733 h 520065"/>
                <a:gd name="connsiteX318" fmla="*/ 33337 w 286702"/>
                <a:gd name="connsiteY318" fmla="*/ 137160 h 520065"/>
                <a:gd name="connsiteX319" fmla="*/ 36195 w 286702"/>
                <a:gd name="connsiteY319" fmla="*/ 127635 h 520065"/>
                <a:gd name="connsiteX320" fmla="*/ 45720 w 286702"/>
                <a:gd name="connsiteY320" fmla="*/ 111443 h 520065"/>
                <a:gd name="connsiteX321" fmla="*/ 51435 w 286702"/>
                <a:gd name="connsiteY321" fmla="*/ 100965 h 520065"/>
                <a:gd name="connsiteX322" fmla="*/ 56198 w 286702"/>
                <a:gd name="connsiteY322" fmla="*/ 95250 h 520065"/>
                <a:gd name="connsiteX323" fmla="*/ 60008 w 286702"/>
                <a:gd name="connsiteY323" fmla="*/ 95250 h 520065"/>
                <a:gd name="connsiteX324" fmla="*/ 60008 w 286702"/>
                <a:gd name="connsiteY324" fmla="*/ 97155 h 520065"/>
                <a:gd name="connsiteX325" fmla="*/ 61912 w 286702"/>
                <a:gd name="connsiteY325" fmla="*/ 98107 h 520065"/>
                <a:gd name="connsiteX326" fmla="*/ 61912 w 286702"/>
                <a:gd name="connsiteY326" fmla="*/ 94298 h 520065"/>
                <a:gd name="connsiteX327" fmla="*/ 62865 w 286702"/>
                <a:gd name="connsiteY327" fmla="*/ 86678 h 520065"/>
                <a:gd name="connsiteX328" fmla="*/ 60960 w 286702"/>
                <a:gd name="connsiteY328" fmla="*/ 81915 h 520065"/>
                <a:gd name="connsiteX329" fmla="*/ 61912 w 286702"/>
                <a:gd name="connsiteY329" fmla="*/ 76200 h 520065"/>
                <a:gd name="connsiteX330" fmla="*/ 64770 w 286702"/>
                <a:gd name="connsiteY330" fmla="*/ 65723 h 520065"/>
                <a:gd name="connsiteX331" fmla="*/ 68580 w 286702"/>
                <a:gd name="connsiteY331" fmla="*/ 57150 h 520065"/>
                <a:gd name="connsiteX332" fmla="*/ 69533 w 286702"/>
                <a:gd name="connsiteY332" fmla="*/ 52388 h 520065"/>
                <a:gd name="connsiteX333" fmla="*/ 69533 w 286702"/>
                <a:gd name="connsiteY333" fmla="*/ 50483 h 520065"/>
                <a:gd name="connsiteX334" fmla="*/ 68580 w 286702"/>
                <a:gd name="connsiteY334" fmla="*/ 50483 h 520065"/>
                <a:gd name="connsiteX335" fmla="*/ 65723 w 286702"/>
                <a:gd name="connsiteY335" fmla="*/ 51435 h 520065"/>
                <a:gd name="connsiteX336" fmla="*/ 63818 w 286702"/>
                <a:gd name="connsiteY336" fmla="*/ 51435 h 520065"/>
                <a:gd name="connsiteX337" fmla="*/ 62865 w 286702"/>
                <a:gd name="connsiteY337" fmla="*/ 49530 h 520065"/>
                <a:gd name="connsiteX338" fmla="*/ 61912 w 286702"/>
                <a:gd name="connsiteY338" fmla="*/ 47625 h 520065"/>
                <a:gd name="connsiteX339" fmla="*/ 60960 w 286702"/>
                <a:gd name="connsiteY339" fmla="*/ 44768 h 520065"/>
                <a:gd name="connsiteX340" fmla="*/ 57150 w 286702"/>
                <a:gd name="connsiteY340" fmla="*/ 43815 h 520065"/>
                <a:gd name="connsiteX341" fmla="*/ 52387 w 286702"/>
                <a:gd name="connsiteY341" fmla="*/ 40958 h 520065"/>
                <a:gd name="connsiteX342" fmla="*/ 50483 w 286702"/>
                <a:gd name="connsiteY342" fmla="*/ 39053 h 520065"/>
                <a:gd name="connsiteX343" fmla="*/ 48578 w 286702"/>
                <a:gd name="connsiteY343" fmla="*/ 39053 h 520065"/>
                <a:gd name="connsiteX344" fmla="*/ 46673 w 286702"/>
                <a:gd name="connsiteY344" fmla="*/ 40958 h 520065"/>
                <a:gd name="connsiteX345" fmla="*/ 42862 w 286702"/>
                <a:gd name="connsiteY345" fmla="*/ 42863 h 520065"/>
                <a:gd name="connsiteX346" fmla="*/ 40958 w 286702"/>
                <a:gd name="connsiteY346" fmla="*/ 43815 h 520065"/>
                <a:gd name="connsiteX347" fmla="*/ 38100 w 286702"/>
                <a:gd name="connsiteY347" fmla="*/ 43815 h 520065"/>
                <a:gd name="connsiteX348" fmla="*/ 35243 w 286702"/>
                <a:gd name="connsiteY348" fmla="*/ 43815 h 520065"/>
                <a:gd name="connsiteX349" fmla="*/ 34290 w 286702"/>
                <a:gd name="connsiteY349" fmla="*/ 42863 h 520065"/>
                <a:gd name="connsiteX350" fmla="*/ 36195 w 286702"/>
                <a:gd name="connsiteY350" fmla="*/ 40958 h 520065"/>
                <a:gd name="connsiteX351" fmla="*/ 39053 w 286702"/>
                <a:gd name="connsiteY351" fmla="*/ 40005 h 520065"/>
                <a:gd name="connsiteX352" fmla="*/ 40958 w 286702"/>
                <a:gd name="connsiteY352" fmla="*/ 38100 h 520065"/>
                <a:gd name="connsiteX353" fmla="*/ 43815 w 286702"/>
                <a:gd name="connsiteY353" fmla="*/ 36195 h 520065"/>
                <a:gd name="connsiteX354" fmla="*/ 43815 w 286702"/>
                <a:gd name="connsiteY354" fmla="*/ 34290 h 520065"/>
                <a:gd name="connsiteX355" fmla="*/ 41910 w 286702"/>
                <a:gd name="connsiteY355" fmla="*/ 34290 h 520065"/>
                <a:gd name="connsiteX356" fmla="*/ 36195 w 286702"/>
                <a:gd name="connsiteY356" fmla="*/ 37148 h 520065"/>
                <a:gd name="connsiteX357" fmla="*/ 14288 w 286702"/>
                <a:gd name="connsiteY357" fmla="*/ 48578 h 520065"/>
                <a:gd name="connsiteX358" fmla="*/ 5715 w 286702"/>
                <a:gd name="connsiteY358" fmla="*/ 53340 h 520065"/>
                <a:gd name="connsiteX359" fmla="*/ 1905 w 286702"/>
                <a:gd name="connsiteY359" fmla="*/ 54293 h 520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</a:cxnLst>
              <a:rect l="l" t="t" r="r" b="b"/>
              <a:pathLst>
                <a:path w="286702" h="520065">
                  <a:moveTo>
                    <a:pt x="0" y="54293"/>
                  </a:moveTo>
                  <a:lnTo>
                    <a:pt x="0" y="51435"/>
                  </a:lnTo>
                  <a:lnTo>
                    <a:pt x="15240" y="43815"/>
                  </a:lnTo>
                  <a:lnTo>
                    <a:pt x="15240" y="41910"/>
                  </a:lnTo>
                  <a:lnTo>
                    <a:pt x="11430" y="40958"/>
                  </a:lnTo>
                  <a:lnTo>
                    <a:pt x="11430" y="37148"/>
                  </a:lnTo>
                  <a:lnTo>
                    <a:pt x="15240" y="27623"/>
                  </a:lnTo>
                  <a:lnTo>
                    <a:pt x="21908" y="27623"/>
                  </a:lnTo>
                  <a:lnTo>
                    <a:pt x="35243" y="23813"/>
                  </a:lnTo>
                  <a:lnTo>
                    <a:pt x="38100" y="13335"/>
                  </a:lnTo>
                  <a:lnTo>
                    <a:pt x="53340" y="5715"/>
                  </a:lnTo>
                  <a:lnTo>
                    <a:pt x="64770" y="5715"/>
                  </a:lnTo>
                  <a:lnTo>
                    <a:pt x="82867" y="0"/>
                  </a:lnTo>
                  <a:lnTo>
                    <a:pt x="86678" y="0"/>
                  </a:lnTo>
                  <a:lnTo>
                    <a:pt x="100965" y="8573"/>
                  </a:lnTo>
                  <a:lnTo>
                    <a:pt x="121920" y="13335"/>
                  </a:lnTo>
                  <a:lnTo>
                    <a:pt x="143828" y="12383"/>
                  </a:lnTo>
                  <a:lnTo>
                    <a:pt x="157163" y="22860"/>
                  </a:lnTo>
                  <a:lnTo>
                    <a:pt x="161925" y="23813"/>
                  </a:lnTo>
                  <a:lnTo>
                    <a:pt x="167640" y="20955"/>
                  </a:lnTo>
                  <a:lnTo>
                    <a:pt x="172403" y="20955"/>
                  </a:lnTo>
                  <a:lnTo>
                    <a:pt x="190500" y="28575"/>
                  </a:lnTo>
                  <a:lnTo>
                    <a:pt x="201930" y="24765"/>
                  </a:lnTo>
                  <a:lnTo>
                    <a:pt x="201930" y="22860"/>
                  </a:lnTo>
                  <a:lnTo>
                    <a:pt x="200025" y="18098"/>
                  </a:lnTo>
                  <a:lnTo>
                    <a:pt x="204788" y="14288"/>
                  </a:lnTo>
                  <a:lnTo>
                    <a:pt x="207645" y="14288"/>
                  </a:lnTo>
                  <a:lnTo>
                    <a:pt x="208598" y="15240"/>
                  </a:lnTo>
                  <a:lnTo>
                    <a:pt x="209550" y="21908"/>
                  </a:lnTo>
                  <a:lnTo>
                    <a:pt x="220028" y="24765"/>
                  </a:lnTo>
                  <a:lnTo>
                    <a:pt x="220028" y="21908"/>
                  </a:lnTo>
                  <a:lnTo>
                    <a:pt x="222885" y="21908"/>
                  </a:lnTo>
                  <a:lnTo>
                    <a:pt x="225743" y="24765"/>
                  </a:lnTo>
                  <a:lnTo>
                    <a:pt x="225743" y="27623"/>
                  </a:lnTo>
                  <a:lnTo>
                    <a:pt x="220028" y="33338"/>
                  </a:lnTo>
                  <a:lnTo>
                    <a:pt x="204788" y="34290"/>
                  </a:lnTo>
                  <a:lnTo>
                    <a:pt x="194310" y="40958"/>
                  </a:lnTo>
                  <a:lnTo>
                    <a:pt x="180023" y="44768"/>
                  </a:lnTo>
                  <a:lnTo>
                    <a:pt x="175260" y="51435"/>
                  </a:lnTo>
                  <a:lnTo>
                    <a:pt x="170498" y="60008"/>
                  </a:lnTo>
                  <a:lnTo>
                    <a:pt x="169545" y="66675"/>
                  </a:lnTo>
                  <a:lnTo>
                    <a:pt x="176213" y="70485"/>
                  </a:lnTo>
                  <a:lnTo>
                    <a:pt x="181928" y="76200"/>
                  </a:lnTo>
                  <a:lnTo>
                    <a:pt x="186690" y="77153"/>
                  </a:lnTo>
                  <a:lnTo>
                    <a:pt x="186690" y="80963"/>
                  </a:lnTo>
                  <a:lnTo>
                    <a:pt x="183833" y="86678"/>
                  </a:lnTo>
                  <a:lnTo>
                    <a:pt x="183833" y="91440"/>
                  </a:lnTo>
                  <a:lnTo>
                    <a:pt x="189548" y="90488"/>
                  </a:lnTo>
                  <a:lnTo>
                    <a:pt x="197168" y="78105"/>
                  </a:lnTo>
                  <a:lnTo>
                    <a:pt x="204788" y="73343"/>
                  </a:lnTo>
                  <a:lnTo>
                    <a:pt x="205740" y="66675"/>
                  </a:lnTo>
                  <a:lnTo>
                    <a:pt x="217170" y="50483"/>
                  </a:lnTo>
                  <a:lnTo>
                    <a:pt x="227648" y="49530"/>
                  </a:lnTo>
                  <a:lnTo>
                    <a:pt x="232410" y="58103"/>
                  </a:lnTo>
                  <a:lnTo>
                    <a:pt x="232410" y="60960"/>
                  </a:lnTo>
                  <a:lnTo>
                    <a:pt x="231458" y="63818"/>
                  </a:lnTo>
                  <a:lnTo>
                    <a:pt x="238125" y="64770"/>
                  </a:lnTo>
                  <a:lnTo>
                    <a:pt x="242888" y="58103"/>
                  </a:lnTo>
                  <a:lnTo>
                    <a:pt x="244793" y="58103"/>
                  </a:lnTo>
                  <a:lnTo>
                    <a:pt x="246698" y="71438"/>
                  </a:lnTo>
                  <a:lnTo>
                    <a:pt x="253365" y="86678"/>
                  </a:lnTo>
                  <a:lnTo>
                    <a:pt x="253365" y="90488"/>
                  </a:lnTo>
                  <a:lnTo>
                    <a:pt x="251460" y="94298"/>
                  </a:lnTo>
                  <a:lnTo>
                    <a:pt x="237173" y="100965"/>
                  </a:lnTo>
                  <a:lnTo>
                    <a:pt x="231458" y="101918"/>
                  </a:lnTo>
                  <a:lnTo>
                    <a:pt x="230505" y="100013"/>
                  </a:lnTo>
                  <a:lnTo>
                    <a:pt x="219075" y="100013"/>
                  </a:lnTo>
                  <a:lnTo>
                    <a:pt x="203835" y="109538"/>
                  </a:lnTo>
                  <a:lnTo>
                    <a:pt x="203835" y="111443"/>
                  </a:lnTo>
                  <a:lnTo>
                    <a:pt x="205740" y="111443"/>
                  </a:lnTo>
                  <a:lnTo>
                    <a:pt x="215265" y="105728"/>
                  </a:lnTo>
                  <a:lnTo>
                    <a:pt x="223838" y="105728"/>
                  </a:lnTo>
                  <a:lnTo>
                    <a:pt x="223838" y="107632"/>
                  </a:lnTo>
                  <a:lnTo>
                    <a:pt x="220980" y="110490"/>
                  </a:lnTo>
                  <a:lnTo>
                    <a:pt x="220980" y="115253"/>
                  </a:lnTo>
                  <a:lnTo>
                    <a:pt x="227648" y="118110"/>
                  </a:lnTo>
                  <a:lnTo>
                    <a:pt x="226695" y="121920"/>
                  </a:lnTo>
                  <a:lnTo>
                    <a:pt x="218123" y="123825"/>
                  </a:lnTo>
                  <a:lnTo>
                    <a:pt x="215265" y="125730"/>
                  </a:lnTo>
                  <a:lnTo>
                    <a:pt x="215265" y="127635"/>
                  </a:lnTo>
                  <a:lnTo>
                    <a:pt x="213360" y="126682"/>
                  </a:lnTo>
                  <a:lnTo>
                    <a:pt x="213360" y="124778"/>
                  </a:lnTo>
                  <a:lnTo>
                    <a:pt x="217170" y="122873"/>
                  </a:lnTo>
                  <a:lnTo>
                    <a:pt x="217170" y="119063"/>
                  </a:lnTo>
                  <a:lnTo>
                    <a:pt x="209550" y="120968"/>
                  </a:lnTo>
                  <a:lnTo>
                    <a:pt x="199073" y="126682"/>
                  </a:lnTo>
                  <a:lnTo>
                    <a:pt x="195263" y="133350"/>
                  </a:lnTo>
                  <a:lnTo>
                    <a:pt x="186690" y="134303"/>
                  </a:lnTo>
                  <a:lnTo>
                    <a:pt x="179070" y="145733"/>
                  </a:lnTo>
                  <a:lnTo>
                    <a:pt x="176213" y="149543"/>
                  </a:lnTo>
                  <a:lnTo>
                    <a:pt x="173355" y="150495"/>
                  </a:lnTo>
                  <a:lnTo>
                    <a:pt x="174308" y="144780"/>
                  </a:lnTo>
                  <a:lnTo>
                    <a:pt x="172403" y="144780"/>
                  </a:lnTo>
                  <a:lnTo>
                    <a:pt x="168593" y="157163"/>
                  </a:lnTo>
                  <a:lnTo>
                    <a:pt x="157163" y="165735"/>
                  </a:lnTo>
                  <a:lnTo>
                    <a:pt x="149543" y="174308"/>
                  </a:lnTo>
                  <a:lnTo>
                    <a:pt x="148590" y="182880"/>
                  </a:lnTo>
                  <a:lnTo>
                    <a:pt x="146685" y="194310"/>
                  </a:lnTo>
                  <a:lnTo>
                    <a:pt x="145733" y="198120"/>
                  </a:lnTo>
                  <a:lnTo>
                    <a:pt x="143828" y="198120"/>
                  </a:lnTo>
                  <a:lnTo>
                    <a:pt x="140970" y="191453"/>
                  </a:lnTo>
                  <a:lnTo>
                    <a:pt x="140970" y="179070"/>
                  </a:lnTo>
                  <a:lnTo>
                    <a:pt x="136208" y="177165"/>
                  </a:lnTo>
                  <a:lnTo>
                    <a:pt x="129540" y="177165"/>
                  </a:lnTo>
                  <a:lnTo>
                    <a:pt x="123825" y="178118"/>
                  </a:lnTo>
                  <a:lnTo>
                    <a:pt x="123825" y="181928"/>
                  </a:lnTo>
                  <a:lnTo>
                    <a:pt x="119063" y="182880"/>
                  </a:lnTo>
                  <a:lnTo>
                    <a:pt x="113348" y="180023"/>
                  </a:lnTo>
                  <a:lnTo>
                    <a:pt x="103823" y="180023"/>
                  </a:lnTo>
                  <a:lnTo>
                    <a:pt x="94298" y="188595"/>
                  </a:lnTo>
                  <a:lnTo>
                    <a:pt x="88583" y="200025"/>
                  </a:lnTo>
                  <a:lnTo>
                    <a:pt x="86678" y="212408"/>
                  </a:lnTo>
                  <a:lnTo>
                    <a:pt x="89535" y="220028"/>
                  </a:lnTo>
                  <a:lnTo>
                    <a:pt x="92392" y="224790"/>
                  </a:lnTo>
                  <a:lnTo>
                    <a:pt x="102870" y="224790"/>
                  </a:lnTo>
                  <a:lnTo>
                    <a:pt x="107633" y="217170"/>
                  </a:lnTo>
                  <a:lnTo>
                    <a:pt x="120015" y="215265"/>
                  </a:lnTo>
                  <a:lnTo>
                    <a:pt x="120015" y="219075"/>
                  </a:lnTo>
                  <a:lnTo>
                    <a:pt x="111442" y="234315"/>
                  </a:lnTo>
                  <a:lnTo>
                    <a:pt x="110490" y="237173"/>
                  </a:lnTo>
                  <a:lnTo>
                    <a:pt x="126683" y="238125"/>
                  </a:lnTo>
                  <a:lnTo>
                    <a:pt x="124778" y="252413"/>
                  </a:lnTo>
                  <a:lnTo>
                    <a:pt x="124778" y="259080"/>
                  </a:lnTo>
                  <a:lnTo>
                    <a:pt x="127635" y="260985"/>
                  </a:lnTo>
                  <a:lnTo>
                    <a:pt x="129540" y="264795"/>
                  </a:lnTo>
                  <a:lnTo>
                    <a:pt x="133350" y="266700"/>
                  </a:lnTo>
                  <a:lnTo>
                    <a:pt x="137160" y="264795"/>
                  </a:lnTo>
                  <a:lnTo>
                    <a:pt x="140018" y="263843"/>
                  </a:lnTo>
                  <a:lnTo>
                    <a:pt x="141923" y="264795"/>
                  </a:lnTo>
                  <a:lnTo>
                    <a:pt x="143828" y="266700"/>
                  </a:lnTo>
                  <a:lnTo>
                    <a:pt x="144780" y="268605"/>
                  </a:lnTo>
                  <a:lnTo>
                    <a:pt x="147638" y="268605"/>
                  </a:lnTo>
                  <a:lnTo>
                    <a:pt x="150495" y="259080"/>
                  </a:lnTo>
                  <a:lnTo>
                    <a:pt x="155258" y="257175"/>
                  </a:lnTo>
                  <a:lnTo>
                    <a:pt x="160973" y="254318"/>
                  </a:lnTo>
                  <a:lnTo>
                    <a:pt x="164783" y="251460"/>
                  </a:lnTo>
                  <a:lnTo>
                    <a:pt x="166688" y="252413"/>
                  </a:lnTo>
                  <a:lnTo>
                    <a:pt x="166688" y="254318"/>
                  </a:lnTo>
                  <a:lnTo>
                    <a:pt x="163830" y="256223"/>
                  </a:lnTo>
                  <a:lnTo>
                    <a:pt x="163830" y="259080"/>
                  </a:lnTo>
                  <a:lnTo>
                    <a:pt x="162878" y="260033"/>
                  </a:lnTo>
                  <a:lnTo>
                    <a:pt x="161925" y="263843"/>
                  </a:lnTo>
                  <a:lnTo>
                    <a:pt x="163830" y="265748"/>
                  </a:lnTo>
                  <a:lnTo>
                    <a:pt x="167640" y="264795"/>
                  </a:lnTo>
                  <a:lnTo>
                    <a:pt x="167640" y="258128"/>
                  </a:lnTo>
                  <a:lnTo>
                    <a:pt x="169545" y="253365"/>
                  </a:lnTo>
                  <a:lnTo>
                    <a:pt x="172403" y="253365"/>
                  </a:lnTo>
                  <a:lnTo>
                    <a:pt x="180023" y="260033"/>
                  </a:lnTo>
                  <a:lnTo>
                    <a:pt x="186690" y="260985"/>
                  </a:lnTo>
                  <a:lnTo>
                    <a:pt x="190500" y="260033"/>
                  </a:lnTo>
                  <a:lnTo>
                    <a:pt x="193358" y="259080"/>
                  </a:lnTo>
                  <a:lnTo>
                    <a:pt x="195263" y="260033"/>
                  </a:lnTo>
                  <a:lnTo>
                    <a:pt x="198120" y="264795"/>
                  </a:lnTo>
                  <a:lnTo>
                    <a:pt x="202883" y="268605"/>
                  </a:lnTo>
                  <a:lnTo>
                    <a:pt x="205740" y="272415"/>
                  </a:lnTo>
                  <a:lnTo>
                    <a:pt x="211455" y="278130"/>
                  </a:lnTo>
                  <a:lnTo>
                    <a:pt x="223838" y="280035"/>
                  </a:lnTo>
                  <a:lnTo>
                    <a:pt x="227648" y="284798"/>
                  </a:lnTo>
                  <a:lnTo>
                    <a:pt x="231458" y="289560"/>
                  </a:lnTo>
                  <a:lnTo>
                    <a:pt x="233363" y="296228"/>
                  </a:lnTo>
                  <a:lnTo>
                    <a:pt x="232410" y="300990"/>
                  </a:lnTo>
                  <a:lnTo>
                    <a:pt x="230505" y="303848"/>
                  </a:lnTo>
                  <a:lnTo>
                    <a:pt x="228600" y="306705"/>
                  </a:lnTo>
                  <a:lnTo>
                    <a:pt x="228600" y="308610"/>
                  </a:lnTo>
                  <a:lnTo>
                    <a:pt x="230505" y="308610"/>
                  </a:lnTo>
                  <a:lnTo>
                    <a:pt x="230505" y="306705"/>
                  </a:lnTo>
                  <a:lnTo>
                    <a:pt x="235268" y="304800"/>
                  </a:lnTo>
                  <a:lnTo>
                    <a:pt x="236220" y="303848"/>
                  </a:lnTo>
                  <a:lnTo>
                    <a:pt x="240030" y="303848"/>
                  </a:lnTo>
                  <a:lnTo>
                    <a:pt x="240030" y="304800"/>
                  </a:lnTo>
                  <a:lnTo>
                    <a:pt x="240030" y="306705"/>
                  </a:lnTo>
                  <a:lnTo>
                    <a:pt x="239078" y="308610"/>
                  </a:lnTo>
                  <a:lnTo>
                    <a:pt x="237173" y="309563"/>
                  </a:lnTo>
                  <a:lnTo>
                    <a:pt x="235268" y="309563"/>
                  </a:lnTo>
                  <a:lnTo>
                    <a:pt x="235268" y="310515"/>
                  </a:lnTo>
                  <a:lnTo>
                    <a:pt x="235268" y="312420"/>
                  </a:lnTo>
                  <a:lnTo>
                    <a:pt x="239078" y="312420"/>
                  </a:lnTo>
                  <a:lnTo>
                    <a:pt x="241935" y="309563"/>
                  </a:lnTo>
                  <a:lnTo>
                    <a:pt x="242888" y="305753"/>
                  </a:lnTo>
                  <a:lnTo>
                    <a:pt x="245745" y="305753"/>
                  </a:lnTo>
                  <a:lnTo>
                    <a:pt x="248603" y="308610"/>
                  </a:lnTo>
                  <a:lnTo>
                    <a:pt x="252413" y="310515"/>
                  </a:lnTo>
                  <a:lnTo>
                    <a:pt x="261938" y="315278"/>
                  </a:lnTo>
                  <a:lnTo>
                    <a:pt x="269558" y="315278"/>
                  </a:lnTo>
                  <a:lnTo>
                    <a:pt x="280035" y="321945"/>
                  </a:lnTo>
                  <a:lnTo>
                    <a:pt x="283845" y="321945"/>
                  </a:lnTo>
                  <a:lnTo>
                    <a:pt x="286703" y="336233"/>
                  </a:lnTo>
                  <a:lnTo>
                    <a:pt x="273368" y="353378"/>
                  </a:lnTo>
                  <a:lnTo>
                    <a:pt x="275273" y="361950"/>
                  </a:lnTo>
                  <a:lnTo>
                    <a:pt x="275273" y="370523"/>
                  </a:lnTo>
                  <a:lnTo>
                    <a:pt x="271463" y="383858"/>
                  </a:lnTo>
                  <a:lnTo>
                    <a:pt x="268605" y="393383"/>
                  </a:lnTo>
                  <a:lnTo>
                    <a:pt x="258128" y="397193"/>
                  </a:lnTo>
                  <a:lnTo>
                    <a:pt x="248603" y="402908"/>
                  </a:lnTo>
                  <a:lnTo>
                    <a:pt x="247650" y="417195"/>
                  </a:lnTo>
                  <a:lnTo>
                    <a:pt x="243840" y="427672"/>
                  </a:lnTo>
                  <a:lnTo>
                    <a:pt x="240030" y="437197"/>
                  </a:lnTo>
                  <a:lnTo>
                    <a:pt x="236220" y="442913"/>
                  </a:lnTo>
                  <a:lnTo>
                    <a:pt x="233363" y="442913"/>
                  </a:lnTo>
                  <a:lnTo>
                    <a:pt x="225743" y="439103"/>
                  </a:lnTo>
                  <a:lnTo>
                    <a:pt x="221933" y="438150"/>
                  </a:lnTo>
                  <a:lnTo>
                    <a:pt x="230505" y="448628"/>
                  </a:lnTo>
                  <a:lnTo>
                    <a:pt x="227648" y="454343"/>
                  </a:lnTo>
                  <a:lnTo>
                    <a:pt x="224790" y="458153"/>
                  </a:lnTo>
                  <a:lnTo>
                    <a:pt x="219075" y="458153"/>
                  </a:lnTo>
                  <a:lnTo>
                    <a:pt x="216218" y="460058"/>
                  </a:lnTo>
                  <a:lnTo>
                    <a:pt x="216218" y="461963"/>
                  </a:lnTo>
                  <a:lnTo>
                    <a:pt x="217170" y="462915"/>
                  </a:lnTo>
                  <a:lnTo>
                    <a:pt x="216218" y="466725"/>
                  </a:lnTo>
                  <a:lnTo>
                    <a:pt x="211455" y="468630"/>
                  </a:lnTo>
                  <a:lnTo>
                    <a:pt x="211455" y="468630"/>
                  </a:lnTo>
                  <a:lnTo>
                    <a:pt x="211455" y="471488"/>
                  </a:lnTo>
                  <a:lnTo>
                    <a:pt x="214313" y="475297"/>
                  </a:lnTo>
                  <a:lnTo>
                    <a:pt x="213360" y="481965"/>
                  </a:lnTo>
                  <a:lnTo>
                    <a:pt x="209550" y="488633"/>
                  </a:lnTo>
                  <a:lnTo>
                    <a:pt x="217170" y="493395"/>
                  </a:lnTo>
                  <a:lnTo>
                    <a:pt x="217170" y="497205"/>
                  </a:lnTo>
                  <a:lnTo>
                    <a:pt x="215265" y="500063"/>
                  </a:lnTo>
                  <a:lnTo>
                    <a:pt x="215265" y="507683"/>
                  </a:lnTo>
                  <a:lnTo>
                    <a:pt x="217170" y="513397"/>
                  </a:lnTo>
                  <a:lnTo>
                    <a:pt x="214313" y="517208"/>
                  </a:lnTo>
                  <a:lnTo>
                    <a:pt x="214313" y="520065"/>
                  </a:lnTo>
                  <a:lnTo>
                    <a:pt x="212408" y="520065"/>
                  </a:lnTo>
                  <a:lnTo>
                    <a:pt x="207645" y="517208"/>
                  </a:lnTo>
                  <a:lnTo>
                    <a:pt x="206693" y="513397"/>
                  </a:lnTo>
                  <a:lnTo>
                    <a:pt x="203835" y="512445"/>
                  </a:lnTo>
                  <a:lnTo>
                    <a:pt x="193358" y="494347"/>
                  </a:lnTo>
                  <a:lnTo>
                    <a:pt x="191453" y="493395"/>
                  </a:lnTo>
                  <a:lnTo>
                    <a:pt x="189548" y="492443"/>
                  </a:lnTo>
                  <a:lnTo>
                    <a:pt x="189548" y="490538"/>
                  </a:lnTo>
                  <a:lnTo>
                    <a:pt x="192405" y="488633"/>
                  </a:lnTo>
                  <a:lnTo>
                    <a:pt x="192405" y="484822"/>
                  </a:lnTo>
                  <a:lnTo>
                    <a:pt x="188595" y="472440"/>
                  </a:lnTo>
                  <a:lnTo>
                    <a:pt x="181928" y="468630"/>
                  </a:lnTo>
                  <a:lnTo>
                    <a:pt x="180975" y="464820"/>
                  </a:lnTo>
                  <a:lnTo>
                    <a:pt x="180975" y="460058"/>
                  </a:lnTo>
                  <a:lnTo>
                    <a:pt x="179070" y="456247"/>
                  </a:lnTo>
                  <a:lnTo>
                    <a:pt x="180023" y="447675"/>
                  </a:lnTo>
                  <a:lnTo>
                    <a:pt x="180975" y="446722"/>
                  </a:lnTo>
                  <a:lnTo>
                    <a:pt x="180975" y="435293"/>
                  </a:lnTo>
                  <a:lnTo>
                    <a:pt x="178118" y="431483"/>
                  </a:lnTo>
                  <a:lnTo>
                    <a:pt x="178118" y="419100"/>
                  </a:lnTo>
                  <a:lnTo>
                    <a:pt x="177165" y="413385"/>
                  </a:lnTo>
                  <a:lnTo>
                    <a:pt x="176213" y="407670"/>
                  </a:lnTo>
                  <a:lnTo>
                    <a:pt x="175260" y="400050"/>
                  </a:lnTo>
                  <a:lnTo>
                    <a:pt x="175260" y="393383"/>
                  </a:lnTo>
                  <a:lnTo>
                    <a:pt x="174308" y="387668"/>
                  </a:lnTo>
                  <a:lnTo>
                    <a:pt x="172403" y="381000"/>
                  </a:lnTo>
                  <a:lnTo>
                    <a:pt x="171450" y="378143"/>
                  </a:lnTo>
                  <a:lnTo>
                    <a:pt x="163830" y="372428"/>
                  </a:lnTo>
                  <a:lnTo>
                    <a:pt x="160020" y="368618"/>
                  </a:lnTo>
                  <a:lnTo>
                    <a:pt x="151448" y="360045"/>
                  </a:lnTo>
                  <a:lnTo>
                    <a:pt x="147638" y="353378"/>
                  </a:lnTo>
                  <a:lnTo>
                    <a:pt x="143828" y="348615"/>
                  </a:lnTo>
                  <a:lnTo>
                    <a:pt x="140018" y="340995"/>
                  </a:lnTo>
                  <a:lnTo>
                    <a:pt x="139065" y="338138"/>
                  </a:lnTo>
                  <a:lnTo>
                    <a:pt x="137160" y="332423"/>
                  </a:lnTo>
                  <a:lnTo>
                    <a:pt x="130492" y="328613"/>
                  </a:lnTo>
                  <a:lnTo>
                    <a:pt x="130492" y="320040"/>
                  </a:lnTo>
                  <a:lnTo>
                    <a:pt x="134303" y="316230"/>
                  </a:lnTo>
                  <a:lnTo>
                    <a:pt x="134303" y="314325"/>
                  </a:lnTo>
                  <a:lnTo>
                    <a:pt x="131445" y="314325"/>
                  </a:lnTo>
                  <a:lnTo>
                    <a:pt x="131445" y="308610"/>
                  </a:lnTo>
                  <a:lnTo>
                    <a:pt x="133350" y="299085"/>
                  </a:lnTo>
                  <a:lnTo>
                    <a:pt x="141923" y="290513"/>
                  </a:lnTo>
                  <a:lnTo>
                    <a:pt x="141923" y="278130"/>
                  </a:lnTo>
                  <a:lnTo>
                    <a:pt x="141923" y="273368"/>
                  </a:lnTo>
                  <a:lnTo>
                    <a:pt x="140970" y="269558"/>
                  </a:lnTo>
                  <a:lnTo>
                    <a:pt x="139065" y="268605"/>
                  </a:lnTo>
                  <a:lnTo>
                    <a:pt x="138113" y="268605"/>
                  </a:lnTo>
                  <a:lnTo>
                    <a:pt x="136208" y="269558"/>
                  </a:lnTo>
                  <a:lnTo>
                    <a:pt x="135255" y="273368"/>
                  </a:lnTo>
                  <a:lnTo>
                    <a:pt x="131445" y="273368"/>
                  </a:lnTo>
                  <a:lnTo>
                    <a:pt x="125730" y="267653"/>
                  </a:lnTo>
                  <a:lnTo>
                    <a:pt x="119063" y="263843"/>
                  </a:lnTo>
                  <a:lnTo>
                    <a:pt x="117158" y="260985"/>
                  </a:lnTo>
                  <a:lnTo>
                    <a:pt x="116205" y="256223"/>
                  </a:lnTo>
                  <a:lnTo>
                    <a:pt x="114300" y="252413"/>
                  </a:lnTo>
                  <a:lnTo>
                    <a:pt x="112395" y="248603"/>
                  </a:lnTo>
                  <a:lnTo>
                    <a:pt x="107633" y="248603"/>
                  </a:lnTo>
                  <a:lnTo>
                    <a:pt x="101917" y="243840"/>
                  </a:lnTo>
                  <a:lnTo>
                    <a:pt x="99060" y="241935"/>
                  </a:lnTo>
                  <a:lnTo>
                    <a:pt x="96203" y="240030"/>
                  </a:lnTo>
                  <a:lnTo>
                    <a:pt x="93345" y="236220"/>
                  </a:lnTo>
                  <a:lnTo>
                    <a:pt x="91440" y="234315"/>
                  </a:lnTo>
                  <a:lnTo>
                    <a:pt x="89535" y="236220"/>
                  </a:lnTo>
                  <a:lnTo>
                    <a:pt x="85725" y="238125"/>
                  </a:lnTo>
                  <a:lnTo>
                    <a:pt x="73342" y="230505"/>
                  </a:lnTo>
                  <a:lnTo>
                    <a:pt x="66675" y="226695"/>
                  </a:lnTo>
                  <a:lnTo>
                    <a:pt x="60960" y="221933"/>
                  </a:lnTo>
                  <a:lnTo>
                    <a:pt x="58103" y="218123"/>
                  </a:lnTo>
                  <a:lnTo>
                    <a:pt x="59055" y="214313"/>
                  </a:lnTo>
                  <a:lnTo>
                    <a:pt x="59055" y="204788"/>
                  </a:lnTo>
                  <a:lnTo>
                    <a:pt x="53340" y="193358"/>
                  </a:lnTo>
                  <a:lnTo>
                    <a:pt x="49530" y="183833"/>
                  </a:lnTo>
                  <a:lnTo>
                    <a:pt x="47625" y="176213"/>
                  </a:lnTo>
                  <a:lnTo>
                    <a:pt x="47625" y="165735"/>
                  </a:lnTo>
                  <a:lnTo>
                    <a:pt x="47625" y="160020"/>
                  </a:lnTo>
                  <a:lnTo>
                    <a:pt x="45720" y="160020"/>
                  </a:lnTo>
                  <a:lnTo>
                    <a:pt x="44768" y="163830"/>
                  </a:lnTo>
                  <a:lnTo>
                    <a:pt x="42862" y="171450"/>
                  </a:lnTo>
                  <a:lnTo>
                    <a:pt x="41910" y="176213"/>
                  </a:lnTo>
                  <a:lnTo>
                    <a:pt x="43815" y="180975"/>
                  </a:lnTo>
                  <a:lnTo>
                    <a:pt x="46673" y="191453"/>
                  </a:lnTo>
                  <a:lnTo>
                    <a:pt x="49530" y="201930"/>
                  </a:lnTo>
                  <a:lnTo>
                    <a:pt x="49530" y="203835"/>
                  </a:lnTo>
                  <a:lnTo>
                    <a:pt x="46673" y="203835"/>
                  </a:lnTo>
                  <a:lnTo>
                    <a:pt x="44768" y="198120"/>
                  </a:lnTo>
                  <a:lnTo>
                    <a:pt x="41910" y="193358"/>
                  </a:lnTo>
                  <a:lnTo>
                    <a:pt x="39053" y="186690"/>
                  </a:lnTo>
                  <a:lnTo>
                    <a:pt x="38100" y="182880"/>
                  </a:lnTo>
                  <a:lnTo>
                    <a:pt x="40005" y="177165"/>
                  </a:lnTo>
                  <a:lnTo>
                    <a:pt x="39053" y="173355"/>
                  </a:lnTo>
                  <a:lnTo>
                    <a:pt x="38100" y="167640"/>
                  </a:lnTo>
                  <a:lnTo>
                    <a:pt x="37148" y="163830"/>
                  </a:lnTo>
                  <a:lnTo>
                    <a:pt x="37148" y="158115"/>
                  </a:lnTo>
                  <a:lnTo>
                    <a:pt x="31433" y="153353"/>
                  </a:lnTo>
                  <a:lnTo>
                    <a:pt x="31433" y="145733"/>
                  </a:lnTo>
                  <a:lnTo>
                    <a:pt x="33337" y="137160"/>
                  </a:lnTo>
                  <a:lnTo>
                    <a:pt x="36195" y="127635"/>
                  </a:lnTo>
                  <a:lnTo>
                    <a:pt x="45720" y="111443"/>
                  </a:lnTo>
                  <a:lnTo>
                    <a:pt x="51435" y="100965"/>
                  </a:lnTo>
                  <a:lnTo>
                    <a:pt x="56198" y="95250"/>
                  </a:lnTo>
                  <a:lnTo>
                    <a:pt x="60008" y="95250"/>
                  </a:lnTo>
                  <a:lnTo>
                    <a:pt x="60008" y="97155"/>
                  </a:lnTo>
                  <a:lnTo>
                    <a:pt x="61912" y="98107"/>
                  </a:lnTo>
                  <a:lnTo>
                    <a:pt x="61912" y="94298"/>
                  </a:lnTo>
                  <a:lnTo>
                    <a:pt x="62865" y="86678"/>
                  </a:lnTo>
                  <a:lnTo>
                    <a:pt x="60960" y="81915"/>
                  </a:lnTo>
                  <a:lnTo>
                    <a:pt x="61912" y="76200"/>
                  </a:lnTo>
                  <a:lnTo>
                    <a:pt x="64770" y="65723"/>
                  </a:lnTo>
                  <a:lnTo>
                    <a:pt x="68580" y="57150"/>
                  </a:lnTo>
                  <a:lnTo>
                    <a:pt x="69533" y="52388"/>
                  </a:lnTo>
                  <a:lnTo>
                    <a:pt x="69533" y="50483"/>
                  </a:lnTo>
                  <a:lnTo>
                    <a:pt x="68580" y="50483"/>
                  </a:lnTo>
                  <a:lnTo>
                    <a:pt x="65723" y="51435"/>
                  </a:lnTo>
                  <a:lnTo>
                    <a:pt x="63818" y="51435"/>
                  </a:lnTo>
                  <a:lnTo>
                    <a:pt x="62865" y="49530"/>
                  </a:lnTo>
                  <a:lnTo>
                    <a:pt x="61912" y="47625"/>
                  </a:lnTo>
                  <a:lnTo>
                    <a:pt x="60960" y="44768"/>
                  </a:lnTo>
                  <a:lnTo>
                    <a:pt x="57150" y="43815"/>
                  </a:lnTo>
                  <a:lnTo>
                    <a:pt x="52387" y="40958"/>
                  </a:lnTo>
                  <a:lnTo>
                    <a:pt x="50483" y="39053"/>
                  </a:lnTo>
                  <a:lnTo>
                    <a:pt x="48578" y="39053"/>
                  </a:lnTo>
                  <a:lnTo>
                    <a:pt x="46673" y="40958"/>
                  </a:lnTo>
                  <a:lnTo>
                    <a:pt x="42862" y="42863"/>
                  </a:lnTo>
                  <a:lnTo>
                    <a:pt x="40958" y="43815"/>
                  </a:lnTo>
                  <a:lnTo>
                    <a:pt x="38100" y="43815"/>
                  </a:lnTo>
                  <a:lnTo>
                    <a:pt x="35243" y="43815"/>
                  </a:lnTo>
                  <a:lnTo>
                    <a:pt x="34290" y="42863"/>
                  </a:lnTo>
                  <a:lnTo>
                    <a:pt x="36195" y="40958"/>
                  </a:lnTo>
                  <a:lnTo>
                    <a:pt x="39053" y="40005"/>
                  </a:lnTo>
                  <a:lnTo>
                    <a:pt x="40958" y="38100"/>
                  </a:lnTo>
                  <a:lnTo>
                    <a:pt x="43815" y="36195"/>
                  </a:lnTo>
                  <a:lnTo>
                    <a:pt x="43815" y="34290"/>
                  </a:lnTo>
                  <a:lnTo>
                    <a:pt x="41910" y="34290"/>
                  </a:lnTo>
                  <a:lnTo>
                    <a:pt x="36195" y="37148"/>
                  </a:lnTo>
                  <a:lnTo>
                    <a:pt x="14288" y="48578"/>
                  </a:lnTo>
                  <a:lnTo>
                    <a:pt x="5715" y="53340"/>
                  </a:lnTo>
                  <a:lnTo>
                    <a:pt x="1905" y="542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11239FB-C01C-42C7-AD3D-7E5288189668}"/>
                </a:ext>
              </a:extLst>
            </p:cNvPr>
            <p:cNvSpPr/>
            <p:nvPr/>
          </p:nvSpPr>
          <p:spPr>
            <a:xfrm>
              <a:off x="5619750" y="3236594"/>
              <a:ext cx="7620" cy="3810"/>
            </a:xfrm>
            <a:custGeom>
              <a:avLst/>
              <a:gdLst>
                <a:gd name="connsiteX0" fmla="*/ 0 w 7620"/>
                <a:gd name="connsiteY0" fmla="*/ 3810 h 3810"/>
                <a:gd name="connsiteX1" fmla="*/ 0 w 7620"/>
                <a:gd name="connsiteY1" fmla="*/ 953 h 3810"/>
                <a:gd name="connsiteX2" fmla="*/ 3810 w 7620"/>
                <a:gd name="connsiteY2" fmla="*/ 0 h 3810"/>
                <a:gd name="connsiteX3" fmla="*/ 6668 w 7620"/>
                <a:gd name="connsiteY3" fmla="*/ 953 h 3810"/>
                <a:gd name="connsiteX4" fmla="*/ 7620 w 7620"/>
                <a:gd name="connsiteY4" fmla="*/ 2858 h 3810"/>
                <a:gd name="connsiteX5" fmla="*/ 4763 w 7620"/>
                <a:gd name="connsiteY5" fmla="*/ 381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" h="3810">
                  <a:moveTo>
                    <a:pt x="0" y="3810"/>
                  </a:moveTo>
                  <a:lnTo>
                    <a:pt x="0" y="953"/>
                  </a:lnTo>
                  <a:lnTo>
                    <a:pt x="3810" y="0"/>
                  </a:lnTo>
                  <a:lnTo>
                    <a:pt x="6668" y="953"/>
                  </a:lnTo>
                  <a:lnTo>
                    <a:pt x="7620" y="2858"/>
                  </a:lnTo>
                  <a:lnTo>
                    <a:pt x="4763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0FB7A6B-FB7C-451C-BDAF-4EE9B354B916}"/>
                </a:ext>
              </a:extLst>
            </p:cNvPr>
            <p:cNvSpPr/>
            <p:nvPr/>
          </p:nvSpPr>
          <p:spPr>
            <a:xfrm>
              <a:off x="5685472" y="3267075"/>
              <a:ext cx="6667" cy="10477"/>
            </a:xfrm>
            <a:custGeom>
              <a:avLst/>
              <a:gdLst>
                <a:gd name="connsiteX0" fmla="*/ 0 w 6667"/>
                <a:gd name="connsiteY0" fmla="*/ 3810 h 10477"/>
                <a:gd name="connsiteX1" fmla="*/ 0 w 6667"/>
                <a:gd name="connsiteY1" fmla="*/ 0 h 10477"/>
                <a:gd name="connsiteX2" fmla="*/ 3810 w 6667"/>
                <a:gd name="connsiteY2" fmla="*/ 0 h 10477"/>
                <a:gd name="connsiteX3" fmla="*/ 4763 w 6667"/>
                <a:gd name="connsiteY3" fmla="*/ 2857 h 10477"/>
                <a:gd name="connsiteX4" fmla="*/ 6667 w 6667"/>
                <a:gd name="connsiteY4" fmla="*/ 5715 h 10477"/>
                <a:gd name="connsiteX5" fmla="*/ 6667 w 6667"/>
                <a:gd name="connsiteY5" fmla="*/ 10477 h 10477"/>
                <a:gd name="connsiteX6" fmla="*/ 5715 w 6667"/>
                <a:gd name="connsiteY6" fmla="*/ 10477 h 10477"/>
                <a:gd name="connsiteX7" fmla="*/ 2857 w 6667"/>
                <a:gd name="connsiteY7" fmla="*/ 7620 h 10477"/>
                <a:gd name="connsiteX8" fmla="*/ 2857 w 6667"/>
                <a:gd name="connsiteY8" fmla="*/ 381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" h="10477">
                  <a:moveTo>
                    <a:pt x="0" y="3810"/>
                  </a:moveTo>
                  <a:lnTo>
                    <a:pt x="0" y="0"/>
                  </a:lnTo>
                  <a:lnTo>
                    <a:pt x="3810" y="0"/>
                  </a:lnTo>
                  <a:lnTo>
                    <a:pt x="4763" y="2857"/>
                  </a:lnTo>
                  <a:lnTo>
                    <a:pt x="6667" y="5715"/>
                  </a:lnTo>
                  <a:lnTo>
                    <a:pt x="6667" y="10477"/>
                  </a:lnTo>
                  <a:lnTo>
                    <a:pt x="5715" y="10477"/>
                  </a:lnTo>
                  <a:lnTo>
                    <a:pt x="2857" y="7620"/>
                  </a:lnTo>
                  <a:lnTo>
                    <a:pt x="2857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8E47D34-D577-4CB3-973D-740CB7B6A068}"/>
                </a:ext>
              </a:extLst>
            </p:cNvPr>
            <p:cNvSpPr/>
            <p:nvPr/>
          </p:nvSpPr>
          <p:spPr>
            <a:xfrm>
              <a:off x="5777865" y="3285172"/>
              <a:ext cx="26669" cy="28575"/>
            </a:xfrm>
            <a:custGeom>
              <a:avLst/>
              <a:gdLst>
                <a:gd name="connsiteX0" fmla="*/ 17145 w 26669"/>
                <a:gd name="connsiteY0" fmla="*/ 22860 h 28575"/>
                <a:gd name="connsiteX1" fmla="*/ 19050 w 26669"/>
                <a:gd name="connsiteY1" fmla="*/ 22860 h 28575"/>
                <a:gd name="connsiteX2" fmla="*/ 21907 w 26669"/>
                <a:gd name="connsiteY2" fmla="*/ 18097 h 28575"/>
                <a:gd name="connsiteX3" fmla="*/ 23813 w 26669"/>
                <a:gd name="connsiteY3" fmla="*/ 17145 h 28575"/>
                <a:gd name="connsiteX4" fmla="*/ 25717 w 26669"/>
                <a:gd name="connsiteY4" fmla="*/ 19050 h 28575"/>
                <a:gd name="connsiteX5" fmla="*/ 26670 w 26669"/>
                <a:gd name="connsiteY5" fmla="*/ 19050 h 28575"/>
                <a:gd name="connsiteX6" fmla="*/ 26670 w 26669"/>
                <a:gd name="connsiteY6" fmla="*/ 16192 h 28575"/>
                <a:gd name="connsiteX7" fmla="*/ 23813 w 26669"/>
                <a:gd name="connsiteY7" fmla="*/ 11430 h 28575"/>
                <a:gd name="connsiteX8" fmla="*/ 19050 w 26669"/>
                <a:gd name="connsiteY8" fmla="*/ 10477 h 28575"/>
                <a:gd name="connsiteX9" fmla="*/ 18097 w 26669"/>
                <a:gd name="connsiteY9" fmla="*/ 8572 h 28575"/>
                <a:gd name="connsiteX10" fmla="*/ 17145 w 26669"/>
                <a:gd name="connsiteY10" fmla="*/ 3810 h 28575"/>
                <a:gd name="connsiteX11" fmla="*/ 13335 w 26669"/>
                <a:gd name="connsiteY11" fmla="*/ 0 h 28575"/>
                <a:gd name="connsiteX12" fmla="*/ 7620 w 26669"/>
                <a:gd name="connsiteY12" fmla="*/ 952 h 28575"/>
                <a:gd name="connsiteX13" fmla="*/ 0 w 26669"/>
                <a:gd name="connsiteY13" fmla="*/ 4763 h 28575"/>
                <a:gd name="connsiteX14" fmla="*/ 0 w 26669"/>
                <a:gd name="connsiteY14" fmla="*/ 6667 h 28575"/>
                <a:gd name="connsiteX15" fmla="*/ 2857 w 26669"/>
                <a:gd name="connsiteY15" fmla="*/ 7620 h 28575"/>
                <a:gd name="connsiteX16" fmla="*/ 7620 w 26669"/>
                <a:gd name="connsiteY16" fmla="*/ 6667 h 28575"/>
                <a:gd name="connsiteX17" fmla="*/ 11430 w 26669"/>
                <a:gd name="connsiteY17" fmla="*/ 8572 h 28575"/>
                <a:gd name="connsiteX18" fmla="*/ 15240 w 26669"/>
                <a:gd name="connsiteY18" fmla="*/ 9525 h 28575"/>
                <a:gd name="connsiteX19" fmla="*/ 16192 w 26669"/>
                <a:gd name="connsiteY19" fmla="*/ 12382 h 28575"/>
                <a:gd name="connsiteX20" fmla="*/ 7620 w 26669"/>
                <a:gd name="connsiteY20" fmla="*/ 13335 h 28575"/>
                <a:gd name="connsiteX21" fmla="*/ 4763 w 26669"/>
                <a:gd name="connsiteY21" fmla="*/ 15240 h 28575"/>
                <a:gd name="connsiteX22" fmla="*/ 2857 w 26669"/>
                <a:gd name="connsiteY22" fmla="*/ 20002 h 28575"/>
                <a:gd name="connsiteX23" fmla="*/ 0 w 26669"/>
                <a:gd name="connsiteY23" fmla="*/ 25717 h 28575"/>
                <a:gd name="connsiteX24" fmla="*/ 953 w 26669"/>
                <a:gd name="connsiteY24" fmla="*/ 28575 h 28575"/>
                <a:gd name="connsiteX25" fmla="*/ 5715 w 26669"/>
                <a:gd name="connsiteY25" fmla="*/ 24765 h 28575"/>
                <a:gd name="connsiteX26" fmla="*/ 6667 w 26669"/>
                <a:gd name="connsiteY26" fmla="*/ 20002 h 28575"/>
                <a:gd name="connsiteX27" fmla="*/ 10478 w 26669"/>
                <a:gd name="connsiteY27" fmla="*/ 16192 h 28575"/>
                <a:gd name="connsiteX28" fmla="*/ 13335 w 26669"/>
                <a:gd name="connsiteY28" fmla="*/ 15240 h 28575"/>
                <a:gd name="connsiteX29" fmla="*/ 17145 w 26669"/>
                <a:gd name="connsiteY29" fmla="*/ 1714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6669" h="28575">
                  <a:moveTo>
                    <a:pt x="17145" y="22860"/>
                  </a:moveTo>
                  <a:lnTo>
                    <a:pt x="19050" y="22860"/>
                  </a:lnTo>
                  <a:lnTo>
                    <a:pt x="21907" y="18097"/>
                  </a:lnTo>
                  <a:lnTo>
                    <a:pt x="23813" y="17145"/>
                  </a:lnTo>
                  <a:lnTo>
                    <a:pt x="25717" y="19050"/>
                  </a:lnTo>
                  <a:lnTo>
                    <a:pt x="26670" y="19050"/>
                  </a:lnTo>
                  <a:lnTo>
                    <a:pt x="26670" y="16192"/>
                  </a:lnTo>
                  <a:lnTo>
                    <a:pt x="23813" y="11430"/>
                  </a:lnTo>
                  <a:lnTo>
                    <a:pt x="19050" y="10477"/>
                  </a:lnTo>
                  <a:lnTo>
                    <a:pt x="18097" y="8572"/>
                  </a:lnTo>
                  <a:lnTo>
                    <a:pt x="17145" y="3810"/>
                  </a:lnTo>
                  <a:lnTo>
                    <a:pt x="13335" y="0"/>
                  </a:lnTo>
                  <a:lnTo>
                    <a:pt x="7620" y="952"/>
                  </a:lnTo>
                  <a:lnTo>
                    <a:pt x="0" y="4763"/>
                  </a:lnTo>
                  <a:lnTo>
                    <a:pt x="0" y="6667"/>
                  </a:lnTo>
                  <a:lnTo>
                    <a:pt x="2857" y="7620"/>
                  </a:lnTo>
                  <a:lnTo>
                    <a:pt x="7620" y="6667"/>
                  </a:lnTo>
                  <a:lnTo>
                    <a:pt x="11430" y="8572"/>
                  </a:lnTo>
                  <a:lnTo>
                    <a:pt x="15240" y="9525"/>
                  </a:lnTo>
                  <a:lnTo>
                    <a:pt x="16192" y="12382"/>
                  </a:lnTo>
                  <a:lnTo>
                    <a:pt x="7620" y="13335"/>
                  </a:lnTo>
                  <a:lnTo>
                    <a:pt x="4763" y="15240"/>
                  </a:lnTo>
                  <a:lnTo>
                    <a:pt x="2857" y="20002"/>
                  </a:lnTo>
                  <a:lnTo>
                    <a:pt x="0" y="25717"/>
                  </a:lnTo>
                  <a:lnTo>
                    <a:pt x="953" y="28575"/>
                  </a:lnTo>
                  <a:lnTo>
                    <a:pt x="5715" y="24765"/>
                  </a:lnTo>
                  <a:lnTo>
                    <a:pt x="6667" y="20002"/>
                  </a:lnTo>
                  <a:lnTo>
                    <a:pt x="10478" y="16192"/>
                  </a:lnTo>
                  <a:lnTo>
                    <a:pt x="13335" y="15240"/>
                  </a:lnTo>
                  <a:lnTo>
                    <a:pt x="17145" y="171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8A42F7D-F5CB-45EF-BE4A-7A03C7C3570B}"/>
                </a:ext>
              </a:extLst>
            </p:cNvPr>
            <p:cNvSpPr/>
            <p:nvPr/>
          </p:nvSpPr>
          <p:spPr>
            <a:xfrm>
              <a:off x="5789294" y="3307080"/>
              <a:ext cx="25717" cy="8572"/>
            </a:xfrm>
            <a:custGeom>
              <a:avLst/>
              <a:gdLst>
                <a:gd name="connsiteX0" fmla="*/ 0 w 25717"/>
                <a:gd name="connsiteY0" fmla="*/ 8572 h 8572"/>
                <a:gd name="connsiteX1" fmla="*/ 0 w 25717"/>
                <a:gd name="connsiteY1" fmla="*/ 6668 h 8572"/>
                <a:gd name="connsiteX2" fmla="*/ 5715 w 25717"/>
                <a:gd name="connsiteY2" fmla="*/ 5715 h 8572"/>
                <a:gd name="connsiteX3" fmla="*/ 9525 w 25717"/>
                <a:gd name="connsiteY3" fmla="*/ 4763 h 8572"/>
                <a:gd name="connsiteX4" fmla="*/ 14288 w 25717"/>
                <a:gd name="connsiteY4" fmla="*/ 2857 h 8572"/>
                <a:gd name="connsiteX5" fmla="*/ 20003 w 25717"/>
                <a:gd name="connsiteY5" fmla="*/ 1905 h 8572"/>
                <a:gd name="connsiteX6" fmla="*/ 22860 w 25717"/>
                <a:gd name="connsiteY6" fmla="*/ 0 h 8572"/>
                <a:gd name="connsiteX7" fmla="*/ 25718 w 25717"/>
                <a:gd name="connsiteY7" fmla="*/ 0 h 8572"/>
                <a:gd name="connsiteX8" fmla="*/ 25718 w 25717"/>
                <a:gd name="connsiteY8" fmla="*/ 1905 h 8572"/>
                <a:gd name="connsiteX9" fmla="*/ 21908 w 25717"/>
                <a:gd name="connsiteY9" fmla="*/ 3810 h 8572"/>
                <a:gd name="connsiteX10" fmla="*/ 14288 w 25717"/>
                <a:gd name="connsiteY10" fmla="*/ 4763 h 8572"/>
                <a:gd name="connsiteX11" fmla="*/ 12383 w 25717"/>
                <a:gd name="connsiteY11" fmla="*/ 6668 h 8572"/>
                <a:gd name="connsiteX12" fmla="*/ 4763 w 25717"/>
                <a:gd name="connsiteY12" fmla="*/ 8572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717" h="8572">
                  <a:moveTo>
                    <a:pt x="0" y="8572"/>
                  </a:moveTo>
                  <a:lnTo>
                    <a:pt x="0" y="6668"/>
                  </a:lnTo>
                  <a:lnTo>
                    <a:pt x="5715" y="5715"/>
                  </a:lnTo>
                  <a:lnTo>
                    <a:pt x="9525" y="4763"/>
                  </a:lnTo>
                  <a:lnTo>
                    <a:pt x="14288" y="2857"/>
                  </a:lnTo>
                  <a:lnTo>
                    <a:pt x="20003" y="1905"/>
                  </a:lnTo>
                  <a:lnTo>
                    <a:pt x="22860" y="0"/>
                  </a:lnTo>
                  <a:lnTo>
                    <a:pt x="25718" y="0"/>
                  </a:lnTo>
                  <a:lnTo>
                    <a:pt x="25718" y="1905"/>
                  </a:lnTo>
                  <a:lnTo>
                    <a:pt x="21908" y="3810"/>
                  </a:lnTo>
                  <a:lnTo>
                    <a:pt x="14288" y="4763"/>
                  </a:lnTo>
                  <a:lnTo>
                    <a:pt x="12383" y="6668"/>
                  </a:lnTo>
                  <a:lnTo>
                    <a:pt x="4763" y="8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086DDEA-F3C4-4554-BAE3-309CD710A97E}"/>
                </a:ext>
              </a:extLst>
            </p:cNvPr>
            <p:cNvSpPr/>
            <p:nvPr/>
          </p:nvSpPr>
          <p:spPr>
            <a:xfrm>
              <a:off x="5870257" y="3280410"/>
              <a:ext cx="16192" cy="20002"/>
            </a:xfrm>
            <a:custGeom>
              <a:avLst/>
              <a:gdLst>
                <a:gd name="connsiteX0" fmla="*/ 0 w 16192"/>
                <a:gd name="connsiteY0" fmla="*/ 9525 h 20002"/>
                <a:gd name="connsiteX1" fmla="*/ 11430 w 16192"/>
                <a:gd name="connsiteY1" fmla="*/ 952 h 20002"/>
                <a:gd name="connsiteX2" fmla="*/ 14288 w 16192"/>
                <a:gd name="connsiteY2" fmla="*/ 0 h 20002"/>
                <a:gd name="connsiteX3" fmla="*/ 15240 w 16192"/>
                <a:gd name="connsiteY3" fmla="*/ 1905 h 20002"/>
                <a:gd name="connsiteX4" fmla="*/ 13335 w 16192"/>
                <a:gd name="connsiteY4" fmla="*/ 6667 h 20002"/>
                <a:gd name="connsiteX5" fmla="*/ 15240 w 16192"/>
                <a:gd name="connsiteY5" fmla="*/ 9525 h 20002"/>
                <a:gd name="connsiteX6" fmla="*/ 16193 w 16192"/>
                <a:gd name="connsiteY6" fmla="*/ 15240 h 20002"/>
                <a:gd name="connsiteX7" fmla="*/ 15240 w 16192"/>
                <a:gd name="connsiteY7" fmla="*/ 20002 h 20002"/>
                <a:gd name="connsiteX8" fmla="*/ 10478 w 16192"/>
                <a:gd name="connsiteY8" fmla="*/ 17145 h 20002"/>
                <a:gd name="connsiteX9" fmla="*/ 6668 w 16192"/>
                <a:gd name="connsiteY9" fmla="*/ 15240 h 20002"/>
                <a:gd name="connsiteX10" fmla="*/ 1905 w 16192"/>
                <a:gd name="connsiteY10" fmla="*/ 15240 h 20002"/>
                <a:gd name="connsiteX11" fmla="*/ 0 w 16192"/>
                <a:gd name="connsiteY11" fmla="*/ 11430 h 20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92" h="20002">
                  <a:moveTo>
                    <a:pt x="0" y="9525"/>
                  </a:moveTo>
                  <a:lnTo>
                    <a:pt x="11430" y="952"/>
                  </a:lnTo>
                  <a:lnTo>
                    <a:pt x="14288" y="0"/>
                  </a:lnTo>
                  <a:lnTo>
                    <a:pt x="15240" y="1905"/>
                  </a:lnTo>
                  <a:lnTo>
                    <a:pt x="13335" y="6667"/>
                  </a:lnTo>
                  <a:lnTo>
                    <a:pt x="15240" y="9525"/>
                  </a:lnTo>
                  <a:lnTo>
                    <a:pt x="16193" y="15240"/>
                  </a:lnTo>
                  <a:lnTo>
                    <a:pt x="15240" y="20002"/>
                  </a:lnTo>
                  <a:lnTo>
                    <a:pt x="10478" y="17145"/>
                  </a:lnTo>
                  <a:lnTo>
                    <a:pt x="6668" y="15240"/>
                  </a:lnTo>
                  <a:lnTo>
                    <a:pt x="1905" y="1524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3095187-AE80-46D1-8AC5-10592D752856}"/>
                </a:ext>
              </a:extLst>
            </p:cNvPr>
            <p:cNvSpPr/>
            <p:nvPr/>
          </p:nvSpPr>
          <p:spPr>
            <a:xfrm>
              <a:off x="5881687" y="3155632"/>
              <a:ext cx="50482" cy="23812"/>
            </a:xfrm>
            <a:custGeom>
              <a:avLst/>
              <a:gdLst>
                <a:gd name="connsiteX0" fmla="*/ 50482 w 50482"/>
                <a:gd name="connsiteY0" fmla="*/ 1905 h 23812"/>
                <a:gd name="connsiteX1" fmla="*/ 50482 w 50482"/>
                <a:gd name="connsiteY1" fmla="*/ 3810 h 23812"/>
                <a:gd name="connsiteX2" fmla="*/ 41910 w 50482"/>
                <a:gd name="connsiteY2" fmla="*/ 9525 h 23812"/>
                <a:gd name="connsiteX3" fmla="*/ 33338 w 50482"/>
                <a:gd name="connsiteY3" fmla="*/ 9525 h 23812"/>
                <a:gd name="connsiteX4" fmla="*/ 23813 w 50482"/>
                <a:gd name="connsiteY4" fmla="*/ 13335 h 23812"/>
                <a:gd name="connsiteX5" fmla="*/ 14288 w 50482"/>
                <a:gd name="connsiteY5" fmla="*/ 22860 h 23812"/>
                <a:gd name="connsiteX6" fmla="*/ 9525 w 50482"/>
                <a:gd name="connsiteY6" fmla="*/ 23813 h 23812"/>
                <a:gd name="connsiteX7" fmla="*/ 2857 w 50482"/>
                <a:gd name="connsiteY7" fmla="*/ 23813 h 23812"/>
                <a:gd name="connsiteX8" fmla="*/ 0 w 50482"/>
                <a:gd name="connsiteY8" fmla="*/ 20955 h 23812"/>
                <a:gd name="connsiteX9" fmla="*/ 0 w 50482"/>
                <a:gd name="connsiteY9" fmla="*/ 19050 h 23812"/>
                <a:gd name="connsiteX10" fmla="*/ 4763 w 50482"/>
                <a:gd name="connsiteY10" fmla="*/ 14288 h 23812"/>
                <a:gd name="connsiteX11" fmla="*/ 12382 w 50482"/>
                <a:gd name="connsiteY11" fmla="*/ 10478 h 23812"/>
                <a:gd name="connsiteX12" fmla="*/ 20003 w 50482"/>
                <a:gd name="connsiteY12" fmla="*/ 8573 h 23812"/>
                <a:gd name="connsiteX13" fmla="*/ 20003 w 50482"/>
                <a:gd name="connsiteY13" fmla="*/ 6668 h 23812"/>
                <a:gd name="connsiteX14" fmla="*/ 14288 w 50482"/>
                <a:gd name="connsiteY14" fmla="*/ 5715 h 23812"/>
                <a:gd name="connsiteX15" fmla="*/ 5715 w 50482"/>
                <a:gd name="connsiteY15" fmla="*/ 6668 h 23812"/>
                <a:gd name="connsiteX16" fmla="*/ 953 w 50482"/>
                <a:gd name="connsiteY16" fmla="*/ 5715 h 23812"/>
                <a:gd name="connsiteX17" fmla="*/ 953 w 50482"/>
                <a:gd name="connsiteY17" fmla="*/ 3810 h 23812"/>
                <a:gd name="connsiteX18" fmla="*/ 7620 w 50482"/>
                <a:gd name="connsiteY18" fmla="*/ 1905 h 23812"/>
                <a:gd name="connsiteX19" fmla="*/ 14288 w 50482"/>
                <a:gd name="connsiteY19" fmla="*/ 0 h 23812"/>
                <a:gd name="connsiteX20" fmla="*/ 22860 w 50482"/>
                <a:gd name="connsiteY20" fmla="*/ 0 h 23812"/>
                <a:gd name="connsiteX21" fmla="*/ 27622 w 50482"/>
                <a:gd name="connsiteY21" fmla="*/ 2858 h 23812"/>
                <a:gd name="connsiteX22" fmla="*/ 33338 w 50482"/>
                <a:gd name="connsiteY22" fmla="*/ 2858 h 23812"/>
                <a:gd name="connsiteX23" fmla="*/ 40005 w 50482"/>
                <a:gd name="connsiteY23" fmla="*/ 2858 h 23812"/>
                <a:gd name="connsiteX24" fmla="*/ 47625 w 50482"/>
                <a:gd name="connsiteY24" fmla="*/ 1905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482" h="23812">
                  <a:moveTo>
                    <a:pt x="50482" y="1905"/>
                  </a:moveTo>
                  <a:lnTo>
                    <a:pt x="50482" y="3810"/>
                  </a:lnTo>
                  <a:lnTo>
                    <a:pt x="41910" y="9525"/>
                  </a:lnTo>
                  <a:lnTo>
                    <a:pt x="33338" y="9525"/>
                  </a:lnTo>
                  <a:lnTo>
                    <a:pt x="23813" y="13335"/>
                  </a:lnTo>
                  <a:lnTo>
                    <a:pt x="14288" y="22860"/>
                  </a:lnTo>
                  <a:lnTo>
                    <a:pt x="9525" y="23813"/>
                  </a:lnTo>
                  <a:lnTo>
                    <a:pt x="2857" y="23813"/>
                  </a:lnTo>
                  <a:lnTo>
                    <a:pt x="0" y="20955"/>
                  </a:lnTo>
                  <a:lnTo>
                    <a:pt x="0" y="19050"/>
                  </a:lnTo>
                  <a:lnTo>
                    <a:pt x="4763" y="14288"/>
                  </a:lnTo>
                  <a:lnTo>
                    <a:pt x="12382" y="10478"/>
                  </a:lnTo>
                  <a:lnTo>
                    <a:pt x="20003" y="8573"/>
                  </a:lnTo>
                  <a:lnTo>
                    <a:pt x="20003" y="6668"/>
                  </a:lnTo>
                  <a:lnTo>
                    <a:pt x="14288" y="5715"/>
                  </a:lnTo>
                  <a:lnTo>
                    <a:pt x="5715" y="6668"/>
                  </a:lnTo>
                  <a:lnTo>
                    <a:pt x="953" y="5715"/>
                  </a:lnTo>
                  <a:lnTo>
                    <a:pt x="953" y="3810"/>
                  </a:lnTo>
                  <a:lnTo>
                    <a:pt x="7620" y="1905"/>
                  </a:lnTo>
                  <a:lnTo>
                    <a:pt x="14288" y="0"/>
                  </a:lnTo>
                  <a:lnTo>
                    <a:pt x="22860" y="0"/>
                  </a:lnTo>
                  <a:lnTo>
                    <a:pt x="27622" y="2858"/>
                  </a:lnTo>
                  <a:lnTo>
                    <a:pt x="33338" y="2858"/>
                  </a:lnTo>
                  <a:lnTo>
                    <a:pt x="40005" y="2858"/>
                  </a:lnTo>
                  <a:lnTo>
                    <a:pt x="47625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8354BFB-8071-4302-A029-6EFE4F8446D9}"/>
                </a:ext>
              </a:extLst>
            </p:cNvPr>
            <p:cNvSpPr/>
            <p:nvPr/>
          </p:nvSpPr>
          <p:spPr>
            <a:xfrm>
              <a:off x="5832157" y="3220402"/>
              <a:ext cx="13335" cy="9525"/>
            </a:xfrm>
            <a:custGeom>
              <a:avLst/>
              <a:gdLst>
                <a:gd name="connsiteX0" fmla="*/ 1905 w 13335"/>
                <a:gd name="connsiteY0" fmla="*/ 8572 h 9525"/>
                <a:gd name="connsiteX1" fmla="*/ 0 w 13335"/>
                <a:gd name="connsiteY1" fmla="*/ 6667 h 9525"/>
                <a:gd name="connsiteX2" fmla="*/ 0 w 13335"/>
                <a:gd name="connsiteY2" fmla="*/ 4763 h 9525"/>
                <a:gd name="connsiteX3" fmla="*/ 6668 w 13335"/>
                <a:gd name="connsiteY3" fmla="*/ 0 h 9525"/>
                <a:gd name="connsiteX4" fmla="*/ 10478 w 13335"/>
                <a:gd name="connsiteY4" fmla="*/ 0 h 9525"/>
                <a:gd name="connsiteX5" fmla="*/ 11430 w 13335"/>
                <a:gd name="connsiteY5" fmla="*/ 953 h 9525"/>
                <a:gd name="connsiteX6" fmla="*/ 11430 w 13335"/>
                <a:gd name="connsiteY6" fmla="*/ 5715 h 9525"/>
                <a:gd name="connsiteX7" fmla="*/ 13335 w 13335"/>
                <a:gd name="connsiteY7" fmla="*/ 6667 h 9525"/>
                <a:gd name="connsiteX8" fmla="*/ 13335 w 13335"/>
                <a:gd name="connsiteY8" fmla="*/ 9525 h 9525"/>
                <a:gd name="connsiteX9" fmla="*/ 11430 w 13335"/>
                <a:gd name="connsiteY9" fmla="*/ 9525 h 9525"/>
                <a:gd name="connsiteX10" fmla="*/ 9525 w 13335"/>
                <a:gd name="connsiteY10" fmla="*/ 6667 h 9525"/>
                <a:gd name="connsiteX11" fmla="*/ 6668 w 13335"/>
                <a:gd name="connsiteY11" fmla="*/ 6667 h 9525"/>
                <a:gd name="connsiteX12" fmla="*/ 4763 w 13335"/>
                <a:gd name="connsiteY12" fmla="*/ 7620 h 9525"/>
                <a:gd name="connsiteX13" fmla="*/ 4763 w 13335"/>
                <a:gd name="connsiteY13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" h="9525">
                  <a:moveTo>
                    <a:pt x="1905" y="8572"/>
                  </a:moveTo>
                  <a:lnTo>
                    <a:pt x="0" y="6667"/>
                  </a:lnTo>
                  <a:lnTo>
                    <a:pt x="0" y="4763"/>
                  </a:lnTo>
                  <a:lnTo>
                    <a:pt x="6668" y="0"/>
                  </a:lnTo>
                  <a:lnTo>
                    <a:pt x="10478" y="0"/>
                  </a:lnTo>
                  <a:lnTo>
                    <a:pt x="11430" y="953"/>
                  </a:lnTo>
                  <a:lnTo>
                    <a:pt x="11430" y="5715"/>
                  </a:lnTo>
                  <a:lnTo>
                    <a:pt x="13335" y="6667"/>
                  </a:lnTo>
                  <a:lnTo>
                    <a:pt x="13335" y="9525"/>
                  </a:lnTo>
                  <a:lnTo>
                    <a:pt x="11430" y="9525"/>
                  </a:lnTo>
                  <a:lnTo>
                    <a:pt x="9525" y="6667"/>
                  </a:lnTo>
                  <a:lnTo>
                    <a:pt x="6668" y="6667"/>
                  </a:lnTo>
                  <a:lnTo>
                    <a:pt x="4763" y="7620"/>
                  </a:lnTo>
                  <a:lnTo>
                    <a:pt x="4763" y="9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DE53AE6-7561-428A-BD79-F8324A6D59CE}"/>
                </a:ext>
              </a:extLst>
            </p:cNvPr>
            <p:cNvSpPr/>
            <p:nvPr/>
          </p:nvSpPr>
          <p:spPr>
            <a:xfrm>
              <a:off x="5779769" y="3179444"/>
              <a:ext cx="23812" cy="13335"/>
            </a:xfrm>
            <a:custGeom>
              <a:avLst/>
              <a:gdLst>
                <a:gd name="connsiteX0" fmla="*/ 1905 w 23812"/>
                <a:gd name="connsiteY0" fmla="*/ 13335 h 13335"/>
                <a:gd name="connsiteX1" fmla="*/ 8573 w 23812"/>
                <a:gd name="connsiteY1" fmla="*/ 13335 h 13335"/>
                <a:gd name="connsiteX2" fmla="*/ 13335 w 23812"/>
                <a:gd name="connsiteY2" fmla="*/ 8573 h 13335"/>
                <a:gd name="connsiteX3" fmla="*/ 23813 w 23812"/>
                <a:gd name="connsiteY3" fmla="*/ 5715 h 13335"/>
                <a:gd name="connsiteX4" fmla="*/ 23813 w 23812"/>
                <a:gd name="connsiteY4" fmla="*/ 3810 h 13335"/>
                <a:gd name="connsiteX5" fmla="*/ 17145 w 23812"/>
                <a:gd name="connsiteY5" fmla="*/ 0 h 13335"/>
                <a:gd name="connsiteX6" fmla="*/ 11430 w 23812"/>
                <a:gd name="connsiteY6" fmla="*/ 1905 h 13335"/>
                <a:gd name="connsiteX7" fmla="*/ 5715 w 23812"/>
                <a:gd name="connsiteY7" fmla="*/ 7620 h 13335"/>
                <a:gd name="connsiteX8" fmla="*/ 0 w 23812"/>
                <a:gd name="connsiteY8" fmla="*/ 11430 h 13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12" h="13335">
                  <a:moveTo>
                    <a:pt x="1905" y="13335"/>
                  </a:moveTo>
                  <a:lnTo>
                    <a:pt x="8573" y="13335"/>
                  </a:lnTo>
                  <a:lnTo>
                    <a:pt x="13335" y="8573"/>
                  </a:lnTo>
                  <a:lnTo>
                    <a:pt x="23813" y="5715"/>
                  </a:lnTo>
                  <a:lnTo>
                    <a:pt x="23813" y="3810"/>
                  </a:lnTo>
                  <a:lnTo>
                    <a:pt x="17145" y="0"/>
                  </a:lnTo>
                  <a:lnTo>
                    <a:pt x="11430" y="1905"/>
                  </a:lnTo>
                  <a:lnTo>
                    <a:pt x="5715" y="762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0EC836F-D28C-481E-B3C3-E4A3F715D586}"/>
                </a:ext>
              </a:extLst>
            </p:cNvPr>
            <p:cNvSpPr/>
            <p:nvPr/>
          </p:nvSpPr>
          <p:spPr>
            <a:xfrm>
              <a:off x="5813107" y="3174682"/>
              <a:ext cx="19050" cy="9525"/>
            </a:xfrm>
            <a:custGeom>
              <a:avLst/>
              <a:gdLst>
                <a:gd name="connsiteX0" fmla="*/ 0 w 19050"/>
                <a:gd name="connsiteY0" fmla="*/ 4763 h 9525"/>
                <a:gd name="connsiteX1" fmla="*/ 0 w 19050"/>
                <a:gd name="connsiteY1" fmla="*/ 9525 h 9525"/>
                <a:gd name="connsiteX2" fmla="*/ 11430 w 19050"/>
                <a:gd name="connsiteY2" fmla="*/ 9525 h 9525"/>
                <a:gd name="connsiteX3" fmla="*/ 16193 w 19050"/>
                <a:gd name="connsiteY3" fmla="*/ 8573 h 9525"/>
                <a:gd name="connsiteX4" fmla="*/ 19050 w 19050"/>
                <a:gd name="connsiteY4" fmla="*/ 4763 h 9525"/>
                <a:gd name="connsiteX5" fmla="*/ 18098 w 19050"/>
                <a:gd name="connsiteY5" fmla="*/ 953 h 9525"/>
                <a:gd name="connsiteX6" fmla="*/ 15240 w 19050"/>
                <a:gd name="connsiteY6" fmla="*/ 0 h 9525"/>
                <a:gd name="connsiteX7" fmla="*/ 12383 w 19050"/>
                <a:gd name="connsiteY7" fmla="*/ 4763 h 9525"/>
                <a:gd name="connsiteX8" fmla="*/ 11430 w 19050"/>
                <a:gd name="connsiteY8" fmla="*/ 4763 h 9525"/>
                <a:gd name="connsiteX9" fmla="*/ 10478 w 19050"/>
                <a:gd name="connsiteY9" fmla="*/ 3810 h 9525"/>
                <a:gd name="connsiteX10" fmla="*/ 7620 w 19050"/>
                <a:gd name="connsiteY10" fmla="*/ 953 h 9525"/>
                <a:gd name="connsiteX11" fmla="*/ 4763 w 19050"/>
                <a:gd name="connsiteY11" fmla="*/ 190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050" h="9525">
                  <a:moveTo>
                    <a:pt x="0" y="4763"/>
                  </a:moveTo>
                  <a:lnTo>
                    <a:pt x="0" y="9525"/>
                  </a:lnTo>
                  <a:lnTo>
                    <a:pt x="11430" y="9525"/>
                  </a:lnTo>
                  <a:lnTo>
                    <a:pt x="16193" y="8573"/>
                  </a:lnTo>
                  <a:lnTo>
                    <a:pt x="19050" y="4763"/>
                  </a:lnTo>
                  <a:lnTo>
                    <a:pt x="18098" y="953"/>
                  </a:lnTo>
                  <a:lnTo>
                    <a:pt x="15240" y="0"/>
                  </a:lnTo>
                  <a:lnTo>
                    <a:pt x="12383" y="4763"/>
                  </a:lnTo>
                  <a:lnTo>
                    <a:pt x="11430" y="4763"/>
                  </a:lnTo>
                  <a:lnTo>
                    <a:pt x="10478" y="3810"/>
                  </a:lnTo>
                  <a:lnTo>
                    <a:pt x="7620" y="953"/>
                  </a:lnTo>
                  <a:lnTo>
                    <a:pt x="4763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8688402-0C0D-4262-9C7E-D980D4B7C5D7}"/>
                </a:ext>
              </a:extLst>
            </p:cNvPr>
            <p:cNvSpPr/>
            <p:nvPr/>
          </p:nvSpPr>
          <p:spPr>
            <a:xfrm>
              <a:off x="5786437" y="3188017"/>
              <a:ext cx="32384" cy="17144"/>
            </a:xfrm>
            <a:custGeom>
              <a:avLst/>
              <a:gdLst>
                <a:gd name="connsiteX0" fmla="*/ 6668 w 32384"/>
                <a:gd name="connsiteY0" fmla="*/ 7620 h 17144"/>
                <a:gd name="connsiteX1" fmla="*/ 6668 w 32384"/>
                <a:gd name="connsiteY1" fmla="*/ 5715 h 17144"/>
                <a:gd name="connsiteX2" fmla="*/ 14288 w 32384"/>
                <a:gd name="connsiteY2" fmla="*/ 952 h 17144"/>
                <a:gd name="connsiteX3" fmla="*/ 20003 w 32384"/>
                <a:gd name="connsiteY3" fmla="*/ 0 h 17144"/>
                <a:gd name="connsiteX4" fmla="*/ 27622 w 32384"/>
                <a:gd name="connsiteY4" fmla="*/ 3810 h 17144"/>
                <a:gd name="connsiteX5" fmla="*/ 32385 w 32384"/>
                <a:gd name="connsiteY5" fmla="*/ 4763 h 17144"/>
                <a:gd name="connsiteX6" fmla="*/ 32385 w 32384"/>
                <a:gd name="connsiteY6" fmla="*/ 7620 h 17144"/>
                <a:gd name="connsiteX7" fmla="*/ 29528 w 32384"/>
                <a:gd name="connsiteY7" fmla="*/ 10477 h 17144"/>
                <a:gd name="connsiteX8" fmla="*/ 30480 w 32384"/>
                <a:gd name="connsiteY8" fmla="*/ 11430 h 17144"/>
                <a:gd name="connsiteX9" fmla="*/ 31432 w 32384"/>
                <a:gd name="connsiteY9" fmla="*/ 14288 h 17144"/>
                <a:gd name="connsiteX10" fmla="*/ 30480 w 32384"/>
                <a:gd name="connsiteY10" fmla="*/ 14288 h 17144"/>
                <a:gd name="connsiteX11" fmla="*/ 26670 w 32384"/>
                <a:gd name="connsiteY11" fmla="*/ 15240 h 17144"/>
                <a:gd name="connsiteX12" fmla="*/ 23813 w 32384"/>
                <a:gd name="connsiteY12" fmla="*/ 17145 h 17144"/>
                <a:gd name="connsiteX13" fmla="*/ 20955 w 32384"/>
                <a:gd name="connsiteY13" fmla="*/ 16192 h 17144"/>
                <a:gd name="connsiteX14" fmla="*/ 18097 w 32384"/>
                <a:gd name="connsiteY14" fmla="*/ 15240 h 17144"/>
                <a:gd name="connsiteX15" fmla="*/ 11430 w 32384"/>
                <a:gd name="connsiteY15" fmla="*/ 15240 h 17144"/>
                <a:gd name="connsiteX16" fmla="*/ 3810 w 32384"/>
                <a:gd name="connsiteY16" fmla="*/ 15240 h 17144"/>
                <a:gd name="connsiteX17" fmla="*/ 0 w 32384"/>
                <a:gd name="connsiteY17" fmla="*/ 12382 h 17144"/>
                <a:gd name="connsiteX18" fmla="*/ 0 w 32384"/>
                <a:gd name="connsiteY18" fmla="*/ 10477 h 17144"/>
                <a:gd name="connsiteX19" fmla="*/ 6668 w 32384"/>
                <a:gd name="connsiteY19" fmla="*/ 9525 h 17144"/>
                <a:gd name="connsiteX20" fmla="*/ 10478 w 32384"/>
                <a:gd name="connsiteY20" fmla="*/ 10477 h 17144"/>
                <a:gd name="connsiteX21" fmla="*/ 10478 w 32384"/>
                <a:gd name="connsiteY21" fmla="*/ 8572 h 17144"/>
                <a:gd name="connsiteX22" fmla="*/ 7620 w 32384"/>
                <a:gd name="connsiteY22" fmla="*/ 7620 h 1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384" h="17144">
                  <a:moveTo>
                    <a:pt x="6668" y="7620"/>
                  </a:moveTo>
                  <a:lnTo>
                    <a:pt x="6668" y="5715"/>
                  </a:lnTo>
                  <a:lnTo>
                    <a:pt x="14288" y="952"/>
                  </a:lnTo>
                  <a:lnTo>
                    <a:pt x="20003" y="0"/>
                  </a:lnTo>
                  <a:lnTo>
                    <a:pt x="27622" y="3810"/>
                  </a:lnTo>
                  <a:lnTo>
                    <a:pt x="32385" y="4763"/>
                  </a:lnTo>
                  <a:lnTo>
                    <a:pt x="32385" y="7620"/>
                  </a:lnTo>
                  <a:lnTo>
                    <a:pt x="29528" y="10477"/>
                  </a:lnTo>
                  <a:lnTo>
                    <a:pt x="30480" y="11430"/>
                  </a:lnTo>
                  <a:lnTo>
                    <a:pt x="31432" y="14288"/>
                  </a:lnTo>
                  <a:lnTo>
                    <a:pt x="30480" y="14288"/>
                  </a:lnTo>
                  <a:lnTo>
                    <a:pt x="26670" y="15240"/>
                  </a:lnTo>
                  <a:lnTo>
                    <a:pt x="23813" y="17145"/>
                  </a:lnTo>
                  <a:lnTo>
                    <a:pt x="20955" y="16192"/>
                  </a:lnTo>
                  <a:lnTo>
                    <a:pt x="18097" y="15240"/>
                  </a:lnTo>
                  <a:lnTo>
                    <a:pt x="11430" y="15240"/>
                  </a:lnTo>
                  <a:lnTo>
                    <a:pt x="3810" y="15240"/>
                  </a:lnTo>
                  <a:lnTo>
                    <a:pt x="0" y="12382"/>
                  </a:lnTo>
                  <a:lnTo>
                    <a:pt x="0" y="10477"/>
                  </a:lnTo>
                  <a:lnTo>
                    <a:pt x="6668" y="9525"/>
                  </a:lnTo>
                  <a:lnTo>
                    <a:pt x="10478" y="10477"/>
                  </a:lnTo>
                  <a:lnTo>
                    <a:pt x="10478" y="8572"/>
                  </a:lnTo>
                  <a:lnTo>
                    <a:pt x="7620" y="762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4EFA07C-86F7-4424-AACF-CC949D2B093E}"/>
                </a:ext>
              </a:extLst>
            </p:cNvPr>
            <p:cNvSpPr/>
            <p:nvPr/>
          </p:nvSpPr>
          <p:spPr>
            <a:xfrm>
              <a:off x="5826442" y="3186112"/>
              <a:ext cx="13334" cy="11430"/>
            </a:xfrm>
            <a:custGeom>
              <a:avLst/>
              <a:gdLst>
                <a:gd name="connsiteX0" fmla="*/ 0 w 13334"/>
                <a:gd name="connsiteY0" fmla="*/ 3810 h 11430"/>
                <a:gd name="connsiteX1" fmla="*/ 6667 w 13334"/>
                <a:gd name="connsiteY1" fmla="*/ 0 h 11430"/>
                <a:gd name="connsiteX2" fmla="*/ 13335 w 13334"/>
                <a:gd name="connsiteY2" fmla="*/ 1905 h 11430"/>
                <a:gd name="connsiteX3" fmla="*/ 13335 w 13334"/>
                <a:gd name="connsiteY3" fmla="*/ 4763 h 11430"/>
                <a:gd name="connsiteX4" fmla="*/ 11430 w 13334"/>
                <a:gd name="connsiteY4" fmla="*/ 7620 h 11430"/>
                <a:gd name="connsiteX5" fmla="*/ 7620 w 13334"/>
                <a:gd name="connsiteY5" fmla="*/ 11430 h 11430"/>
                <a:gd name="connsiteX6" fmla="*/ 2857 w 13334"/>
                <a:gd name="connsiteY6" fmla="*/ 11430 h 11430"/>
                <a:gd name="connsiteX7" fmla="*/ 0 w 13334"/>
                <a:gd name="connsiteY7" fmla="*/ 8572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34" h="11430">
                  <a:moveTo>
                    <a:pt x="0" y="3810"/>
                  </a:moveTo>
                  <a:lnTo>
                    <a:pt x="6667" y="0"/>
                  </a:lnTo>
                  <a:lnTo>
                    <a:pt x="13335" y="1905"/>
                  </a:lnTo>
                  <a:lnTo>
                    <a:pt x="13335" y="4763"/>
                  </a:lnTo>
                  <a:lnTo>
                    <a:pt x="11430" y="7620"/>
                  </a:lnTo>
                  <a:lnTo>
                    <a:pt x="7620" y="11430"/>
                  </a:lnTo>
                  <a:lnTo>
                    <a:pt x="2857" y="11430"/>
                  </a:lnTo>
                  <a:lnTo>
                    <a:pt x="0" y="8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B06D17F-C4EE-468C-AE2D-A3C30D789300}"/>
                </a:ext>
              </a:extLst>
            </p:cNvPr>
            <p:cNvSpPr/>
            <p:nvPr/>
          </p:nvSpPr>
          <p:spPr>
            <a:xfrm>
              <a:off x="5841682" y="3188017"/>
              <a:ext cx="12382" cy="7619"/>
            </a:xfrm>
            <a:custGeom>
              <a:avLst/>
              <a:gdLst>
                <a:gd name="connsiteX0" fmla="*/ 0 w 12382"/>
                <a:gd name="connsiteY0" fmla="*/ 3810 h 7619"/>
                <a:gd name="connsiteX1" fmla="*/ 0 w 12382"/>
                <a:gd name="connsiteY1" fmla="*/ 7620 h 7619"/>
                <a:gd name="connsiteX2" fmla="*/ 2858 w 12382"/>
                <a:gd name="connsiteY2" fmla="*/ 7620 h 7619"/>
                <a:gd name="connsiteX3" fmla="*/ 7620 w 12382"/>
                <a:gd name="connsiteY3" fmla="*/ 5715 h 7619"/>
                <a:gd name="connsiteX4" fmla="*/ 12383 w 12382"/>
                <a:gd name="connsiteY4" fmla="*/ 2857 h 7619"/>
                <a:gd name="connsiteX5" fmla="*/ 12383 w 12382"/>
                <a:gd name="connsiteY5" fmla="*/ 0 h 7619"/>
                <a:gd name="connsiteX6" fmla="*/ 6668 w 12382"/>
                <a:gd name="connsiteY6" fmla="*/ 0 h 7619"/>
                <a:gd name="connsiteX7" fmla="*/ 2858 w 12382"/>
                <a:gd name="connsiteY7" fmla="*/ 952 h 7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82" h="7619">
                  <a:moveTo>
                    <a:pt x="0" y="3810"/>
                  </a:moveTo>
                  <a:lnTo>
                    <a:pt x="0" y="7620"/>
                  </a:lnTo>
                  <a:lnTo>
                    <a:pt x="2858" y="7620"/>
                  </a:lnTo>
                  <a:lnTo>
                    <a:pt x="7620" y="5715"/>
                  </a:lnTo>
                  <a:lnTo>
                    <a:pt x="12383" y="2857"/>
                  </a:lnTo>
                  <a:lnTo>
                    <a:pt x="12383" y="0"/>
                  </a:lnTo>
                  <a:lnTo>
                    <a:pt x="6668" y="0"/>
                  </a:lnTo>
                  <a:lnTo>
                    <a:pt x="2858" y="9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E9D6013-A25D-49CB-A34B-2E22AC66E6F4}"/>
                </a:ext>
              </a:extLst>
            </p:cNvPr>
            <p:cNvSpPr/>
            <p:nvPr/>
          </p:nvSpPr>
          <p:spPr>
            <a:xfrm>
              <a:off x="5841682" y="3177540"/>
              <a:ext cx="7620" cy="7619"/>
            </a:xfrm>
            <a:custGeom>
              <a:avLst/>
              <a:gdLst>
                <a:gd name="connsiteX0" fmla="*/ 0 w 7620"/>
                <a:gd name="connsiteY0" fmla="*/ 1905 h 7619"/>
                <a:gd name="connsiteX1" fmla="*/ 953 w 7620"/>
                <a:gd name="connsiteY1" fmla="*/ 7620 h 7619"/>
                <a:gd name="connsiteX2" fmla="*/ 2858 w 7620"/>
                <a:gd name="connsiteY2" fmla="*/ 7620 h 7619"/>
                <a:gd name="connsiteX3" fmla="*/ 7620 w 7620"/>
                <a:gd name="connsiteY3" fmla="*/ 4763 h 7619"/>
                <a:gd name="connsiteX4" fmla="*/ 7620 w 7620"/>
                <a:gd name="connsiteY4" fmla="*/ 1905 h 7619"/>
                <a:gd name="connsiteX5" fmla="*/ 5715 w 7620"/>
                <a:gd name="connsiteY5" fmla="*/ 0 h 7619"/>
                <a:gd name="connsiteX6" fmla="*/ 2858 w 7620"/>
                <a:gd name="connsiteY6" fmla="*/ 0 h 7619"/>
                <a:gd name="connsiteX7" fmla="*/ 0 w 7620"/>
                <a:gd name="connsiteY7" fmla="*/ 0 h 7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0" h="7619">
                  <a:moveTo>
                    <a:pt x="0" y="1905"/>
                  </a:moveTo>
                  <a:lnTo>
                    <a:pt x="953" y="7620"/>
                  </a:lnTo>
                  <a:lnTo>
                    <a:pt x="2858" y="7620"/>
                  </a:lnTo>
                  <a:lnTo>
                    <a:pt x="7620" y="4763"/>
                  </a:lnTo>
                  <a:lnTo>
                    <a:pt x="7620" y="1905"/>
                  </a:lnTo>
                  <a:lnTo>
                    <a:pt x="5715" y="0"/>
                  </a:lnTo>
                  <a:lnTo>
                    <a:pt x="285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C88F66-C7A5-4A7C-B850-E543DC6A62AF}"/>
                </a:ext>
              </a:extLst>
            </p:cNvPr>
            <p:cNvSpPr/>
            <p:nvPr/>
          </p:nvSpPr>
          <p:spPr>
            <a:xfrm>
              <a:off x="5855969" y="3177540"/>
              <a:ext cx="25717" cy="9525"/>
            </a:xfrm>
            <a:custGeom>
              <a:avLst/>
              <a:gdLst>
                <a:gd name="connsiteX0" fmla="*/ 0 w 25717"/>
                <a:gd name="connsiteY0" fmla="*/ 953 h 9525"/>
                <a:gd name="connsiteX1" fmla="*/ 1905 w 25717"/>
                <a:gd name="connsiteY1" fmla="*/ 6667 h 9525"/>
                <a:gd name="connsiteX2" fmla="*/ 10478 w 25717"/>
                <a:gd name="connsiteY2" fmla="*/ 9525 h 9525"/>
                <a:gd name="connsiteX3" fmla="*/ 25718 w 25717"/>
                <a:gd name="connsiteY3" fmla="*/ 9525 h 9525"/>
                <a:gd name="connsiteX4" fmla="*/ 24765 w 25717"/>
                <a:gd name="connsiteY4" fmla="*/ 5715 h 9525"/>
                <a:gd name="connsiteX5" fmla="*/ 9525 w 25717"/>
                <a:gd name="connsiteY5" fmla="*/ 5715 h 9525"/>
                <a:gd name="connsiteX6" fmla="*/ 4763 w 25717"/>
                <a:gd name="connsiteY6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" h="9525">
                  <a:moveTo>
                    <a:pt x="0" y="953"/>
                  </a:moveTo>
                  <a:lnTo>
                    <a:pt x="1905" y="6667"/>
                  </a:lnTo>
                  <a:lnTo>
                    <a:pt x="10478" y="9525"/>
                  </a:lnTo>
                  <a:lnTo>
                    <a:pt x="25718" y="9525"/>
                  </a:lnTo>
                  <a:lnTo>
                    <a:pt x="24765" y="5715"/>
                  </a:lnTo>
                  <a:lnTo>
                    <a:pt x="9525" y="5715"/>
                  </a:lnTo>
                  <a:lnTo>
                    <a:pt x="476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C77B4D2-3C7D-45B2-A6F7-7F225DDB7A02}"/>
                </a:ext>
              </a:extLst>
            </p:cNvPr>
            <p:cNvSpPr/>
            <p:nvPr/>
          </p:nvSpPr>
          <p:spPr>
            <a:xfrm>
              <a:off x="5851207" y="3189922"/>
              <a:ext cx="47625" cy="47625"/>
            </a:xfrm>
            <a:custGeom>
              <a:avLst/>
              <a:gdLst>
                <a:gd name="connsiteX0" fmla="*/ 953 w 47625"/>
                <a:gd name="connsiteY0" fmla="*/ 11430 h 47625"/>
                <a:gd name="connsiteX1" fmla="*/ 0 w 47625"/>
                <a:gd name="connsiteY1" fmla="*/ 6668 h 47625"/>
                <a:gd name="connsiteX2" fmla="*/ 9525 w 47625"/>
                <a:gd name="connsiteY2" fmla="*/ 0 h 47625"/>
                <a:gd name="connsiteX3" fmla="*/ 15240 w 47625"/>
                <a:gd name="connsiteY3" fmla="*/ 0 h 47625"/>
                <a:gd name="connsiteX4" fmla="*/ 19050 w 47625"/>
                <a:gd name="connsiteY4" fmla="*/ 0 h 47625"/>
                <a:gd name="connsiteX5" fmla="*/ 19050 w 47625"/>
                <a:gd name="connsiteY5" fmla="*/ 1905 h 47625"/>
                <a:gd name="connsiteX6" fmla="*/ 19050 w 47625"/>
                <a:gd name="connsiteY6" fmla="*/ 2858 h 47625"/>
                <a:gd name="connsiteX7" fmla="*/ 20955 w 47625"/>
                <a:gd name="connsiteY7" fmla="*/ 5715 h 47625"/>
                <a:gd name="connsiteX8" fmla="*/ 28575 w 47625"/>
                <a:gd name="connsiteY8" fmla="*/ 4763 h 47625"/>
                <a:gd name="connsiteX9" fmla="*/ 31433 w 47625"/>
                <a:gd name="connsiteY9" fmla="*/ 7620 h 47625"/>
                <a:gd name="connsiteX10" fmla="*/ 37148 w 47625"/>
                <a:gd name="connsiteY10" fmla="*/ 11430 h 47625"/>
                <a:gd name="connsiteX11" fmla="*/ 40958 w 47625"/>
                <a:gd name="connsiteY11" fmla="*/ 15240 h 47625"/>
                <a:gd name="connsiteX12" fmla="*/ 40005 w 47625"/>
                <a:gd name="connsiteY12" fmla="*/ 18097 h 47625"/>
                <a:gd name="connsiteX13" fmla="*/ 38100 w 47625"/>
                <a:gd name="connsiteY13" fmla="*/ 20955 h 47625"/>
                <a:gd name="connsiteX14" fmla="*/ 38100 w 47625"/>
                <a:gd name="connsiteY14" fmla="*/ 21908 h 47625"/>
                <a:gd name="connsiteX15" fmla="*/ 47625 w 47625"/>
                <a:gd name="connsiteY15" fmla="*/ 27622 h 47625"/>
                <a:gd name="connsiteX16" fmla="*/ 46673 w 47625"/>
                <a:gd name="connsiteY16" fmla="*/ 30480 h 47625"/>
                <a:gd name="connsiteX17" fmla="*/ 37148 w 47625"/>
                <a:gd name="connsiteY17" fmla="*/ 36195 h 47625"/>
                <a:gd name="connsiteX18" fmla="*/ 34290 w 47625"/>
                <a:gd name="connsiteY18" fmla="*/ 34290 h 47625"/>
                <a:gd name="connsiteX19" fmla="*/ 32385 w 47625"/>
                <a:gd name="connsiteY19" fmla="*/ 31433 h 47625"/>
                <a:gd name="connsiteX20" fmla="*/ 30480 w 47625"/>
                <a:gd name="connsiteY20" fmla="*/ 31433 h 47625"/>
                <a:gd name="connsiteX21" fmla="*/ 30480 w 47625"/>
                <a:gd name="connsiteY21" fmla="*/ 37147 h 47625"/>
                <a:gd name="connsiteX22" fmla="*/ 25718 w 47625"/>
                <a:gd name="connsiteY22" fmla="*/ 46672 h 47625"/>
                <a:gd name="connsiteX23" fmla="*/ 23813 w 47625"/>
                <a:gd name="connsiteY23" fmla="*/ 47625 h 47625"/>
                <a:gd name="connsiteX24" fmla="*/ 20003 w 47625"/>
                <a:gd name="connsiteY24" fmla="*/ 44768 h 47625"/>
                <a:gd name="connsiteX25" fmla="*/ 12383 w 47625"/>
                <a:gd name="connsiteY25" fmla="*/ 37147 h 47625"/>
                <a:gd name="connsiteX26" fmla="*/ 2858 w 47625"/>
                <a:gd name="connsiteY26" fmla="*/ 37147 h 47625"/>
                <a:gd name="connsiteX27" fmla="*/ 953 w 47625"/>
                <a:gd name="connsiteY27" fmla="*/ 35243 h 47625"/>
                <a:gd name="connsiteX28" fmla="*/ 5715 w 47625"/>
                <a:gd name="connsiteY28" fmla="*/ 31433 h 47625"/>
                <a:gd name="connsiteX29" fmla="*/ 8573 w 47625"/>
                <a:gd name="connsiteY29" fmla="*/ 31433 h 47625"/>
                <a:gd name="connsiteX30" fmla="*/ 13335 w 47625"/>
                <a:gd name="connsiteY30" fmla="*/ 31433 h 47625"/>
                <a:gd name="connsiteX31" fmla="*/ 22860 w 47625"/>
                <a:gd name="connsiteY31" fmla="*/ 20955 h 47625"/>
                <a:gd name="connsiteX32" fmla="*/ 25718 w 47625"/>
                <a:gd name="connsiteY32" fmla="*/ 18097 h 47625"/>
                <a:gd name="connsiteX33" fmla="*/ 24765 w 47625"/>
                <a:gd name="connsiteY33" fmla="*/ 15240 h 47625"/>
                <a:gd name="connsiteX34" fmla="*/ 15240 w 47625"/>
                <a:gd name="connsiteY34" fmla="*/ 14288 h 47625"/>
                <a:gd name="connsiteX35" fmla="*/ 6668 w 47625"/>
                <a:gd name="connsiteY35" fmla="*/ 1333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7625" h="47625">
                  <a:moveTo>
                    <a:pt x="953" y="11430"/>
                  </a:moveTo>
                  <a:lnTo>
                    <a:pt x="0" y="6668"/>
                  </a:lnTo>
                  <a:lnTo>
                    <a:pt x="9525" y="0"/>
                  </a:lnTo>
                  <a:lnTo>
                    <a:pt x="15240" y="0"/>
                  </a:lnTo>
                  <a:lnTo>
                    <a:pt x="19050" y="0"/>
                  </a:lnTo>
                  <a:lnTo>
                    <a:pt x="19050" y="1905"/>
                  </a:lnTo>
                  <a:lnTo>
                    <a:pt x="19050" y="2858"/>
                  </a:lnTo>
                  <a:lnTo>
                    <a:pt x="20955" y="5715"/>
                  </a:lnTo>
                  <a:lnTo>
                    <a:pt x="28575" y="4763"/>
                  </a:lnTo>
                  <a:lnTo>
                    <a:pt x="31433" y="7620"/>
                  </a:lnTo>
                  <a:lnTo>
                    <a:pt x="37148" y="11430"/>
                  </a:lnTo>
                  <a:lnTo>
                    <a:pt x="40958" y="15240"/>
                  </a:lnTo>
                  <a:lnTo>
                    <a:pt x="40005" y="18097"/>
                  </a:lnTo>
                  <a:lnTo>
                    <a:pt x="38100" y="20955"/>
                  </a:lnTo>
                  <a:lnTo>
                    <a:pt x="38100" y="21908"/>
                  </a:lnTo>
                  <a:lnTo>
                    <a:pt x="47625" y="27622"/>
                  </a:lnTo>
                  <a:lnTo>
                    <a:pt x="46673" y="30480"/>
                  </a:lnTo>
                  <a:lnTo>
                    <a:pt x="37148" y="36195"/>
                  </a:lnTo>
                  <a:lnTo>
                    <a:pt x="34290" y="34290"/>
                  </a:lnTo>
                  <a:lnTo>
                    <a:pt x="32385" y="31433"/>
                  </a:lnTo>
                  <a:lnTo>
                    <a:pt x="30480" y="31433"/>
                  </a:lnTo>
                  <a:lnTo>
                    <a:pt x="30480" y="37147"/>
                  </a:lnTo>
                  <a:lnTo>
                    <a:pt x="25718" y="46672"/>
                  </a:lnTo>
                  <a:lnTo>
                    <a:pt x="23813" y="47625"/>
                  </a:lnTo>
                  <a:lnTo>
                    <a:pt x="20003" y="44768"/>
                  </a:lnTo>
                  <a:lnTo>
                    <a:pt x="12383" y="37147"/>
                  </a:lnTo>
                  <a:lnTo>
                    <a:pt x="2858" y="37147"/>
                  </a:lnTo>
                  <a:lnTo>
                    <a:pt x="953" y="35243"/>
                  </a:lnTo>
                  <a:lnTo>
                    <a:pt x="5715" y="31433"/>
                  </a:lnTo>
                  <a:lnTo>
                    <a:pt x="8573" y="31433"/>
                  </a:lnTo>
                  <a:lnTo>
                    <a:pt x="13335" y="31433"/>
                  </a:lnTo>
                  <a:lnTo>
                    <a:pt x="22860" y="20955"/>
                  </a:lnTo>
                  <a:lnTo>
                    <a:pt x="25718" y="18097"/>
                  </a:lnTo>
                  <a:lnTo>
                    <a:pt x="24765" y="15240"/>
                  </a:lnTo>
                  <a:lnTo>
                    <a:pt x="15240" y="14288"/>
                  </a:lnTo>
                  <a:lnTo>
                    <a:pt x="6668" y="133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A0BF632-C5E2-43EC-AD6A-F35845200D52}"/>
                </a:ext>
              </a:extLst>
            </p:cNvPr>
            <p:cNvSpPr/>
            <p:nvPr/>
          </p:nvSpPr>
          <p:spPr>
            <a:xfrm>
              <a:off x="5759767" y="3391852"/>
              <a:ext cx="32385" cy="14287"/>
            </a:xfrm>
            <a:custGeom>
              <a:avLst/>
              <a:gdLst>
                <a:gd name="connsiteX0" fmla="*/ 0 w 32385"/>
                <a:gd name="connsiteY0" fmla="*/ 3810 h 14287"/>
                <a:gd name="connsiteX1" fmla="*/ 0 w 32385"/>
                <a:gd name="connsiteY1" fmla="*/ 2858 h 14287"/>
                <a:gd name="connsiteX2" fmla="*/ 3810 w 32385"/>
                <a:gd name="connsiteY2" fmla="*/ 0 h 14287"/>
                <a:gd name="connsiteX3" fmla="*/ 17145 w 32385"/>
                <a:gd name="connsiteY3" fmla="*/ 953 h 14287"/>
                <a:gd name="connsiteX4" fmla="*/ 32385 w 32385"/>
                <a:gd name="connsiteY4" fmla="*/ 11430 h 14287"/>
                <a:gd name="connsiteX5" fmla="*/ 32385 w 32385"/>
                <a:gd name="connsiteY5" fmla="*/ 13335 h 14287"/>
                <a:gd name="connsiteX6" fmla="*/ 32385 w 32385"/>
                <a:gd name="connsiteY6" fmla="*/ 14288 h 14287"/>
                <a:gd name="connsiteX7" fmla="*/ 20955 w 32385"/>
                <a:gd name="connsiteY7" fmla="*/ 14288 h 14287"/>
                <a:gd name="connsiteX8" fmla="*/ 21908 w 32385"/>
                <a:gd name="connsiteY8" fmla="*/ 11430 h 14287"/>
                <a:gd name="connsiteX9" fmla="*/ 20002 w 32385"/>
                <a:gd name="connsiteY9" fmla="*/ 10478 h 14287"/>
                <a:gd name="connsiteX10" fmla="*/ 17145 w 32385"/>
                <a:gd name="connsiteY10" fmla="*/ 7620 h 14287"/>
                <a:gd name="connsiteX11" fmla="*/ 14288 w 32385"/>
                <a:gd name="connsiteY11" fmla="*/ 381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385" h="14287">
                  <a:moveTo>
                    <a:pt x="0" y="3810"/>
                  </a:moveTo>
                  <a:lnTo>
                    <a:pt x="0" y="2858"/>
                  </a:lnTo>
                  <a:lnTo>
                    <a:pt x="3810" y="0"/>
                  </a:lnTo>
                  <a:lnTo>
                    <a:pt x="17145" y="953"/>
                  </a:lnTo>
                  <a:lnTo>
                    <a:pt x="32385" y="11430"/>
                  </a:lnTo>
                  <a:lnTo>
                    <a:pt x="32385" y="13335"/>
                  </a:lnTo>
                  <a:lnTo>
                    <a:pt x="32385" y="14288"/>
                  </a:lnTo>
                  <a:lnTo>
                    <a:pt x="20955" y="14288"/>
                  </a:lnTo>
                  <a:lnTo>
                    <a:pt x="21908" y="11430"/>
                  </a:lnTo>
                  <a:lnTo>
                    <a:pt x="20002" y="10478"/>
                  </a:lnTo>
                  <a:lnTo>
                    <a:pt x="17145" y="7620"/>
                  </a:lnTo>
                  <a:lnTo>
                    <a:pt x="14288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38CA470-0E70-4C06-96E7-418A73C94E8D}"/>
                </a:ext>
              </a:extLst>
            </p:cNvPr>
            <p:cNvSpPr/>
            <p:nvPr/>
          </p:nvSpPr>
          <p:spPr>
            <a:xfrm>
              <a:off x="5776912" y="3410902"/>
              <a:ext cx="5715" cy="2857"/>
            </a:xfrm>
            <a:custGeom>
              <a:avLst/>
              <a:gdLst>
                <a:gd name="connsiteX0" fmla="*/ 0 w 5715"/>
                <a:gd name="connsiteY0" fmla="*/ 0 h 2857"/>
                <a:gd name="connsiteX1" fmla="*/ 5715 w 5715"/>
                <a:gd name="connsiteY1" fmla="*/ 0 h 2857"/>
                <a:gd name="connsiteX2" fmla="*/ 4763 w 5715"/>
                <a:gd name="connsiteY2" fmla="*/ 2858 h 2857"/>
                <a:gd name="connsiteX3" fmla="*/ 1905 w 5715"/>
                <a:gd name="connsiteY3" fmla="*/ 2858 h 2857"/>
                <a:gd name="connsiteX4" fmla="*/ 0 w 5715"/>
                <a:gd name="connsiteY4" fmla="*/ 1905 h 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" h="2857">
                  <a:moveTo>
                    <a:pt x="0" y="0"/>
                  </a:moveTo>
                  <a:lnTo>
                    <a:pt x="5715" y="0"/>
                  </a:lnTo>
                  <a:lnTo>
                    <a:pt x="4763" y="2858"/>
                  </a:lnTo>
                  <a:lnTo>
                    <a:pt x="1905" y="2858"/>
                  </a:lnTo>
                  <a:lnTo>
                    <a:pt x="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D2A06C8-4EE1-425F-BEDA-2F2A338A2169}"/>
                </a:ext>
              </a:extLst>
            </p:cNvPr>
            <p:cNvSpPr/>
            <p:nvPr/>
          </p:nvSpPr>
          <p:spPr>
            <a:xfrm>
              <a:off x="5789294" y="3406139"/>
              <a:ext cx="20955" cy="8572"/>
            </a:xfrm>
            <a:custGeom>
              <a:avLst/>
              <a:gdLst>
                <a:gd name="connsiteX0" fmla="*/ 0 w 20955"/>
                <a:gd name="connsiteY0" fmla="*/ 5715 h 8572"/>
                <a:gd name="connsiteX1" fmla="*/ 0 w 20955"/>
                <a:gd name="connsiteY1" fmla="*/ 6668 h 8572"/>
                <a:gd name="connsiteX2" fmla="*/ 4763 w 20955"/>
                <a:gd name="connsiteY2" fmla="*/ 6668 h 8572"/>
                <a:gd name="connsiteX3" fmla="*/ 9525 w 20955"/>
                <a:gd name="connsiteY3" fmla="*/ 7620 h 8572"/>
                <a:gd name="connsiteX4" fmla="*/ 10478 w 20955"/>
                <a:gd name="connsiteY4" fmla="*/ 8573 h 8572"/>
                <a:gd name="connsiteX5" fmla="*/ 14288 w 20955"/>
                <a:gd name="connsiteY5" fmla="*/ 6668 h 8572"/>
                <a:gd name="connsiteX6" fmla="*/ 20955 w 20955"/>
                <a:gd name="connsiteY6" fmla="*/ 5715 h 8572"/>
                <a:gd name="connsiteX7" fmla="*/ 20955 w 20955"/>
                <a:gd name="connsiteY7" fmla="*/ 3810 h 8572"/>
                <a:gd name="connsiteX8" fmla="*/ 17145 w 20955"/>
                <a:gd name="connsiteY8" fmla="*/ 3810 h 8572"/>
                <a:gd name="connsiteX9" fmla="*/ 13335 w 20955"/>
                <a:gd name="connsiteY9" fmla="*/ 0 h 8572"/>
                <a:gd name="connsiteX10" fmla="*/ 7620 w 20955"/>
                <a:gd name="connsiteY10" fmla="*/ 953 h 8572"/>
                <a:gd name="connsiteX11" fmla="*/ 5715 w 20955"/>
                <a:gd name="connsiteY11" fmla="*/ 953 h 8572"/>
                <a:gd name="connsiteX12" fmla="*/ 5715 w 20955"/>
                <a:gd name="connsiteY12" fmla="*/ 4763 h 8572"/>
                <a:gd name="connsiteX13" fmla="*/ 953 w 20955"/>
                <a:gd name="connsiteY13" fmla="*/ 4763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55" h="8572">
                  <a:moveTo>
                    <a:pt x="0" y="5715"/>
                  </a:moveTo>
                  <a:lnTo>
                    <a:pt x="0" y="6668"/>
                  </a:lnTo>
                  <a:lnTo>
                    <a:pt x="4763" y="6668"/>
                  </a:lnTo>
                  <a:lnTo>
                    <a:pt x="9525" y="7620"/>
                  </a:lnTo>
                  <a:lnTo>
                    <a:pt x="10478" y="8573"/>
                  </a:lnTo>
                  <a:lnTo>
                    <a:pt x="14288" y="6668"/>
                  </a:lnTo>
                  <a:lnTo>
                    <a:pt x="20955" y="5715"/>
                  </a:lnTo>
                  <a:lnTo>
                    <a:pt x="20955" y="3810"/>
                  </a:lnTo>
                  <a:lnTo>
                    <a:pt x="17145" y="3810"/>
                  </a:lnTo>
                  <a:lnTo>
                    <a:pt x="13335" y="0"/>
                  </a:lnTo>
                  <a:lnTo>
                    <a:pt x="7620" y="953"/>
                  </a:lnTo>
                  <a:lnTo>
                    <a:pt x="5715" y="953"/>
                  </a:lnTo>
                  <a:lnTo>
                    <a:pt x="5715" y="4763"/>
                  </a:lnTo>
                  <a:lnTo>
                    <a:pt x="953" y="4763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9DC18DE-F7F1-4058-B9F1-9883DA83ED55}"/>
                </a:ext>
              </a:extLst>
            </p:cNvPr>
            <p:cNvSpPr/>
            <p:nvPr/>
          </p:nvSpPr>
          <p:spPr>
            <a:xfrm>
              <a:off x="5814059" y="3411855"/>
              <a:ext cx="6667" cy="2857"/>
            </a:xfrm>
            <a:custGeom>
              <a:avLst/>
              <a:gdLst>
                <a:gd name="connsiteX0" fmla="*/ 1905 w 6667"/>
                <a:gd name="connsiteY0" fmla="*/ 0 h 2857"/>
                <a:gd name="connsiteX1" fmla="*/ 4763 w 6667"/>
                <a:gd name="connsiteY1" fmla="*/ 0 h 2857"/>
                <a:gd name="connsiteX2" fmla="*/ 6668 w 6667"/>
                <a:gd name="connsiteY2" fmla="*/ 1905 h 2857"/>
                <a:gd name="connsiteX3" fmla="*/ 1905 w 6667"/>
                <a:gd name="connsiteY3" fmla="*/ 2857 h 2857"/>
                <a:gd name="connsiteX4" fmla="*/ 0 w 6667"/>
                <a:gd name="connsiteY4" fmla="*/ 1905 h 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" h="2857">
                  <a:moveTo>
                    <a:pt x="1905" y="0"/>
                  </a:moveTo>
                  <a:lnTo>
                    <a:pt x="4763" y="0"/>
                  </a:lnTo>
                  <a:lnTo>
                    <a:pt x="6668" y="1905"/>
                  </a:lnTo>
                  <a:lnTo>
                    <a:pt x="1905" y="2857"/>
                  </a:lnTo>
                  <a:lnTo>
                    <a:pt x="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B9D10E-820E-4434-9F65-CF2C11A8D310}"/>
                </a:ext>
              </a:extLst>
            </p:cNvPr>
            <p:cNvSpPr/>
            <p:nvPr/>
          </p:nvSpPr>
          <p:spPr>
            <a:xfrm>
              <a:off x="5828347" y="3418522"/>
              <a:ext cx="4762" cy="4762"/>
            </a:xfrm>
            <a:custGeom>
              <a:avLst/>
              <a:gdLst>
                <a:gd name="connsiteX0" fmla="*/ 0 w 4762"/>
                <a:gd name="connsiteY0" fmla="*/ 0 h 4762"/>
                <a:gd name="connsiteX1" fmla="*/ 1905 w 4762"/>
                <a:gd name="connsiteY1" fmla="*/ 4763 h 4762"/>
                <a:gd name="connsiteX2" fmla="*/ 4763 w 4762"/>
                <a:gd name="connsiteY2" fmla="*/ 3810 h 4762"/>
                <a:gd name="connsiteX3" fmla="*/ 4763 w 4762"/>
                <a:gd name="connsiteY3" fmla="*/ 952 h 4762"/>
                <a:gd name="connsiteX4" fmla="*/ 2858 w 4762"/>
                <a:gd name="connsiteY4" fmla="*/ 0 h 4762"/>
                <a:gd name="connsiteX5" fmla="*/ 0 w 4762"/>
                <a:gd name="connsiteY5" fmla="*/ 0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" h="4762">
                  <a:moveTo>
                    <a:pt x="0" y="0"/>
                  </a:moveTo>
                  <a:lnTo>
                    <a:pt x="1905" y="4763"/>
                  </a:lnTo>
                  <a:lnTo>
                    <a:pt x="4763" y="3810"/>
                  </a:lnTo>
                  <a:lnTo>
                    <a:pt x="4763" y="952"/>
                  </a:lnTo>
                  <a:lnTo>
                    <a:pt x="2858" y="0"/>
                  </a:lnTo>
                  <a:lnTo>
                    <a:pt x="0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1FABB73-8B12-41AA-9355-2F7BAA52C6B3}"/>
                </a:ext>
              </a:extLst>
            </p:cNvPr>
            <p:cNvSpPr/>
            <p:nvPr/>
          </p:nvSpPr>
          <p:spPr>
            <a:xfrm>
              <a:off x="5830252" y="3424237"/>
              <a:ext cx="2857" cy="6667"/>
            </a:xfrm>
            <a:custGeom>
              <a:avLst/>
              <a:gdLst>
                <a:gd name="connsiteX0" fmla="*/ 0 w 2857"/>
                <a:gd name="connsiteY0" fmla="*/ 0 h 6667"/>
                <a:gd name="connsiteX1" fmla="*/ 1905 w 2857"/>
                <a:gd name="connsiteY1" fmla="*/ 0 h 6667"/>
                <a:gd name="connsiteX2" fmla="*/ 2857 w 2857"/>
                <a:gd name="connsiteY2" fmla="*/ 6668 h 6667"/>
                <a:gd name="connsiteX3" fmla="*/ 0 w 2857"/>
                <a:gd name="connsiteY3" fmla="*/ 6668 h 6667"/>
                <a:gd name="connsiteX4" fmla="*/ 0 w 2857"/>
                <a:gd name="connsiteY4" fmla="*/ 3810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" h="6667">
                  <a:moveTo>
                    <a:pt x="0" y="0"/>
                  </a:moveTo>
                  <a:lnTo>
                    <a:pt x="1905" y="0"/>
                  </a:lnTo>
                  <a:lnTo>
                    <a:pt x="2857" y="6668"/>
                  </a:lnTo>
                  <a:lnTo>
                    <a:pt x="0" y="6668"/>
                  </a:lnTo>
                  <a:lnTo>
                    <a:pt x="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75EED76-5C36-451B-A962-4C5ECBB9F4BB}"/>
                </a:ext>
              </a:extLst>
            </p:cNvPr>
            <p:cNvSpPr/>
            <p:nvPr/>
          </p:nvSpPr>
          <p:spPr>
            <a:xfrm>
              <a:off x="5910262" y="3153727"/>
              <a:ext cx="115252" cy="94297"/>
            </a:xfrm>
            <a:custGeom>
              <a:avLst/>
              <a:gdLst>
                <a:gd name="connsiteX0" fmla="*/ 67627 w 115252"/>
                <a:gd name="connsiteY0" fmla="*/ 0 h 94297"/>
                <a:gd name="connsiteX1" fmla="*/ 93345 w 115252"/>
                <a:gd name="connsiteY1" fmla="*/ 953 h 94297"/>
                <a:gd name="connsiteX2" fmla="*/ 93345 w 115252"/>
                <a:gd name="connsiteY2" fmla="*/ 2857 h 94297"/>
                <a:gd name="connsiteX3" fmla="*/ 90488 w 115252"/>
                <a:gd name="connsiteY3" fmla="*/ 3810 h 94297"/>
                <a:gd name="connsiteX4" fmla="*/ 85725 w 115252"/>
                <a:gd name="connsiteY4" fmla="*/ 5715 h 94297"/>
                <a:gd name="connsiteX5" fmla="*/ 85725 w 115252"/>
                <a:gd name="connsiteY5" fmla="*/ 6667 h 94297"/>
                <a:gd name="connsiteX6" fmla="*/ 88582 w 115252"/>
                <a:gd name="connsiteY6" fmla="*/ 8572 h 94297"/>
                <a:gd name="connsiteX7" fmla="*/ 92393 w 115252"/>
                <a:gd name="connsiteY7" fmla="*/ 10478 h 94297"/>
                <a:gd name="connsiteX8" fmla="*/ 96202 w 115252"/>
                <a:gd name="connsiteY8" fmla="*/ 12382 h 94297"/>
                <a:gd name="connsiteX9" fmla="*/ 100013 w 115252"/>
                <a:gd name="connsiteY9" fmla="*/ 11430 h 94297"/>
                <a:gd name="connsiteX10" fmla="*/ 103823 w 115252"/>
                <a:gd name="connsiteY10" fmla="*/ 9525 h 94297"/>
                <a:gd name="connsiteX11" fmla="*/ 110490 w 115252"/>
                <a:gd name="connsiteY11" fmla="*/ 9525 h 94297"/>
                <a:gd name="connsiteX12" fmla="*/ 115252 w 115252"/>
                <a:gd name="connsiteY12" fmla="*/ 10478 h 94297"/>
                <a:gd name="connsiteX13" fmla="*/ 115252 w 115252"/>
                <a:gd name="connsiteY13" fmla="*/ 12382 h 94297"/>
                <a:gd name="connsiteX14" fmla="*/ 112395 w 115252"/>
                <a:gd name="connsiteY14" fmla="*/ 13335 h 94297"/>
                <a:gd name="connsiteX15" fmla="*/ 105727 w 115252"/>
                <a:gd name="connsiteY15" fmla="*/ 16192 h 94297"/>
                <a:gd name="connsiteX16" fmla="*/ 103823 w 115252"/>
                <a:gd name="connsiteY16" fmla="*/ 18097 h 94297"/>
                <a:gd name="connsiteX17" fmla="*/ 97155 w 115252"/>
                <a:gd name="connsiteY17" fmla="*/ 21907 h 94297"/>
                <a:gd name="connsiteX18" fmla="*/ 90488 w 115252"/>
                <a:gd name="connsiteY18" fmla="*/ 27622 h 94297"/>
                <a:gd name="connsiteX19" fmla="*/ 90488 w 115252"/>
                <a:gd name="connsiteY19" fmla="*/ 32385 h 94297"/>
                <a:gd name="connsiteX20" fmla="*/ 96202 w 115252"/>
                <a:gd name="connsiteY20" fmla="*/ 36195 h 94297"/>
                <a:gd name="connsiteX21" fmla="*/ 96202 w 115252"/>
                <a:gd name="connsiteY21" fmla="*/ 37147 h 94297"/>
                <a:gd name="connsiteX22" fmla="*/ 92393 w 115252"/>
                <a:gd name="connsiteY22" fmla="*/ 42863 h 94297"/>
                <a:gd name="connsiteX23" fmla="*/ 89535 w 115252"/>
                <a:gd name="connsiteY23" fmla="*/ 45720 h 94297"/>
                <a:gd name="connsiteX24" fmla="*/ 86677 w 115252"/>
                <a:gd name="connsiteY24" fmla="*/ 45720 h 94297"/>
                <a:gd name="connsiteX25" fmla="*/ 84773 w 115252"/>
                <a:gd name="connsiteY25" fmla="*/ 44767 h 94297"/>
                <a:gd name="connsiteX26" fmla="*/ 81915 w 115252"/>
                <a:gd name="connsiteY26" fmla="*/ 45720 h 94297"/>
                <a:gd name="connsiteX27" fmla="*/ 81915 w 115252"/>
                <a:gd name="connsiteY27" fmla="*/ 48578 h 94297"/>
                <a:gd name="connsiteX28" fmla="*/ 85725 w 115252"/>
                <a:gd name="connsiteY28" fmla="*/ 52388 h 94297"/>
                <a:gd name="connsiteX29" fmla="*/ 85725 w 115252"/>
                <a:gd name="connsiteY29" fmla="*/ 54292 h 94297"/>
                <a:gd name="connsiteX30" fmla="*/ 81915 w 115252"/>
                <a:gd name="connsiteY30" fmla="*/ 54292 h 94297"/>
                <a:gd name="connsiteX31" fmla="*/ 80010 w 115252"/>
                <a:gd name="connsiteY31" fmla="*/ 52388 h 94297"/>
                <a:gd name="connsiteX32" fmla="*/ 78105 w 115252"/>
                <a:gd name="connsiteY32" fmla="*/ 52388 h 94297"/>
                <a:gd name="connsiteX33" fmla="*/ 78105 w 115252"/>
                <a:gd name="connsiteY33" fmla="*/ 55245 h 94297"/>
                <a:gd name="connsiteX34" fmla="*/ 82868 w 115252"/>
                <a:gd name="connsiteY34" fmla="*/ 57150 h 94297"/>
                <a:gd name="connsiteX35" fmla="*/ 85725 w 115252"/>
                <a:gd name="connsiteY35" fmla="*/ 57150 h 94297"/>
                <a:gd name="connsiteX36" fmla="*/ 84773 w 115252"/>
                <a:gd name="connsiteY36" fmla="*/ 60960 h 94297"/>
                <a:gd name="connsiteX37" fmla="*/ 76200 w 115252"/>
                <a:gd name="connsiteY37" fmla="*/ 60960 h 94297"/>
                <a:gd name="connsiteX38" fmla="*/ 63818 w 115252"/>
                <a:gd name="connsiteY38" fmla="*/ 62865 h 94297"/>
                <a:gd name="connsiteX39" fmla="*/ 50482 w 115252"/>
                <a:gd name="connsiteY39" fmla="*/ 68580 h 94297"/>
                <a:gd name="connsiteX40" fmla="*/ 39052 w 115252"/>
                <a:gd name="connsiteY40" fmla="*/ 72390 h 94297"/>
                <a:gd name="connsiteX41" fmla="*/ 22860 w 115252"/>
                <a:gd name="connsiteY41" fmla="*/ 92392 h 94297"/>
                <a:gd name="connsiteX42" fmla="*/ 19050 w 115252"/>
                <a:gd name="connsiteY42" fmla="*/ 94298 h 94297"/>
                <a:gd name="connsiteX43" fmla="*/ 14288 w 115252"/>
                <a:gd name="connsiteY43" fmla="*/ 89535 h 94297"/>
                <a:gd name="connsiteX44" fmla="*/ 8572 w 115252"/>
                <a:gd name="connsiteY44" fmla="*/ 85725 h 94297"/>
                <a:gd name="connsiteX45" fmla="*/ 8572 w 115252"/>
                <a:gd name="connsiteY45" fmla="*/ 71438 h 94297"/>
                <a:gd name="connsiteX46" fmla="*/ 16193 w 115252"/>
                <a:gd name="connsiteY46" fmla="*/ 60960 h 94297"/>
                <a:gd name="connsiteX47" fmla="*/ 21907 w 115252"/>
                <a:gd name="connsiteY47" fmla="*/ 51435 h 94297"/>
                <a:gd name="connsiteX48" fmla="*/ 18098 w 115252"/>
                <a:gd name="connsiteY48" fmla="*/ 43815 h 94297"/>
                <a:gd name="connsiteX49" fmla="*/ 16193 w 115252"/>
                <a:gd name="connsiteY49" fmla="*/ 33338 h 94297"/>
                <a:gd name="connsiteX50" fmla="*/ 9525 w 115252"/>
                <a:gd name="connsiteY50" fmla="*/ 28575 h 94297"/>
                <a:gd name="connsiteX51" fmla="*/ 4763 w 115252"/>
                <a:gd name="connsiteY51" fmla="*/ 28575 h 94297"/>
                <a:gd name="connsiteX52" fmla="*/ 953 w 115252"/>
                <a:gd name="connsiteY52" fmla="*/ 28575 h 94297"/>
                <a:gd name="connsiteX53" fmla="*/ 0 w 115252"/>
                <a:gd name="connsiteY53" fmla="*/ 23813 h 94297"/>
                <a:gd name="connsiteX54" fmla="*/ 3810 w 115252"/>
                <a:gd name="connsiteY54" fmla="*/ 20955 h 94297"/>
                <a:gd name="connsiteX55" fmla="*/ 5715 w 115252"/>
                <a:gd name="connsiteY55" fmla="*/ 21907 h 94297"/>
                <a:gd name="connsiteX56" fmla="*/ 11430 w 115252"/>
                <a:gd name="connsiteY56" fmla="*/ 21907 h 94297"/>
                <a:gd name="connsiteX57" fmla="*/ 13335 w 115252"/>
                <a:gd name="connsiteY57" fmla="*/ 20003 h 94297"/>
                <a:gd name="connsiteX58" fmla="*/ 13335 w 115252"/>
                <a:gd name="connsiteY58" fmla="*/ 16192 h 94297"/>
                <a:gd name="connsiteX59" fmla="*/ 42863 w 115252"/>
                <a:gd name="connsiteY59" fmla="*/ 3810 h 94297"/>
                <a:gd name="connsiteX60" fmla="*/ 47625 w 115252"/>
                <a:gd name="connsiteY60" fmla="*/ 3810 h 94297"/>
                <a:gd name="connsiteX61" fmla="*/ 52388 w 115252"/>
                <a:gd name="connsiteY61" fmla="*/ 6667 h 94297"/>
                <a:gd name="connsiteX62" fmla="*/ 63818 w 115252"/>
                <a:gd name="connsiteY62" fmla="*/ 5715 h 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15252" h="94297">
                  <a:moveTo>
                    <a:pt x="67627" y="0"/>
                  </a:moveTo>
                  <a:lnTo>
                    <a:pt x="93345" y="953"/>
                  </a:lnTo>
                  <a:lnTo>
                    <a:pt x="93345" y="2857"/>
                  </a:lnTo>
                  <a:lnTo>
                    <a:pt x="90488" y="3810"/>
                  </a:lnTo>
                  <a:lnTo>
                    <a:pt x="85725" y="5715"/>
                  </a:lnTo>
                  <a:lnTo>
                    <a:pt x="85725" y="6667"/>
                  </a:lnTo>
                  <a:lnTo>
                    <a:pt x="88582" y="8572"/>
                  </a:lnTo>
                  <a:lnTo>
                    <a:pt x="92393" y="10478"/>
                  </a:lnTo>
                  <a:lnTo>
                    <a:pt x="96202" y="12382"/>
                  </a:lnTo>
                  <a:lnTo>
                    <a:pt x="100013" y="11430"/>
                  </a:lnTo>
                  <a:lnTo>
                    <a:pt x="103823" y="9525"/>
                  </a:lnTo>
                  <a:lnTo>
                    <a:pt x="110490" y="9525"/>
                  </a:lnTo>
                  <a:lnTo>
                    <a:pt x="115252" y="10478"/>
                  </a:lnTo>
                  <a:lnTo>
                    <a:pt x="115252" y="12382"/>
                  </a:lnTo>
                  <a:lnTo>
                    <a:pt x="112395" y="13335"/>
                  </a:lnTo>
                  <a:lnTo>
                    <a:pt x="105727" y="16192"/>
                  </a:lnTo>
                  <a:lnTo>
                    <a:pt x="103823" y="18097"/>
                  </a:lnTo>
                  <a:lnTo>
                    <a:pt x="97155" y="21907"/>
                  </a:lnTo>
                  <a:lnTo>
                    <a:pt x="90488" y="27622"/>
                  </a:lnTo>
                  <a:lnTo>
                    <a:pt x="90488" y="32385"/>
                  </a:lnTo>
                  <a:lnTo>
                    <a:pt x="96202" y="36195"/>
                  </a:lnTo>
                  <a:lnTo>
                    <a:pt x="96202" y="37147"/>
                  </a:lnTo>
                  <a:lnTo>
                    <a:pt x="92393" y="42863"/>
                  </a:lnTo>
                  <a:lnTo>
                    <a:pt x="89535" y="45720"/>
                  </a:lnTo>
                  <a:lnTo>
                    <a:pt x="86677" y="45720"/>
                  </a:lnTo>
                  <a:lnTo>
                    <a:pt x="84773" y="44767"/>
                  </a:lnTo>
                  <a:lnTo>
                    <a:pt x="81915" y="45720"/>
                  </a:lnTo>
                  <a:lnTo>
                    <a:pt x="81915" y="48578"/>
                  </a:lnTo>
                  <a:lnTo>
                    <a:pt x="85725" y="52388"/>
                  </a:lnTo>
                  <a:lnTo>
                    <a:pt x="85725" y="54292"/>
                  </a:lnTo>
                  <a:lnTo>
                    <a:pt x="81915" y="54292"/>
                  </a:lnTo>
                  <a:lnTo>
                    <a:pt x="80010" y="52388"/>
                  </a:lnTo>
                  <a:lnTo>
                    <a:pt x="78105" y="52388"/>
                  </a:lnTo>
                  <a:lnTo>
                    <a:pt x="78105" y="55245"/>
                  </a:lnTo>
                  <a:lnTo>
                    <a:pt x="82868" y="57150"/>
                  </a:lnTo>
                  <a:lnTo>
                    <a:pt x="85725" y="57150"/>
                  </a:lnTo>
                  <a:lnTo>
                    <a:pt x="84773" y="60960"/>
                  </a:lnTo>
                  <a:lnTo>
                    <a:pt x="76200" y="60960"/>
                  </a:lnTo>
                  <a:lnTo>
                    <a:pt x="63818" y="62865"/>
                  </a:lnTo>
                  <a:lnTo>
                    <a:pt x="50482" y="68580"/>
                  </a:lnTo>
                  <a:lnTo>
                    <a:pt x="39052" y="72390"/>
                  </a:lnTo>
                  <a:lnTo>
                    <a:pt x="22860" y="92392"/>
                  </a:lnTo>
                  <a:lnTo>
                    <a:pt x="19050" y="94298"/>
                  </a:lnTo>
                  <a:lnTo>
                    <a:pt x="14288" y="89535"/>
                  </a:lnTo>
                  <a:lnTo>
                    <a:pt x="8572" y="85725"/>
                  </a:lnTo>
                  <a:lnTo>
                    <a:pt x="8572" y="71438"/>
                  </a:lnTo>
                  <a:lnTo>
                    <a:pt x="16193" y="60960"/>
                  </a:lnTo>
                  <a:lnTo>
                    <a:pt x="21907" y="51435"/>
                  </a:lnTo>
                  <a:lnTo>
                    <a:pt x="18098" y="43815"/>
                  </a:lnTo>
                  <a:lnTo>
                    <a:pt x="16193" y="33338"/>
                  </a:lnTo>
                  <a:lnTo>
                    <a:pt x="9525" y="28575"/>
                  </a:lnTo>
                  <a:lnTo>
                    <a:pt x="4763" y="28575"/>
                  </a:lnTo>
                  <a:lnTo>
                    <a:pt x="953" y="28575"/>
                  </a:lnTo>
                  <a:lnTo>
                    <a:pt x="0" y="23813"/>
                  </a:lnTo>
                  <a:lnTo>
                    <a:pt x="3810" y="20955"/>
                  </a:lnTo>
                  <a:lnTo>
                    <a:pt x="5715" y="21907"/>
                  </a:lnTo>
                  <a:lnTo>
                    <a:pt x="11430" y="21907"/>
                  </a:lnTo>
                  <a:lnTo>
                    <a:pt x="13335" y="20003"/>
                  </a:lnTo>
                  <a:lnTo>
                    <a:pt x="13335" y="16192"/>
                  </a:lnTo>
                  <a:lnTo>
                    <a:pt x="42863" y="3810"/>
                  </a:lnTo>
                  <a:lnTo>
                    <a:pt x="47625" y="3810"/>
                  </a:lnTo>
                  <a:lnTo>
                    <a:pt x="52388" y="6667"/>
                  </a:lnTo>
                  <a:lnTo>
                    <a:pt x="63818" y="57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0B8CAC9-C1CA-4C1D-AB6D-DADB0259296B}"/>
                </a:ext>
              </a:extLst>
            </p:cNvPr>
            <p:cNvSpPr/>
            <p:nvPr/>
          </p:nvSpPr>
          <p:spPr>
            <a:xfrm>
              <a:off x="5986462" y="3223259"/>
              <a:ext cx="22860" cy="12382"/>
            </a:xfrm>
            <a:custGeom>
              <a:avLst/>
              <a:gdLst>
                <a:gd name="connsiteX0" fmla="*/ 0 w 22860"/>
                <a:gd name="connsiteY0" fmla="*/ 2858 h 12382"/>
                <a:gd name="connsiteX1" fmla="*/ 2857 w 22860"/>
                <a:gd name="connsiteY1" fmla="*/ 0 h 12382"/>
                <a:gd name="connsiteX2" fmla="*/ 4763 w 22860"/>
                <a:gd name="connsiteY2" fmla="*/ 0 h 12382"/>
                <a:gd name="connsiteX3" fmla="*/ 7620 w 22860"/>
                <a:gd name="connsiteY3" fmla="*/ 3810 h 12382"/>
                <a:gd name="connsiteX4" fmla="*/ 9525 w 22860"/>
                <a:gd name="connsiteY4" fmla="*/ 3810 h 12382"/>
                <a:gd name="connsiteX5" fmla="*/ 13335 w 22860"/>
                <a:gd name="connsiteY5" fmla="*/ 1905 h 12382"/>
                <a:gd name="connsiteX6" fmla="*/ 20002 w 22860"/>
                <a:gd name="connsiteY6" fmla="*/ 953 h 12382"/>
                <a:gd name="connsiteX7" fmla="*/ 22860 w 22860"/>
                <a:gd name="connsiteY7" fmla="*/ 3810 h 12382"/>
                <a:gd name="connsiteX8" fmla="*/ 21907 w 22860"/>
                <a:gd name="connsiteY8" fmla="*/ 8572 h 12382"/>
                <a:gd name="connsiteX9" fmla="*/ 16193 w 22860"/>
                <a:gd name="connsiteY9" fmla="*/ 12383 h 12382"/>
                <a:gd name="connsiteX10" fmla="*/ 7620 w 22860"/>
                <a:gd name="connsiteY10" fmla="*/ 11430 h 12382"/>
                <a:gd name="connsiteX11" fmla="*/ 2857 w 22860"/>
                <a:gd name="connsiteY11" fmla="*/ 10478 h 12382"/>
                <a:gd name="connsiteX12" fmla="*/ 2857 w 22860"/>
                <a:gd name="connsiteY12" fmla="*/ 7620 h 12382"/>
                <a:gd name="connsiteX13" fmla="*/ 952 w 22860"/>
                <a:gd name="connsiteY13" fmla="*/ 6668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860" h="12382">
                  <a:moveTo>
                    <a:pt x="0" y="2858"/>
                  </a:moveTo>
                  <a:lnTo>
                    <a:pt x="2857" y="0"/>
                  </a:lnTo>
                  <a:lnTo>
                    <a:pt x="4763" y="0"/>
                  </a:lnTo>
                  <a:lnTo>
                    <a:pt x="7620" y="3810"/>
                  </a:lnTo>
                  <a:lnTo>
                    <a:pt x="9525" y="3810"/>
                  </a:lnTo>
                  <a:lnTo>
                    <a:pt x="13335" y="1905"/>
                  </a:lnTo>
                  <a:lnTo>
                    <a:pt x="20002" y="953"/>
                  </a:lnTo>
                  <a:lnTo>
                    <a:pt x="22860" y="3810"/>
                  </a:lnTo>
                  <a:lnTo>
                    <a:pt x="21907" y="8572"/>
                  </a:lnTo>
                  <a:lnTo>
                    <a:pt x="16193" y="12383"/>
                  </a:lnTo>
                  <a:lnTo>
                    <a:pt x="7620" y="11430"/>
                  </a:lnTo>
                  <a:lnTo>
                    <a:pt x="2857" y="10478"/>
                  </a:lnTo>
                  <a:lnTo>
                    <a:pt x="2857" y="7620"/>
                  </a:lnTo>
                  <a:lnTo>
                    <a:pt x="952" y="66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8763BFE-0167-41A4-AFAC-BBE084F2B02B}"/>
                </a:ext>
              </a:extLst>
            </p:cNvPr>
            <p:cNvSpPr/>
            <p:nvPr/>
          </p:nvSpPr>
          <p:spPr>
            <a:xfrm>
              <a:off x="6011227" y="3268980"/>
              <a:ext cx="15240" cy="15239"/>
            </a:xfrm>
            <a:custGeom>
              <a:avLst/>
              <a:gdLst>
                <a:gd name="connsiteX0" fmla="*/ 0 w 15240"/>
                <a:gd name="connsiteY0" fmla="*/ 15240 h 15239"/>
                <a:gd name="connsiteX1" fmla="*/ 1905 w 15240"/>
                <a:gd name="connsiteY1" fmla="*/ 11430 h 15239"/>
                <a:gd name="connsiteX2" fmla="*/ 0 w 15240"/>
                <a:gd name="connsiteY2" fmla="*/ 10477 h 15239"/>
                <a:gd name="connsiteX3" fmla="*/ 1905 w 15240"/>
                <a:gd name="connsiteY3" fmla="*/ 7620 h 15239"/>
                <a:gd name="connsiteX4" fmla="*/ 4763 w 15240"/>
                <a:gd name="connsiteY4" fmla="*/ 1905 h 15239"/>
                <a:gd name="connsiteX5" fmla="*/ 9525 w 15240"/>
                <a:gd name="connsiteY5" fmla="*/ 0 h 15239"/>
                <a:gd name="connsiteX6" fmla="*/ 12383 w 15240"/>
                <a:gd name="connsiteY6" fmla="*/ 0 h 15239"/>
                <a:gd name="connsiteX7" fmla="*/ 15240 w 15240"/>
                <a:gd name="connsiteY7" fmla="*/ 952 h 15239"/>
                <a:gd name="connsiteX8" fmla="*/ 12383 w 15240"/>
                <a:gd name="connsiteY8" fmla="*/ 5715 h 15239"/>
                <a:gd name="connsiteX9" fmla="*/ 10478 w 15240"/>
                <a:gd name="connsiteY9" fmla="*/ 10477 h 15239"/>
                <a:gd name="connsiteX10" fmla="*/ 6668 w 15240"/>
                <a:gd name="connsiteY10" fmla="*/ 15240 h 15239"/>
                <a:gd name="connsiteX11" fmla="*/ 4763 w 15240"/>
                <a:gd name="connsiteY11" fmla="*/ 15240 h 15239"/>
                <a:gd name="connsiteX12" fmla="*/ 3810 w 15240"/>
                <a:gd name="connsiteY12" fmla="*/ 14288 h 15239"/>
                <a:gd name="connsiteX13" fmla="*/ 1905 w 15240"/>
                <a:gd name="connsiteY13" fmla="*/ 15240 h 1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240" h="15239">
                  <a:moveTo>
                    <a:pt x="0" y="15240"/>
                  </a:moveTo>
                  <a:lnTo>
                    <a:pt x="1905" y="11430"/>
                  </a:lnTo>
                  <a:lnTo>
                    <a:pt x="0" y="10477"/>
                  </a:lnTo>
                  <a:lnTo>
                    <a:pt x="1905" y="7620"/>
                  </a:lnTo>
                  <a:lnTo>
                    <a:pt x="4763" y="1905"/>
                  </a:lnTo>
                  <a:lnTo>
                    <a:pt x="9525" y="0"/>
                  </a:lnTo>
                  <a:lnTo>
                    <a:pt x="12383" y="0"/>
                  </a:lnTo>
                  <a:lnTo>
                    <a:pt x="15240" y="952"/>
                  </a:lnTo>
                  <a:lnTo>
                    <a:pt x="12383" y="5715"/>
                  </a:lnTo>
                  <a:lnTo>
                    <a:pt x="10478" y="10477"/>
                  </a:lnTo>
                  <a:lnTo>
                    <a:pt x="6668" y="15240"/>
                  </a:lnTo>
                  <a:lnTo>
                    <a:pt x="4763" y="15240"/>
                  </a:lnTo>
                  <a:lnTo>
                    <a:pt x="3810" y="14288"/>
                  </a:lnTo>
                  <a:lnTo>
                    <a:pt x="1905" y="1524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51D1E64-08DF-4E18-932C-345BBAAB6E43}"/>
                </a:ext>
              </a:extLst>
            </p:cNvPr>
            <p:cNvSpPr/>
            <p:nvPr/>
          </p:nvSpPr>
          <p:spPr>
            <a:xfrm>
              <a:off x="6023610" y="3254692"/>
              <a:ext cx="21907" cy="34289"/>
            </a:xfrm>
            <a:custGeom>
              <a:avLst/>
              <a:gdLst>
                <a:gd name="connsiteX0" fmla="*/ 11430 w 21907"/>
                <a:gd name="connsiteY0" fmla="*/ 0 h 34289"/>
                <a:gd name="connsiteX1" fmla="*/ 11430 w 21907"/>
                <a:gd name="connsiteY1" fmla="*/ 952 h 34289"/>
                <a:gd name="connsiteX2" fmla="*/ 9525 w 21907"/>
                <a:gd name="connsiteY2" fmla="*/ 2857 h 34289"/>
                <a:gd name="connsiteX3" fmla="*/ 12382 w 21907"/>
                <a:gd name="connsiteY3" fmla="*/ 3810 h 34289"/>
                <a:gd name="connsiteX4" fmla="*/ 14288 w 21907"/>
                <a:gd name="connsiteY4" fmla="*/ 6668 h 34289"/>
                <a:gd name="connsiteX5" fmla="*/ 11430 w 21907"/>
                <a:gd name="connsiteY5" fmla="*/ 8572 h 34289"/>
                <a:gd name="connsiteX6" fmla="*/ 11430 w 21907"/>
                <a:gd name="connsiteY6" fmla="*/ 10477 h 34289"/>
                <a:gd name="connsiteX7" fmla="*/ 13335 w 21907"/>
                <a:gd name="connsiteY7" fmla="*/ 14288 h 34289"/>
                <a:gd name="connsiteX8" fmla="*/ 15240 w 21907"/>
                <a:gd name="connsiteY8" fmla="*/ 19050 h 34289"/>
                <a:gd name="connsiteX9" fmla="*/ 18097 w 21907"/>
                <a:gd name="connsiteY9" fmla="*/ 23813 h 34289"/>
                <a:gd name="connsiteX10" fmla="*/ 21907 w 21907"/>
                <a:gd name="connsiteY10" fmla="*/ 23813 h 34289"/>
                <a:gd name="connsiteX11" fmla="*/ 21907 w 21907"/>
                <a:gd name="connsiteY11" fmla="*/ 26670 h 34289"/>
                <a:gd name="connsiteX12" fmla="*/ 19050 w 21907"/>
                <a:gd name="connsiteY12" fmla="*/ 30480 h 34289"/>
                <a:gd name="connsiteX13" fmla="*/ 13335 w 21907"/>
                <a:gd name="connsiteY13" fmla="*/ 31432 h 34289"/>
                <a:gd name="connsiteX14" fmla="*/ 5715 w 21907"/>
                <a:gd name="connsiteY14" fmla="*/ 33338 h 34289"/>
                <a:gd name="connsiteX15" fmla="*/ 0 w 21907"/>
                <a:gd name="connsiteY15" fmla="*/ 34290 h 34289"/>
                <a:gd name="connsiteX16" fmla="*/ 952 w 21907"/>
                <a:gd name="connsiteY16" fmla="*/ 32385 h 34289"/>
                <a:gd name="connsiteX17" fmla="*/ 4763 w 21907"/>
                <a:gd name="connsiteY17" fmla="*/ 30480 h 34289"/>
                <a:gd name="connsiteX18" fmla="*/ 4763 w 21907"/>
                <a:gd name="connsiteY18" fmla="*/ 28575 h 34289"/>
                <a:gd name="connsiteX19" fmla="*/ 3810 w 21907"/>
                <a:gd name="connsiteY19" fmla="*/ 27622 h 34289"/>
                <a:gd name="connsiteX20" fmla="*/ 5715 w 21907"/>
                <a:gd name="connsiteY20" fmla="*/ 22860 h 34289"/>
                <a:gd name="connsiteX21" fmla="*/ 9525 w 21907"/>
                <a:gd name="connsiteY21" fmla="*/ 20002 h 34289"/>
                <a:gd name="connsiteX22" fmla="*/ 9525 w 21907"/>
                <a:gd name="connsiteY22" fmla="*/ 16193 h 34289"/>
                <a:gd name="connsiteX23" fmla="*/ 6667 w 21907"/>
                <a:gd name="connsiteY23" fmla="*/ 15240 h 34289"/>
                <a:gd name="connsiteX24" fmla="*/ 2857 w 21907"/>
                <a:gd name="connsiteY24" fmla="*/ 10477 h 34289"/>
                <a:gd name="connsiteX25" fmla="*/ 2857 w 21907"/>
                <a:gd name="connsiteY25" fmla="*/ 4763 h 34289"/>
                <a:gd name="connsiteX26" fmla="*/ 5715 w 21907"/>
                <a:gd name="connsiteY26" fmla="*/ 0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907" h="34289">
                  <a:moveTo>
                    <a:pt x="11430" y="0"/>
                  </a:moveTo>
                  <a:lnTo>
                    <a:pt x="11430" y="952"/>
                  </a:lnTo>
                  <a:lnTo>
                    <a:pt x="9525" y="2857"/>
                  </a:lnTo>
                  <a:lnTo>
                    <a:pt x="12382" y="3810"/>
                  </a:lnTo>
                  <a:lnTo>
                    <a:pt x="14288" y="6668"/>
                  </a:lnTo>
                  <a:lnTo>
                    <a:pt x="11430" y="8572"/>
                  </a:lnTo>
                  <a:lnTo>
                    <a:pt x="11430" y="10477"/>
                  </a:lnTo>
                  <a:lnTo>
                    <a:pt x="13335" y="14288"/>
                  </a:lnTo>
                  <a:lnTo>
                    <a:pt x="15240" y="19050"/>
                  </a:lnTo>
                  <a:lnTo>
                    <a:pt x="18097" y="23813"/>
                  </a:lnTo>
                  <a:lnTo>
                    <a:pt x="21907" y="23813"/>
                  </a:lnTo>
                  <a:lnTo>
                    <a:pt x="21907" y="26670"/>
                  </a:lnTo>
                  <a:lnTo>
                    <a:pt x="19050" y="30480"/>
                  </a:lnTo>
                  <a:lnTo>
                    <a:pt x="13335" y="31432"/>
                  </a:lnTo>
                  <a:lnTo>
                    <a:pt x="5715" y="33338"/>
                  </a:lnTo>
                  <a:lnTo>
                    <a:pt x="0" y="34290"/>
                  </a:lnTo>
                  <a:lnTo>
                    <a:pt x="952" y="32385"/>
                  </a:lnTo>
                  <a:lnTo>
                    <a:pt x="4763" y="30480"/>
                  </a:lnTo>
                  <a:lnTo>
                    <a:pt x="4763" y="28575"/>
                  </a:lnTo>
                  <a:lnTo>
                    <a:pt x="3810" y="27622"/>
                  </a:lnTo>
                  <a:lnTo>
                    <a:pt x="5715" y="22860"/>
                  </a:lnTo>
                  <a:lnTo>
                    <a:pt x="9525" y="20002"/>
                  </a:lnTo>
                  <a:lnTo>
                    <a:pt x="9525" y="16193"/>
                  </a:lnTo>
                  <a:lnTo>
                    <a:pt x="6667" y="15240"/>
                  </a:lnTo>
                  <a:lnTo>
                    <a:pt x="2857" y="10477"/>
                  </a:lnTo>
                  <a:lnTo>
                    <a:pt x="2857" y="4763"/>
                  </a:lnTo>
                  <a:lnTo>
                    <a:pt x="571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98E2F89-421F-481C-9F97-EFBDC3E8BE8B}"/>
                </a:ext>
              </a:extLst>
            </p:cNvPr>
            <p:cNvSpPr/>
            <p:nvPr/>
          </p:nvSpPr>
          <p:spPr>
            <a:xfrm>
              <a:off x="5978842" y="3179444"/>
              <a:ext cx="497205" cy="444817"/>
            </a:xfrm>
            <a:custGeom>
              <a:avLst/>
              <a:gdLst>
                <a:gd name="connsiteX0" fmla="*/ 32385 w 497205"/>
                <a:gd name="connsiteY0" fmla="*/ 160020 h 444817"/>
                <a:gd name="connsiteX1" fmla="*/ 32385 w 497205"/>
                <a:gd name="connsiteY1" fmla="*/ 140970 h 444817"/>
                <a:gd name="connsiteX2" fmla="*/ 32385 w 497205"/>
                <a:gd name="connsiteY2" fmla="*/ 136208 h 444817"/>
                <a:gd name="connsiteX3" fmla="*/ 37147 w 497205"/>
                <a:gd name="connsiteY3" fmla="*/ 135255 h 444817"/>
                <a:gd name="connsiteX4" fmla="*/ 42863 w 497205"/>
                <a:gd name="connsiteY4" fmla="*/ 135255 h 444817"/>
                <a:gd name="connsiteX5" fmla="*/ 49530 w 497205"/>
                <a:gd name="connsiteY5" fmla="*/ 137160 h 444817"/>
                <a:gd name="connsiteX6" fmla="*/ 52388 w 497205"/>
                <a:gd name="connsiteY6" fmla="*/ 137160 h 444817"/>
                <a:gd name="connsiteX7" fmla="*/ 56197 w 497205"/>
                <a:gd name="connsiteY7" fmla="*/ 135255 h 444817"/>
                <a:gd name="connsiteX8" fmla="*/ 55245 w 497205"/>
                <a:gd name="connsiteY8" fmla="*/ 132398 h 444817"/>
                <a:gd name="connsiteX9" fmla="*/ 57150 w 497205"/>
                <a:gd name="connsiteY9" fmla="*/ 129540 h 444817"/>
                <a:gd name="connsiteX10" fmla="*/ 56197 w 497205"/>
                <a:gd name="connsiteY10" fmla="*/ 123825 h 444817"/>
                <a:gd name="connsiteX11" fmla="*/ 52388 w 497205"/>
                <a:gd name="connsiteY11" fmla="*/ 120968 h 444817"/>
                <a:gd name="connsiteX12" fmla="*/ 48577 w 497205"/>
                <a:gd name="connsiteY12" fmla="*/ 119063 h 444817"/>
                <a:gd name="connsiteX13" fmla="*/ 47625 w 497205"/>
                <a:gd name="connsiteY13" fmla="*/ 118110 h 444817"/>
                <a:gd name="connsiteX14" fmla="*/ 47625 w 497205"/>
                <a:gd name="connsiteY14" fmla="*/ 115253 h 444817"/>
                <a:gd name="connsiteX15" fmla="*/ 53340 w 497205"/>
                <a:gd name="connsiteY15" fmla="*/ 115253 h 444817"/>
                <a:gd name="connsiteX16" fmla="*/ 54293 w 497205"/>
                <a:gd name="connsiteY16" fmla="*/ 112395 h 444817"/>
                <a:gd name="connsiteX17" fmla="*/ 53340 w 497205"/>
                <a:gd name="connsiteY17" fmla="*/ 111443 h 444817"/>
                <a:gd name="connsiteX18" fmla="*/ 56197 w 497205"/>
                <a:gd name="connsiteY18" fmla="*/ 110490 h 444817"/>
                <a:gd name="connsiteX19" fmla="*/ 57150 w 497205"/>
                <a:gd name="connsiteY19" fmla="*/ 113348 h 444817"/>
                <a:gd name="connsiteX20" fmla="*/ 60960 w 497205"/>
                <a:gd name="connsiteY20" fmla="*/ 113348 h 444817"/>
                <a:gd name="connsiteX21" fmla="*/ 67627 w 497205"/>
                <a:gd name="connsiteY21" fmla="*/ 105728 h 444817"/>
                <a:gd name="connsiteX22" fmla="*/ 70485 w 497205"/>
                <a:gd name="connsiteY22" fmla="*/ 104775 h 444817"/>
                <a:gd name="connsiteX23" fmla="*/ 72390 w 497205"/>
                <a:gd name="connsiteY23" fmla="*/ 101918 h 444817"/>
                <a:gd name="connsiteX24" fmla="*/ 74295 w 497205"/>
                <a:gd name="connsiteY24" fmla="*/ 100965 h 444817"/>
                <a:gd name="connsiteX25" fmla="*/ 75247 w 497205"/>
                <a:gd name="connsiteY25" fmla="*/ 103823 h 444817"/>
                <a:gd name="connsiteX26" fmla="*/ 76200 w 497205"/>
                <a:gd name="connsiteY26" fmla="*/ 102870 h 444817"/>
                <a:gd name="connsiteX27" fmla="*/ 76200 w 497205"/>
                <a:gd name="connsiteY27" fmla="*/ 97155 h 444817"/>
                <a:gd name="connsiteX28" fmla="*/ 80010 w 497205"/>
                <a:gd name="connsiteY28" fmla="*/ 96203 h 444817"/>
                <a:gd name="connsiteX29" fmla="*/ 84772 w 497205"/>
                <a:gd name="connsiteY29" fmla="*/ 95250 h 444817"/>
                <a:gd name="connsiteX30" fmla="*/ 85725 w 497205"/>
                <a:gd name="connsiteY30" fmla="*/ 91440 h 444817"/>
                <a:gd name="connsiteX31" fmla="*/ 85725 w 497205"/>
                <a:gd name="connsiteY31" fmla="*/ 84773 h 444817"/>
                <a:gd name="connsiteX32" fmla="*/ 84772 w 497205"/>
                <a:gd name="connsiteY32" fmla="*/ 81915 h 444817"/>
                <a:gd name="connsiteX33" fmla="*/ 87630 w 497205"/>
                <a:gd name="connsiteY33" fmla="*/ 80010 h 444817"/>
                <a:gd name="connsiteX34" fmla="*/ 90488 w 497205"/>
                <a:gd name="connsiteY34" fmla="*/ 79057 h 444817"/>
                <a:gd name="connsiteX35" fmla="*/ 91440 w 497205"/>
                <a:gd name="connsiteY35" fmla="*/ 81915 h 444817"/>
                <a:gd name="connsiteX36" fmla="*/ 91440 w 497205"/>
                <a:gd name="connsiteY36" fmla="*/ 86678 h 444817"/>
                <a:gd name="connsiteX37" fmla="*/ 89535 w 497205"/>
                <a:gd name="connsiteY37" fmla="*/ 88582 h 444817"/>
                <a:gd name="connsiteX38" fmla="*/ 89535 w 497205"/>
                <a:gd name="connsiteY38" fmla="*/ 91440 h 444817"/>
                <a:gd name="connsiteX39" fmla="*/ 92393 w 497205"/>
                <a:gd name="connsiteY39" fmla="*/ 92393 h 444817"/>
                <a:gd name="connsiteX40" fmla="*/ 97155 w 497205"/>
                <a:gd name="connsiteY40" fmla="*/ 93345 h 444817"/>
                <a:gd name="connsiteX41" fmla="*/ 100013 w 497205"/>
                <a:gd name="connsiteY41" fmla="*/ 93345 h 444817"/>
                <a:gd name="connsiteX42" fmla="*/ 104775 w 497205"/>
                <a:gd name="connsiteY42" fmla="*/ 91440 h 444817"/>
                <a:gd name="connsiteX43" fmla="*/ 107632 w 497205"/>
                <a:gd name="connsiteY43" fmla="*/ 91440 h 444817"/>
                <a:gd name="connsiteX44" fmla="*/ 112395 w 497205"/>
                <a:gd name="connsiteY44" fmla="*/ 91440 h 444817"/>
                <a:gd name="connsiteX45" fmla="*/ 115252 w 497205"/>
                <a:gd name="connsiteY45" fmla="*/ 92393 h 444817"/>
                <a:gd name="connsiteX46" fmla="*/ 117157 w 497205"/>
                <a:gd name="connsiteY46" fmla="*/ 91440 h 444817"/>
                <a:gd name="connsiteX47" fmla="*/ 118110 w 497205"/>
                <a:gd name="connsiteY47" fmla="*/ 86678 h 444817"/>
                <a:gd name="connsiteX48" fmla="*/ 120015 w 497205"/>
                <a:gd name="connsiteY48" fmla="*/ 81915 h 444817"/>
                <a:gd name="connsiteX49" fmla="*/ 121920 w 497205"/>
                <a:gd name="connsiteY49" fmla="*/ 80010 h 444817"/>
                <a:gd name="connsiteX50" fmla="*/ 123825 w 497205"/>
                <a:gd name="connsiteY50" fmla="*/ 80010 h 444817"/>
                <a:gd name="connsiteX51" fmla="*/ 124777 w 497205"/>
                <a:gd name="connsiteY51" fmla="*/ 80963 h 444817"/>
                <a:gd name="connsiteX52" fmla="*/ 127635 w 497205"/>
                <a:gd name="connsiteY52" fmla="*/ 80010 h 444817"/>
                <a:gd name="connsiteX53" fmla="*/ 127635 w 497205"/>
                <a:gd name="connsiteY53" fmla="*/ 77153 h 444817"/>
                <a:gd name="connsiteX54" fmla="*/ 126682 w 497205"/>
                <a:gd name="connsiteY54" fmla="*/ 73343 h 444817"/>
                <a:gd name="connsiteX55" fmla="*/ 133350 w 497205"/>
                <a:gd name="connsiteY55" fmla="*/ 72390 h 444817"/>
                <a:gd name="connsiteX56" fmla="*/ 136208 w 497205"/>
                <a:gd name="connsiteY56" fmla="*/ 72390 h 444817"/>
                <a:gd name="connsiteX57" fmla="*/ 140018 w 497205"/>
                <a:gd name="connsiteY57" fmla="*/ 70485 h 444817"/>
                <a:gd name="connsiteX58" fmla="*/ 138113 w 497205"/>
                <a:gd name="connsiteY58" fmla="*/ 68580 h 444817"/>
                <a:gd name="connsiteX59" fmla="*/ 137160 w 497205"/>
                <a:gd name="connsiteY59" fmla="*/ 67628 h 444817"/>
                <a:gd name="connsiteX60" fmla="*/ 134302 w 497205"/>
                <a:gd name="connsiteY60" fmla="*/ 68580 h 444817"/>
                <a:gd name="connsiteX61" fmla="*/ 131445 w 497205"/>
                <a:gd name="connsiteY61" fmla="*/ 69533 h 444817"/>
                <a:gd name="connsiteX62" fmla="*/ 127635 w 497205"/>
                <a:gd name="connsiteY62" fmla="*/ 70485 h 444817"/>
                <a:gd name="connsiteX63" fmla="*/ 123825 w 497205"/>
                <a:gd name="connsiteY63" fmla="*/ 70485 h 444817"/>
                <a:gd name="connsiteX64" fmla="*/ 119063 w 497205"/>
                <a:gd name="connsiteY64" fmla="*/ 60960 h 444817"/>
                <a:gd name="connsiteX65" fmla="*/ 119063 w 497205"/>
                <a:gd name="connsiteY65" fmla="*/ 58103 h 444817"/>
                <a:gd name="connsiteX66" fmla="*/ 122872 w 497205"/>
                <a:gd name="connsiteY66" fmla="*/ 54293 h 444817"/>
                <a:gd name="connsiteX67" fmla="*/ 125730 w 497205"/>
                <a:gd name="connsiteY67" fmla="*/ 51435 h 444817"/>
                <a:gd name="connsiteX68" fmla="*/ 125730 w 497205"/>
                <a:gd name="connsiteY68" fmla="*/ 46673 h 444817"/>
                <a:gd name="connsiteX69" fmla="*/ 124777 w 497205"/>
                <a:gd name="connsiteY69" fmla="*/ 46673 h 444817"/>
                <a:gd name="connsiteX70" fmla="*/ 121920 w 497205"/>
                <a:gd name="connsiteY70" fmla="*/ 45720 h 444817"/>
                <a:gd name="connsiteX71" fmla="*/ 119063 w 497205"/>
                <a:gd name="connsiteY71" fmla="*/ 48578 h 444817"/>
                <a:gd name="connsiteX72" fmla="*/ 115252 w 497205"/>
                <a:gd name="connsiteY72" fmla="*/ 52388 h 444817"/>
                <a:gd name="connsiteX73" fmla="*/ 115252 w 497205"/>
                <a:gd name="connsiteY73" fmla="*/ 55245 h 444817"/>
                <a:gd name="connsiteX74" fmla="*/ 111443 w 497205"/>
                <a:gd name="connsiteY74" fmla="*/ 57150 h 444817"/>
                <a:gd name="connsiteX75" fmla="*/ 108585 w 497205"/>
                <a:gd name="connsiteY75" fmla="*/ 63818 h 444817"/>
                <a:gd name="connsiteX76" fmla="*/ 110490 w 497205"/>
                <a:gd name="connsiteY76" fmla="*/ 68580 h 444817"/>
                <a:gd name="connsiteX77" fmla="*/ 110490 w 497205"/>
                <a:gd name="connsiteY77" fmla="*/ 71438 h 444817"/>
                <a:gd name="connsiteX78" fmla="*/ 107632 w 497205"/>
                <a:gd name="connsiteY78" fmla="*/ 76200 h 444817"/>
                <a:gd name="connsiteX79" fmla="*/ 105727 w 497205"/>
                <a:gd name="connsiteY79" fmla="*/ 80963 h 444817"/>
                <a:gd name="connsiteX80" fmla="*/ 105727 w 497205"/>
                <a:gd name="connsiteY80" fmla="*/ 83820 h 444817"/>
                <a:gd name="connsiteX81" fmla="*/ 103822 w 497205"/>
                <a:gd name="connsiteY81" fmla="*/ 85725 h 444817"/>
                <a:gd name="connsiteX82" fmla="*/ 101918 w 497205"/>
                <a:gd name="connsiteY82" fmla="*/ 86678 h 444817"/>
                <a:gd name="connsiteX83" fmla="*/ 100965 w 497205"/>
                <a:gd name="connsiteY83" fmla="*/ 88582 h 444817"/>
                <a:gd name="connsiteX84" fmla="*/ 97155 w 497205"/>
                <a:gd name="connsiteY84" fmla="*/ 88582 h 444817"/>
                <a:gd name="connsiteX85" fmla="*/ 97155 w 497205"/>
                <a:gd name="connsiteY85" fmla="*/ 84773 h 444817"/>
                <a:gd name="connsiteX86" fmla="*/ 95250 w 497205"/>
                <a:gd name="connsiteY86" fmla="*/ 81915 h 444817"/>
                <a:gd name="connsiteX87" fmla="*/ 93345 w 497205"/>
                <a:gd name="connsiteY87" fmla="*/ 80010 h 444817"/>
                <a:gd name="connsiteX88" fmla="*/ 93345 w 497205"/>
                <a:gd name="connsiteY88" fmla="*/ 75248 h 444817"/>
                <a:gd name="connsiteX89" fmla="*/ 92393 w 497205"/>
                <a:gd name="connsiteY89" fmla="*/ 76200 h 444817"/>
                <a:gd name="connsiteX90" fmla="*/ 92393 w 497205"/>
                <a:gd name="connsiteY90" fmla="*/ 73343 h 444817"/>
                <a:gd name="connsiteX91" fmla="*/ 88582 w 497205"/>
                <a:gd name="connsiteY91" fmla="*/ 75248 h 444817"/>
                <a:gd name="connsiteX92" fmla="*/ 87630 w 497205"/>
                <a:gd name="connsiteY92" fmla="*/ 75248 h 444817"/>
                <a:gd name="connsiteX93" fmla="*/ 85725 w 497205"/>
                <a:gd name="connsiteY93" fmla="*/ 77153 h 444817"/>
                <a:gd name="connsiteX94" fmla="*/ 81915 w 497205"/>
                <a:gd name="connsiteY94" fmla="*/ 77153 h 444817"/>
                <a:gd name="connsiteX95" fmla="*/ 80010 w 497205"/>
                <a:gd name="connsiteY95" fmla="*/ 74295 h 444817"/>
                <a:gd name="connsiteX96" fmla="*/ 80010 w 497205"/>
                <a:gd name="connsiteY96" fmla="*/ 64770 h 444817"/>
                <a:gd name="connsiteX97" fmla="*/ 84772 w 497205"/>
                <a:gd name="connsiteY97" fmla="*/ 60960 h 444817"/>
                <a:gd name="connsiteX98" fmla="*/ 88582 w 497205"/>
                <a:gd name="connsiteY98" fmla="*/ 57150 h 444817"/>
                <a:gd name="connsiteX99" fmla="*/ 97155 w 497205"/>
                <a:gd name="connsiteY99" fmla="*/ 48578 h 444817"/>
                <a:gd name="connsiteX100" fmla="*/ 103822 w 497205"/>
                <a:gd name="connsiteY100" fmla="*/ 42863 h 444817"/>
                <a:gd name="connsiteX101" fmla="*/ 112395 w 497205"/>
                <a:gd name="connsiteY101" fmla="*/ 34290 h 444817"/>
                <a:gd name="connsiteX102" fmla="*/ 125730 w 497205"/>
                <a:gd name="connsiteY102" fmla="*/ 25718 h 444817"/>
                <a:gd name="connsiteX103" fmla="*/ 132397 w 497205"/>
                <a:gd name="connsiteY103" fmla="*/ 25718 h 444817"/>
                <a:gd name="connsiteX104" fmla="*/ 138113 w 497205"/>
                <a:gd name="connsiteY104" fmla="*/ 27623 h 444817"/>
                <a:gd name="connsiteX105" fmla="*/ 140970 w 497205"/>
                <a:gd name="connsiteY105" fmla="*/ 29528 h 444817"/>
                <a:gd name="connsiteX106" fmla="*/ 150495 w 497205"/>
                <a:gd name="connsiteY106" fmla="*/ 33338 h 444817"/>
                <a:gd name="connsiteX107" fmla="*/ 159068 w 497205"/>
                <a:gd name="connsiteY107" fmla="*/ 39053 h 444817"/>
                <a:gd name="connsiteX108" fmla="*/ 160972 w 497205"/>
                <a:gd name="connsiteY108" fmla="*/ 39053 h 444817"/>
                <a:gd name="connsiteX109" fmla="*/ 162877 w 497205"/>
                <a:gd name="connsiteY109" fmla="*/ 40958 h 444817"/>
                <a:gd name="connsiteX110" fmla="*/ 163830 w 497205"/>
                <a:gd name="connsiteY110" fmla="*/ 41910 h 444817"/>
                <a:gd name="connsiteX111" fmla="*/ 163830 w 497205"/>
                <a:gd name="connsiteY111" fmla="*/ 44768 h 444817"/>
                <a:gd name="connsiteX112" fmla="*/ 162877 w 497205"/>
                <a:gd name="connsiteY112" fmla="*/ 46673 h 444817"/>
                <a:gd name="connsiteX113" fmla="*/ 159068 w 497205"/>
                <a:gd name="connsiteY113" fmla="*/ 46673 h 444817"/>
                <a:gd name="connsiteX114" fmla="*/ 154305 w 497205"/>
                <a:gd name="connsiteY114" fmla="*/ 44768 h 444817"/>
                <a:gd name="connsiteX115" fmla="*/ 150495 w 497205"/>
                <a:gd name="connsiteY115" fmla="*/ 43815 h 444817"/>
                <a:gd name="connsiteX116" fmla="*/ 146685 w 497205"/>
                <a:gd name="connsiteY116" fmla="*/ 41910 h 444817"/>
                <a:gd name="connsiteX117" fmla="*/ 146685 w 497205"/>
                <a:gd name="connsiteY117" fmla="*/ 45720 h 444817"/>
                <a:gd name="connsiteX118" fmla="*/ 148590 w 497205"/>
                <a:gd name="connsiteY118" fmla="*/ 47625 h 444817"/>
                <a:gd name="connsiteX119" fmla="*/ 152400 w 497205"/>
                <a:gd name="connsiteY119" fmla="*/ 49530 h 444817"/>
                <a:gd name="connsiteX120" fmla="*/ 157163 w 497205"/>
                <a:gd name="connsiteY120" fmla="*/ 54293 h 444817"/>
                <a:gd name="connsiteX121" fmla="*/ 160020 w 497205"/>
                <a:gd name="connsiteY121" fmla="*/ 54293 h 444817"/>
                <a:gd name="connsiteX122" fmla="*/ 166688 w 497205"/>
                <a:gd name="connsiteY122" fmla="*/ 48578 h 444817"/>
                <a:gd name="connsiteX123" fmla="*/ 168593 w 497205"/>
                <a:gd name="connsiteY123" fmla="*/ 47625 h 444817"/>
                <a:gd name="connsiteX124" fmla="*/ 171450 w 497205"/>
                <a:gd name="connsiteY124" fmla="*/ 44768 h 444817"/>
                <a:gd name="connsiteX125" fmla="*/ 172402 w 497205"/>
                <a:gd name="connsiteY125" fmla="*/ 46673 h 444817"/>
                <a:gd name="connsiteX126" fmla="*/ 175260 w 497205"/>
                <a:gd name="connsiteY126" fmla="*/ 46673 h 444817"/>
                <a:gd name="connsiteX127" fmla="*/ 175260 w 497205"/>
                <a:gd name="connsiteY127" fmla="*/ 42863 h 444817"/>
                <a:gd name="connsiteX128" fmla="*/ 173355 w 497205"/>
                <a:gd name="connsiteY128" fmla="*/ 41910 h 444817"/>
                <a:gd name="connsiteX129" fmla="*/ 173355 w 497205"/>
                <a:gd name="connsiteY129" fmla="*/ 39053 h 444817"/>
                <a:gd name="connsiteX130" fmla="*/ 171450 w 497205"/>
                <a:gd name="connsiteY130" fmla="*/ 38100 h 444817"/>
                <a:gd name="connsiteX131" fmla="*/ 171450 w 497205"/>
                <a:gd name="connsiteY131" fmla="*/ 34290 h 444817"/>
                <a:gd name="connsiteX132" fmla="*/ 173355 w 497205"/>
                <a:gd name="connsiteY132" fmla="*/ 34290 h 444817"/>
                <a:gd name="connsiteX133" fmla="*/ 177165 w 497205"/>
                <a:gd name="connsiteY133" fmla="*/ 37148 h 444817"/>
                <a:gd name="connsiteX134" fmla="*/ 177165 w 497205"/>
                <a:gd name="connsiteY134" fmla="*/ 40958 h 444817"/>
                <a:gd name="connsiteX135" fmla="*/ 179070 w 497205"/>
                <a:gd name="connsiteY135" fmla="*/ 40958 h 444817"/>
                <a:gd name="connsiteX136" fmla="*/ 184785 w 497205"/>
                <a:gd name="connsiteY136" fmla="*/ 39053 h 444817"/>
                <a:gd name="connsiteX137" fmla="*/ 192405 w 497205"/>
                <a:gd name="connsiteY137" fmla="*/ 36195 h 444817"/>
                <a:gd name="connsiteX138" fmla="*/ 198120 w 497205"/>
                <a:gd name="connsiteY138" fmla="*/ 34290 h 444817"/>
                <a:gd name="connsiteX139" fmla="*/ 206693 w 497205"/>
                <a:gd name="connsiteY139" fmla="*/ 32385 h 444817"/>
                <a:gd name="connsiteX140" fmla="*/ 216218 w 497205"/>
                <a:gd name="connsiteY140" fmla="*/ 31433 h 444817"/>
                <a:gd name="connsiteX141" fmla="*/ 220980 w 497205"/>
                <a:gd name="connsiteY141" fmla="*/ 34290 h 444817"/>
                <a:gd name="connsiteX142" fmla="*/ 224790 w 497205"/>
                <a:gd name="connsiteY142" fmla="*/ 34290 h 444817"/>
                <a:gd name="connsiteX143" fmla="*/ 224790 w 497205"/>
                <a:gd name="connsiteY143" fmla="*/ 31433 h 444817"/>
                <a:gd name="connsiteX144" fmla="*/ 221933 w 497205"/>
                <a:gd name="connsiteY144" fmla="*/ 27623 h 444817"/>
                <a:gd name="connsiteX145" fmla="*/ 219075 w 497205"/>
                <a:gd name="connsiteY145" fmla="*/ 26670 h 444817"/>
                <a:gd name="connsiteX146" fmla="*/ 219075 w 497205"/>
                <a:gd name="connsiteY146" fmla="*/ 23813 h 444817"/>
                <a:gd name="connsiteX147" fmla="*/ 224790 w 497205"/>
                <a:gd name="connsiteY147" fmla="*/ 18098 h 444817"/>
                <a:gd name="connsiteX148" fmla="*/ 225743 w 497205"/>
                <a:gd name="connsiteY148" fmla="*/ 17145 h 444817"/>
                <a:gd name="connsiteX149" fmla="*/ 229552 w 497205"/>
                <a:gd name="connsiteY149" fmla="*/ 16193 h 444817"/>
                <a:gd name="connsiteX150" fmla="*/ 230505 w 497205"/>
                <a:gd name="connsiteY150" fmla="*/ 18098 h 444817"/>
                <a:gd name="connsiteX151" fmla="*/ 230505 w 497205"/>
                <a:gd name="connsiteY151" fmla="*/ 21908 h 444817"/>
                <a:gd name="connsiteX152" fmla="*/ 239077 w 497205"/>
                <a:gd name="connsiteY152" fmla="*/ 33338 h 444817"/>
                <a:gd name="connsiteX153" fmla="*/ 239077 w 497205"/>
                <a:gd name="connsiteY153" fmla="*/ 38100 h 444817"/>
                <a:gd name="connsiteX154" fmla="*/ 236220 w 497205"/>
                <a:gd name="connsiteY154" fmla="*/ 39053 h 444817"/>
                <a:gd name="connsiteX155" fmla="*/ 234315 w 497205"/>
                <a:gd name="connsiteY155" fmla="*/ 41910 h 444817"/>
                <a:gd name="connsiteX156" fmla="*/ 239077 w 497205"/>
                <a:gd name="connsiteY156" fmla="*/ 41910 h 444817"/>
                <a:gd name="connsiteX157" fmla="*/ 241935 w 497205"/>
                <a:gd name="connsiteY157" fmla="*/ 39053 h 444817"/>
                <a:gd name="connsiteX158" fmla="*/ 242888 w 497205"/>
                <a:gd name="connsiteY158" fmla="*/ 33338 h 444817"/>
                <a:gd name="connsiteX159" fmla="*/ 246697 w 497205"/>
                <a:gd name="connsiteY159" fmla="*/ 33338 h 444817"/>
                <a:gd name="connsiteX160" fmla="*/ 248602 w 497205"/>
                <a:gd name="connsiteY160" fmla="*/ 33338 h 444817"/>
                <a:gd name="connsiteX161" fmla="*/ 248602 w 497205"/>
                <a:gd name="connsiteY161" fmla="*/ 31433 h 444817"/>
                <a:gd name="connsiteX162" fmla="*/ 241935 w 497205"/>
                <a:gd name="connsiteY162" fmla="*/ 29528 h 444817"/>
                <a:gd name="connsiteX163" fmla="*/ 237172 w 497205"/>
                <a:gd name="connsiteY163" fmla="*/ 25718 h 444817"/>
                <a:gd name="connsiteX164" fmla="*/ 235268 w 497205"/>
                <a:gd name="connsiteY164" fmla="*/ 20955 h 444817"/>
                <a:gd name="connsiteX165" fmla="*/ 245745 w 497205"/>
                <a:gd name="connsiteY165" fmla="*/ 14288 h 444817"/>
                <a:gd name="connsiteX166" fmla="*/ 250508 w 497205"/>
                <a:gd name="connsiteY166" fmla="*/ 10478 h 444817"/>
                <a:gd name="connsiteX167" fmla="*/ 256222 w 497205"/>
                <a:gd name="connsiteY167" fmla="*/ 5715 h 444817"/>
                <a:gd name="connsiteX168" fmla="*/ 271462 w 497205"/>
                <a:gd name="connsiteY168" fmla="*/ 953 h 444817"/>
                <a:gd name="connsiteX169" fmla="*/ 277178 w 497205"/>
                <a:gd name="connsiteY169" fmla="*/ 0 h 444817"/>
                <a:gd name="connsiteX170" fmla="*/ 300990 w 497205"/>
                <a:gd name="connsiteY170" fmla="*/ 0 h 444817"/>
                <a:gd name="connsiteX171" fmla="*/ 304800 w 497205"/>
                <a:gd name="connsiteY171" fmla="*/ 953 h 444817"/>
                <a:gd name="connsiteX172" fmla="*/ 303847 w 497205"/>
                <a:gd name="connsiteY172" fmla="*/ 4763 h 444817"/>
                <a:gd name="connsiteX173" fmla="*/ 299085 w 497205"/>
                <a:gd name="connsiteY173" fmla="*/ 11430 h 444817"/>
                <a:gd name="connsiteX174" fmla="*/ 299085 w 497205"/>
                <a:gd name="connsiteY174" fmla="*/ 11430 h 444817"/>
                <a:gd name="connsiteX175" fmla="*/ 300990 w 497205"/>
                <a:gd name="connsiteY175" fmla="*/ 12383 h 444817"/>
                <a:gd name="connsiteX176" fmla="*/ 309562 w 497205"/>
                <a:gd name="connsiteY176" fmla="*/ 7620 h 444817"/>
                <a:gd name="connsiteX177" fmla="*/ 320040 w 497205"/>
                <a:gd name="connsiteY177" fmla="*/ 7620 h 444817"/>
                <a:gd name="connsiteX178" fmla="*/ 354330 w 497205"/>
                <a:gd name="connsiteY178" fmla="*/ 13335 h 444817"/>
                <a:gd name="connsiteX179" fmla="*/ 358140 w 497205"/>
                <a:gd name="connsiteY179" fmla="*/ 14288 h 444817"/>
                <a:gd name="connsiteX180" fmla="*/ 366712 w 497205"/>
                <a:gd name="connsiteY180" fmla="*/ 13335 h 444817"/>
                <a:gd name="connsiteX181" fmla="*/ 367665 w 497205"/>
                <a:gd name="connsiteY181" fmla="*/ 9525 h 444817"/>
                <a:gd name="connsiteX182" fmla="*/ 369570 w 497205"/>
                <a:gd name="connsiteY182" fmla="*/ 6668 h 444817"/>
                <a:gd name="connsiteX183" fmla="*/ 375285 w 497205"/>
                <a:gd name="connsiteY183" fmla="*/ 7620 h 444817"/>
                <a:gd name="connsiteX184" fmla="*/ 389572 w 497205"/>
                <a:gd name="connsiteY184" fmla="*/ 10478 h 444817"/>
                <a:gd name="connsiteX185" fmla="*/ 402908 w 497205"/>
                <a:gd name="connsiteY185" fmla="*/ 10478 h 444817"/>
                <a:gd name="connsiteX186" fmla="*/ 412433 w 497205"/>
                <a:gd name="connsiteY186" fmla="*/ 9525 h 444817"/>
                <a:gd name="connsiteX187" fmla="*/ 422910 w 497205"/>
                <a:gd name="connsiteY187" fmla="*/ 13335 h 444817"/>
                <a:gd name="connsiteX188" fmla="*/ 431483 w 497205"/>
                <a:gd name="connsiteY188" fmla="*/ 13335 h 444817"/>
                <a:gd name="connsiteX189" fmla="*/ 441960 w 497205"/>
                <a:gd name="connsiteY189" fmla="*/ 8573 h 444817"/>
                <a:gd name="connsiteX190" fmla="*/ 450533 w 497205"/>
                <a:gd name="connsiteY190" fmla="*/ 8573 h 444817"/>
                <a:gd name="connsiteX191" fmla="*/ 471487 w 497205"/>
                <a:gd name="connsiteY191" fmla="*/ 10478 h 444817"/>
                <a:gd name="connsiteX192" fmla="*/ 484822 w 497205"/>
                <a:gd name="connsiteY192" fmla="*/ 15240 h 444817"/>
                <a:gd name="connsiteX193" fmla="*/ 493395 w 497205"/>
                <a:gd name="connsiteY193" fmla="*/ 17145 h 444817"/>
                <a:gd name="connsiteX194" fmla="*/ 497205 w 497205"/>
                <a:gd name="connsiteY194" fmla="*/ 20003 h 444817"/>
                <a:gd name="connsiteX195" fmla="*/ 497205 w 497205"/>
                <a:gd name="connsiteY195" fmla="*/ 21908 h 444817"/>
                <a:gd name="connsiteX196" fmla="*/ 493395 w 497205"/>
                <a:gd name="connsiteY196" fmla="*/ 21908 h 444817"/>
                <a:gd name="connsiteX197" fmla="*/ 489585 w 497205"/>
                <a:gd name="connsiteY197" fmla="*/ 20955 h 444817"/>
                <a:gd name="connsiteX198" fmla="*/ 485775 w 497205"/>
                <a:gd name="connsiteY198" fmla="*/ 20955 h 444817"/>
                <a:gd name="connsiteX199" fmla="*/ 483870 w 497205"/>
                <a:gd name="connsiteY199" fmla="*/ 20955 h 444817"/>
                <a:gd name="connsiteX200" fmla="*/ 481965 w 497205"/>
                <a:gd name="connsiteY200" fmla="*/ 20003 h 444817"/>
                <a:gd name="connsiteX201" fmla="*/ 480060 w 497205"/>
                <a:gd name="connsiteY201" fmla="*/ 20955 h 444817"/>
                <a:gd name="connsiteX202" fmla="*/ 480060 w 497205"/>
                <a:gd name="connsiteY202" fmla="*/ 25718 h 444817"/>
                <a:gd name="connsiteX203" fmla="*/ 485775 w 497205"/>
                <a:gd name="connsiteY203" fmla="*/ 27623 h 444817"/>
                <a:gd name="connsiteX204" fmla="*/ 490537 w 497205"/>
                <a:gd name="connsiteY204" fmla="*/ 29528 h 444817"/>
                <a:gd name="connsiteX205" fmla="*/ 493395 w 497205"/>
                <a:gd name="connsiteY205" fmla="*/ 30480 h 444817"/>
                <a:gd name="connsiteX206" fmla="*/ 492443 w 497205"/>
                <a:gd name="connsiteY206" fmla="*/ 33338 h 444817"/>
                <a:gd name="connsiteX207" fmla="*/ 486728 w 497205"/>
                <a:gd name="connsiteY207" fmla="*/ 41910 h 444817"/>
                <a:gd name="connsiteX208" fmla="*/ 486728 w 497205"/>
                <a:gd name="connsiteY208" fmla="*/ 43815 h 444817"/>
                <a:gd name="connsiteX209" fmla="*/ 479108 w 497205"/>
                <a:gd name="connsiteY209" fmla="*/ 44768 h 444817"/>
                <a:gd name="connsiteX210" fmla="*/ 474345 w 497205"/>
                <a:gd name="connsiteY210" fmla="*/ 46673 h 444817"/>
                <a:gd name="connsiteX211" fmla="*/ 477203 w 497205"/>
                <a:gd name="connsiteY211" fmla="*/ 50483 h 444817"/>
                <a:gd name="connsiteX212" fmla="*/ 483870 w 497205"/>
                <a:gd name="connsiteY212" fmla="*/ 57150 h 444817"/>
                <a:gd name="connsiteX213" fmla="*/ 489585 w 497205"/>
                <a:gd name="connsiteY213" fmla="*/ 66675 h 444817"/>
                <a:gd name="connsiteX214" fmla="*/ 492443 w 497205"/>
                <a:gd name="connsiteY214" fmla="*/ 76200 h 444817"/>
                <a:gd name="connsiteX215" fmla="*/ 492443 w 497205"/>
                <a:gd name="connsiteY215" fmla="*/ 81915 h 444817"/>
                <a:gd name="connsiteX216" fmla="*/ 490537 w 497205"/>
                <a:gd name="connsiteY216" fmla="*/ 81915 h 444817"/>
                <a:gd name="connsiteX217" fmla="*/ 486728 w 497205"/>
                <a:gd name="connsiteY217" fmla="*/ 77153 h 444817"/>
                <a:gd name="connsiteX218" fmla="*/ 481012 w 497205"/>
                <a:gd name="connsiteY218" fmla="*/ 71438 h 444817"/>
                <a:gd name="connsiteX219" fmla="*/ 472440 w 497205"/>
                <a:gd name="connsiteY219" fmla="*/ 63818 h 444817"/>
                <a:gd name="connsiteX220" fmla="*/ 466725 w 497205"/>
                <a:gd name="connsiteY220" fmla="*/ 60008 h 444817"/>
                <a:gd name="connsiteX221" fmla="*/ 466725 w 497205"/>
                <a:gd name="connsiteY221" fmla="*/ 55245 h 444817"/>
                <a:gd name="connsiteX222" fmla="*/ 469583 w 497205"/>
                <a:gd name="connsiteY222" fmla="*/ 51435 h 444817"/>
                <a:gd name="connsiteX223" fmla="*/ 468630 w 497205"/>
                <a:gd name="connsiteY223" fmla="*/ 45720 h 444817"/>
                <a:gd name="connsiteX224" fmla="*/ 465772 w 497205"/>
                <a:gd name="connsiteY224" fmla="*/ 40958 h 444817"/>
                <a:gd name="connsiteX225" fmla="*/ 463868 w 497205"/>
                <a:gd name="connsiteY225" fmla="*/ 40005 h 444817"/>
                <a:gd name="connsiteX226" fmla="*/ 461962 w 497205"/>
                <a:gd name="connsiteY226" fmla="*/ 42863 h 444817"/>
                <a:gd name="connsiteX227" fmla="*/ 461010 w 497205"/>
                <a:gd name="connsiteY227" fmla="*/ 42863 h 444817"/>
                <a:gd name="connsiteX228" fmla="*/ 459105 w 497205"/>
                <a:gd name="connsiteY228" fmla="*/ 41910 h 444817"/>
                <a:gd name="connsiteX229" fmla="*/ 455295 w 497205"/>
                <a:gd name="connsiteY229" fmla="*/ 41910 h 444817"/>
                <a:gd name="connsiteX230" fmla="*/ 455295 w 497205"/>
                <a:gd name="connsiteY230" fmla="*/ 46673 h 444817"/>
                <a:gd name="connsiteX231" fmla="*/ 457200 w 497205"/>
                <a:gd name="connsiteY231" fmla="*/ 51435 h 444817"/>
                <a:gd name="connsiteX232" fmla="*/ 453390 w 497205"/>
                <a:gd name="connsiteY232" fmla="*/ 54293 h 444817"/>
                <a:gd name="connsiteX233" fmla="*/ 446722 w 497205"/>
                <a:gd name="connsiteY233" fmla="*/ 55245 h 444817"/>
                <a:gd name="connsiteX234" fmla="*/ 441008 w 497205"/>
                <a:gd name="connsiteY234" fmla="*/ 56198 h 444817"/>
                <a:gd name="connsiteX235" fmla="*/ 434340 w 497205"/>
                <a:gd name="connsiteY235" fmla="*/ 56198 h 444817"/>
                <a:gd name="connsiteX236" fmla="*/ 428625 w 497205"/>
                <a:gd name="connsiteY236" fmla="*/ 58103 h 444817"/>
                <a:gd name="connsiteX237" fmla="*/ 427672 w 497205"/>
                <a:gd name="connsiteY237" fmla="*/ 60008 h 444817"/>
                <a:gd name="connsiteX238" fmla="*/ 427672 w 497205"/>
                <a:gd name="connsiteY238" fmla="*/ 72390 h 444817"/>
                <a:gd name="connsiteX239" fmla="*/ 432435 w 497205"/>
                <a:gd name="connsiteY239" fmla="*/ 77153 h 444817"/>
                <a:gd name="connsiteX240" fmla="*/ 434340 w 497205"/>
                <a:gd name="connsiteY240" fmla="*/ 77153 h 444817"/>
                <a:gd name="connsiteX241" fmla="*/ 435293 w 497205"/>
                <a:gd name="connsiteY241" fmla="*/ 76200 h 444817"/>
                <a:gd name="connsiteX242" fmla="*/ 439103 w 497205"/>
                <a:gd name="connsiteY242" fmla="*/ 76200 h 444817"/>
                <a:gd name="connsiteX243" fmla="*/ 442912 w 497205"/>
                <a:gd name="connsiteY243" fmla="*/ 79057 h 444817"/>
                <a:gd name="connsiteX244" fmla="*/ 449580 w 497205"/>
                <a:gd name="connsiteY244" fmla="*/ 86678 h 444817"/>
                <a:gd name="connsiteX245" fmla="*/ 453390 w 497205"/>
                <a:gd name="connsiteY245" fmla="*/ 94298 h 444817"/>
                <a:gd name="connsiteX246" fmla="*/ 456247 w 497205"/>
                <a:gd name="connsiteY246" fmla="*/ 101918 h 444817"/>
                <a:gd name="connsiteX247" fmla="*/ 458153 w 497205"/>
                <a:gd name="connsiteY247" fmla="*/ 111443 h 444817"/>
                <a:gd name="connsiteX248" fmla="*/ 459105 w 497205"/>
                <a:gd name="connsiteY248" fmla="*/ 120968 h 444817"/>
                <a:gd name="connsiteX249" fmla="*/ 449580 w 497205"/>
                <a:gd name="connsiteY249" fmla="*/ 123825 h 444817"/>
                <a:gd name="connsiteX250" fmla="*/ 448628 w 497205"/>
                <a:gd name="connsiteY250" fmla="*/ 131445 h 444817"/>
                <a:gd name="connsiteX251" fmla="*/ 447675 w 497205"/>
                <a:gd name="connsiteY251" fmla="*/ 138113 h 444817"/>
                <a:gd name="connsiteX252" fmla="*/ 451485 w 497205"/>
                <a:gd name="connsiteY252" fmla="*/ 143828 h 444817"/>
                <a:gd name="connsiteX253" fmla="*/ 456247 w 497205"/>
                <a:gd name="connsiteY253" fmla="*/ 151448 h 444817"/>
                <a:gd name="connsiteX254" fmla="*/ 457200 w 497205"/>
                <a:gd name="connsiteY254" fmla="*/ 153353 h 444817"/>
                <a:gd name="connsiteX255" fmla="*/ 457200 w 497205"/>
                <a:gd name="connsiteY255" fmla="*/ 156210 h 444817"/>
                <a:gd name="connsiteX256" fmla="*/ 454343 w 497205"/>
                <a:gd name="connsiteY256" fmla="*/ 158115 h 444817"/>
                <a:gd name="connsiteX257" fmla="*/ 451485 w 497205"/>
                <a:gd name="connsiteY257" fmla="*/ 160020 h 444817"/>
                <a:gd name="connsiteX258" fmla="*/ 450533 w 497205"/>
                <a:gd name="connsiteY258" fmla="*/ 157163 h 444817"/>
                <a:gd name="connsiteX259" fmla="*/ 447675 w 497205"/>
                <a:gd name="connsiteY259" fmla="*/ 151448 h 444817"/>
                <a:gd name="connsiteX260" fmla="*/ 444818 w 497205"/>
                <a:gd name="connsiteY260" fmla="*/ 146685 h 444817"/>
                <a:gd name="connsiteX261" fmla="*/ 441008 w 497205"/>
                <a:gd name="connsiteY261" fmla="*/ 143828 h 444817"/>
                <a:gd name="connsiteX262" fmla="*/ 435293 w 497205"/>
                <a:gd name="connsiteY262" fmla="*/ 138113 h 444817"/>
                <a:gd name="connsiteX263" fmla="*/ 434340 w 497205"/>
                <a:gd name="connsiteY263" fmla="*/ 138113 h 444817"/>
                <a:gd name="connsiteX264" fmla="*/ 430530 w 497205"/>
                <a:gd name="connsiteY264" fmla="*/ 141923 h 444817"/>
                <a:gd name="connsiteX265" fmla="*/ 427672 w 497205"/>
                <a:gd name="connsiteY265" fmla="*/ 140970 h 444817"/>
                <a:gd name="connsiteX266" fmla="*/ 427672 w 497205"/>
                <a:gd name="connsiteY266" fmla="*/ 137160 h 444817"/>
                <a:gd name="connsiteX267" fmla="*/ 428625 w 497205"/>
                <a:gd name="connsiteY267" fmla="*/ 135255 h 444817"/>
                <a:gd name="connsiteX268" fmla="*/ 424815 w 497205"/>
                <a:gd name="connsiteY268" fmla="*/ 135255 h 444817"/>
                <a:gd name="connsiteX269" fmla="*/ 419100 w 497205"/>
                <a:gd name="connsiteY269" fmla="*/ 140970 h 444817"/>
                <a:gd name="connsiteX270" fmla="*/ 419100 w 497205"/>
                <a:gd name="connsiteY270" fmla="*/ 143828 h 444817"/>
                <a:gd name="connsiteX271" fmla="*/ 422910 w 497205"/>
                <a:gd name="connsiteY271" fmla="*/ 147638 h 444817"/>
                <a:gd name="connsiteX272" fmla="*/ 430530 w 497205"/>
                <a:gd name="connsiteY272" fmla="*/ 147638 h 444817"/>
                <a:gd name="connsiteX273" fmla="*/ 434340 w 497205"/>
                <a:gd name="connsiteY273" fmla="*/ 149543 h 444817"/>
                <a:gd name="connsiteX274" fmla="*/ 433387 w 497205"/>
                <a:gd name="connsiteY274" fmla="*/ 151448 h 444817"/>
                <a:gd name="connsiteX275" fmla="*/ 431483 w 497205"/>
                <a:gd name="connsiteY275" fmla="*/ 152400 h 444817"/>
                <a:gd name="connsiteX276" fmla="*/ 431483 w 497205"/>
                <a:gd name="connsiteY276" fmla="*/ 157163 h 444817"/>
                <a:gd name="connsiteX277" fmla="*/ 439103 w 497205"/>
                <a:gd name="connsiteY277" fmla="*/ 168593 h 444817"/>
                <a:gd name="connsiteX278" fmla="*/ 442912 w 497205"/>
                <a:gd name="connsiteY278" fmla="*/ 176213 h 444817"/>
                <a:gd name="connsiteX279" fmla="*/ 440055 w 497205"/>
                <a:gd name="connsiteY279" fmla="*/ 177165 h 444817"/>
                <a:gd name="connsiteX280" fmla="*/ 442912 w 497205"/>
                <a:gd name="connsiteY280" fmla="*/ 179070 h 444817"/>
                <a:gd name="connsiteX281" fmla="*/ 444818 w 497205"/>
                <a:gd name="connsiteY281" fmla="*/ 181928 h 444817"/>
                <a:gd name="connsiteX282" fmla="*/ 444818 w 497205"/>
                <a:gd name="connsiteY282" fmla="*/ 195263 h 444817"/>
                <a:gd name="connsiteX283" fmla="*/ 441008 w 497205"/>
                <a:gd name="connsiteY283" fmla="*/ 200025 h 444817"/>
                <a:gd name="connsiteX284" fmla="*/ 431483 w 497205"/>
                <a:gd name="connsiteY284" fmla="*/ 209550 h 444817"/>
                <a:gd name="connsiteX285" fmla="*/ 422910 w 497205"/>
                <a:gd name="connsiteY285" fmla="*/ 215265 h 444817"/>
                <a:gd name="connsiteX286" fmla="*/ 420053 w 497205"/>
                <a:gd name="connsiteY286" fmla="*/ 220028 h 444817"/>
                <a:gd name="connsiteX287" fmla="*/ 418147 w 497205"/>
                <a:gd name="connsiteY287" fmla="*/ 220028 h 444817"/>
                <a:gd name="connsiteX288" fmla="*/ 416243 w 497205"/>
                <a:gd name="connsiteY288" fmla="*/ 217170 h 444817"/>
                <a:gd name="connsiteX289" fmla="*/ 414337 w 497205"/>
                <a:gd name="connsiteY289" fmla="*/ 215265 h 444817"/>
                <a:gd name="connsiteX290" fmla="*/ 410528 w 497205"/>
                <a:gd name="connsiteY290" fmla="*/ 217170 h 444817"/>
                <a:gd name="connsiteX291" fmla="*/ 406718 w 497205"/>
                <a:gd name="connsiteY291" fmla="*/ 226695 h 444817"/>
                <a:gd name="connsiteX292" fmla="*/ 407670 w 497205"/>
                <a:gd name="connsiteY292" fmla="*/ 230505 h 444817"/>
                <a:gd name="connsiteX293" fmla="*/ 415290 w 497205"/>
                <a:gd name="connsiteY293" fmla="*/ 237173 h 444817"/>
                <a:gd name="connsiteX294" fmla="*/ 421005 w 497205"/>
                <a:gd name="connsiteY294" fmla="*/ 243840 h 444817"/>
                <a:gd name="connsiteX295" fmla="*/ 421958 w 497205"/>
                <a:gd name="connsiteY295" fmla="*/ 255270 h 444817"/>
                <a:gd name="connsiteX296" fmla="*/ 419100 w 497205"/>
                <a:gd name="connsiteY296" fmla="*/ 260033 h 444817"/>
                <a:gd name="connsiteX297" fmla="*/ 416243 w 497205"/>
                <a:gd name="connsiteY297" fmla="*/ 263843 h 444817"/>
                <a:gd name="connsiteX298" fmla="*/ 412433 w 497205"/>
                <a:gd name="connsiteY298" fmla="*/ 266700 h 444817"/>
                <a:gd name="connsiteX299" fmla="*/ 411480 w 497205"/>
                <a:gd name="connsiteY299" fmla="*/ 269558 h 444817"/>
                <a:gd name="connsiteX300" fmla="*/ 408622 w 497205"/>
                <a:gd name="connsiteY300" fmla="*/ 269558 h 444817"/>
                <a:gd name="connsiteX301" fmla="*/ 408622 w 497205"/>
                <a:gd name="connsiteY301" fmla="*/ 266700 h 444817"/>
                <a:gd name="connsiteX302" fmla="*/ 406718 w 497205"/>
                <a:gd name="connsiteY302" fmla="*/ 263843 h 444817"/>
                <a:gd name="connsiteX303" fmla="*/ 404812 w 497205"/>
                <a:gd name="connsiteY303" fmla="*/ 261938 h 444817"/>
                <a:gd name="connsiteX304" fmla="*/ 401003 w 497205"/>
                <a:gd name="connsiteY304" fmla="*/ 259080 h 444817"/>
                <a:gd name="connsiteX305" fmla="*/ 401003 w 497205"/>
                <a:gd name="connsiteY305" fmla="*/ 255270 h 444817"/>
                <a:gd name="connsiteX306" fmla="*/ 398145 w 497205"/>
                <a:gd name="connsiteY306" fmla="*/ 254318 h 444817"/>
                <a:gd name="connsiteX307" fmla="*/ 395287 w 497205"/>
                <a:gd name="connsiteY307" fmla="*/ 252413 h 444817"/>
                <a:gd name="connsiteX308" fmla="*/ 394335 w 497205"/>
                <a:gd name="connsiteY308" fmla="*/ 250508 h 444817"/>
                <a:gd name="connsiteX309" fmla="*/ 390525 w 497205"/>
                <a:gd name="connsiteY309" fmla="*/ 250508 h 444817"/>
                <a:gd name="connsiteX310" fmla="*/ 392430 w 497205"/>
                <a:gd name="connsiteY310" fmla="*/ 260033 h 444817"/>
                <a:gd name="connsiteX311" fmla="*/ 392430 w 497205"/>
                <a:gd name="connsiteY311" fmla="*/ 267653 h 444817"/>
                <a:gd name="connsiteX312" fmla="*/ 395287 w 497205"/>
                <a:gd name="connsiteY312" fmla="*/ 274320 h 444817"/>
                <a:gd name="connsiteX313" fmla="*/ 399097 w 497205"/>
                <a:gd name="connsiteY313" fmla="*/ 280035 h 444817"/>
                <a:gd name="connsiteX314" fmla="*/ 402908 w 497205"/>
                <a:gd name="connsiteY314" fmla="*/ 285750 h 444817"/>
                <a:gd name="connsiteX315" fmla="*/ 405765 w 497205"/>
                <a:gd name="connsiteY315" fmla="*/ 291465 h 444817"/>
                <a:gd name="connsiteX316" fmla="*/ 407670 w 497205"/>
                <a:gd name="connsiteY316" fmla="*/ 295275 h 444817"/>
                <a:gd name="connsiteX317" fmla="*/ 406718 w 497205"/>
                <a:gd name="connsiteY317" fmla="*/ 298133 h 444817"/>
                <a:gd name="connsiteX318" fmla="*/ 403860 w 497205"/>
                <a:gd name="connsiteY318" fmla="*/ 298133 h 444817"/>
                <a:gd name="connsiteX319" fmla="*/ 401003 w 497205"/>
                <a:gd name="connsiteY319" fmla="*/ 295275 h 444817"/>
                <a:gd name="connsiteX320" fmla="*/ 399097 w 497205"/>
                <a:gd name="connsiteY320" fmla="*/ 295275 h 444817"/>
                <a:gd name="connsiteX321" fmla="*/ 393383 w 497205"/>
                <a:gd name="connsiteY321" fmla="*/ 282893 h 444817"/>
                <a:gd name="connsiteX322" fmla="*/ 390525 w 497205"/>
                <a:gd name="connsiteY322" fmla="*/ 278130 h 444817"/>
                <a:gd name="connsiteX323" fmla="*/ 385762 w 497205"/>
                <a:gd name="connsiteY323" fmla="*/ 273368 h 444817"/>
                <a:gd name="connsiteX324" fmla="*/ 385762 w 497205"/>
                <a:gd name="connsiteY324" fmla="*/ 260033 h 444817"/>
                <a:gd name="connsiteX325" fmla="*/ 384810 w 497205"/>
                <a:gd name="connsiteY325" fmla="*/ 251460 h 444817"/>
                <a:gd name="connsiteX326" fmla="*/ 381953 w 497205"/>
                <a:gd name="connsiteY326" fmla="*/ 243840 h 444817"/>
                <a:gd name="connsiteX327" fmla="*/ 379095 w 497205"/>
                <a:gd name="connsiteY327" fmla="*/ 235268 h 444817"/>
                <a:gd name="connsiteX328" fmla="*/ 377190 w 497205"/>
                <a:gd name="connsiteY328" fmla="*/ 236220 h 444817"/>
                <a:gd name="connsiteX329" fmla="*/ 374333 w 497205"/>
                <a:gd name="connsiteY329" fmla="*/ 239078 h 444817"/>
                <a:gd name="connsiteX330" fmla="*/ 371475 w 497205"/>
                <a:gd name="connsiteY330" fmla="*/ 240030 h 444817"/>
                <a:gd name="connsiteX331" fmla="*/ 368618 w 497205"/>
                <a:gd name="connsiteY331" fmla="*/ 239078 h 444817"/>
                <a:gd name="connsiteX332" fmla="*/ 369570 w 497205"/>
                <a:gd name="connsiteY332" fmla="*/ 231458 h 444817"/>
                <a:gd name="connsiteX333" fmla="*/ 363855 w 497205"/>
                <a:gd name="connsiteY333" fmla="*/ 223838 h 444817"/>
                <a:gd name="connsiteX334" fmla="*/ 360045 w 497205"/>
                <a:gd name="connsiteY334" fmla="*/ 220980 h 444817"/>
                <a:gd name="connsiteX335" fmla="*/ 360045 w 497205"/>
                <a:gd name="connsiteY335" fmla="*/ 218123 h 444817"/>
                <a:gd name="connsiteX336" fmla="*/ 359093 w 497205"/>
                <a:gd name="connsiteY336" fmla="*/ 213360 h 444817"/>
                <a:gd name="connsiteX337" fmla="*/ 355283 w 497205"/>
                <a:gd name="connsiteY337" fmla="*/ 213360 h 444817"/>
                <a:gd name="connsiteX338" fmla="*/ 351472 w 497205"/>
                <a:gd name="connsiteY338" fmla="*/ 218123 h 444817"/>
                <a:gd name="connsiteX339" fmla="*/ 348615 w 497205"/>
                <a:gd name="connsiteY339" fmla="*/ 217170 h 444817"/>
                <a:gd name="connsiteX340" fmla="*/ 347662 w 497205"/>
                <a:gd name="connsiteY340" fmla="*/ 215265 h 444817"/>
                <a:gd name="connsiteX341" fmla="*/ 344805 w 497205"/>
                <a:gd name="connsiteY341" fmla="*/ 217170 h 444817"/>
                <a:gd name="connsiteX342" fmla="*/ 340995 w 497205"/>
                <a:gd name="connsiteY342" fmla="*/ 223838 h 444817"/>
                <a:gd name="connsiteX343" fmla="*/ 336233 w 497205"/>
                <a:gd name="connsiteY343" fmla="*/ 230505 h 444817"/>
                <a:gd name="connsiteX344" fmla="*/ 332422 w 497205"/>
                <a:gd name="connsiteY344" fmla="*/ 235268 h 444817"/>
                <a:gd name="connsiteX345" fmla="*/ 326708 w 497205"/>
                <a:gd name="connsiteY345" fmla="*/ 243840 h 444817"/>
                <a:gd name="connsiteX346" fmla="*/ 323850 w 497205"/>
                <a:gd name="connsiteY346" fmla="*/ 256223 h 444817"/>
                <a:gd name="connsiteX347" fmla="*/ 322897 w 497205"/>
                <a:gd name="connsiteY347" fmla="*/ 263843 h 444817"/>
                <a:gd name="connsiteX348" fmla="*/ 320040 w 497205"/>
                <a:gd name="connsiteY348" fmla="*/ 274320 h 444817"/>
                <a:gd name="connsiteX349" fmla="*/ 318135 w 497205"/>
                <a:gd name="connsiteY349" fmla="*/ 274320 h 444817"/>
                <a:gd name="connsiteX350" fmla="*/ 315278 w 497205"/>
                <a:gd name="connsiteY350" fmla="*/ 273368 h 444817"/>
                <a:gd name="connsiteX351" fmla="*/ 312420 w 497205"/>
                <a:gd name="connsiteY351" fmla="*/ 264795 h 444817"/>
                <a:gd name="connsiteX352" fmla="*/ 307658 w 497205"/>
                <a:gd name="connsiteY352" fmla="*/ 257175 h 444817"/>
                <a:gd name="connsiteX353" fmla="*/ 300990 w 497205"/>
                <a:gd name="connsiteY353" fmla="*/ 240983 h 444817"/>
                <a:gd name="connsiteX354" fmla="*/ 298133 w 497205"/>
                <a:gd name="connsiteY354" fmla="*/ 229553 h 444817"/>
                <a:gd name="connsiteX355" fmla="*/ 297180 w 497205"/>
                <a:gd name="connsiteY355" fmla="*/ 218123 h 444817"/>
                <a:gd name="connsiteX356" fmla="*/ 294322 w 497205"/>
                <a:gd name="connsiteY356" fmla="*/ 218123 h 444817"/>
                <a:gd name="connsiteX357" fmla="*/ 293370 w 497205"/>
                <a:gd name="connsiteY357" fmla="*/ 223838 h 444817"/>
                <a:gd name="connsiteX358" fmla="*/ 291465 w 497205"/>
                <a:gd name="connsiteY358" fmla="*/ 224790 h 444817"/>
                <a:gd name="connsiteX359" fmla="*/ 288608 w 497205"/>
                <a:gd name="connsiteY359" fmla="*/ 222885 h 444817"/>
                <a:gd name="connsiteX360" fmla="*/ 282893 w 497205"/>
                <a:gd name="connsiteY360" fmla="*/ 217170 h 444817"/>
                <a:gd name="connsiteX361" fmla="*/ 280987 w 497205"/>
                <a:gd name="connsiteY361" fmla="*/ 214313 h 444817"/>
                <a:gd name="connsiteX362" fmla="*/ 280035 w 497205"/>
                <a:gd name="connsiteY362" fmla="*/ 210503 h 444817"/>
                <a:gd name="connsiteX363" fmla="*/ 275272 w 497205"/>
                <a:gd name="connsiteY363" fmla="*/ 206693 h 444817"/>
                <a:gd name="connsiteX364" fmla="*/ 253365 w 497205"/>
                <a:gd name="connsiteY364" fmla="*/ 206693 h 444817"/>
                <a:gd name="connsiteX365" fmla="*/ 249555 w 497205"/>
                <a:gd name="connsiteY365" fmla="*/ 205740 h 444817"/>
                <a:gd name="connsiteX366" fmla="*/ 244793 w 497205"/>
                <a:gd name="connsiteY366" fmla="*/ 203835 h 444817"/>
                <a:gd name="connsiteX367" fmla="*/ 244793 w 497205"/>
                <a:gd name="connsiteY367" fmla="*/ 200025 h 444817"/>
                <a:gd name="connsiteX368" fmla="*/ 242888 w 497205"/>
                <a:gd name="connsiteY368" fmla="*/ 198120 h 444817"/>
                <a:gd name="connsiteX369" fmla="*/ 238125 w 497205"/>
                <a:gd name="connsiteY369" fmla="*/ 199073 h 444817"/>
                <a:gd name="connsiteX370" fmla="*/ 236220 w 497205"/>
                <a:gd name="connsiteY370" fmla="*/ 200978 h 444817"/>
                <a:gd name="connsiteX371" fmla="*/ 230505 w 497205"/>
                <a:gd name="connsiteY371" fmla="*/ 200978 h 444817"/>
                <a:gd name="connsiteX372" fmla="*/ 227647 w 497205"/>
                <a:gd name="connsiteY372" fmla="*/ 198120 h 444817"/>
                <a:gd name="connsiteX373" fmla="*/ 221933 w 497205"/>
                <a:gd name="connsiteY373" fmla="*/ 192405 h 444817"/>
                <a:gd name="connsiteX374" fmla="*/ 218122 w 497205"/>
                <a:gd name="connsiteY374" fmla="*/ 188595 h 444817"/>
                <a:gd name="connsiteX375" fmla="*/ 214313 w 497205"/>
                <a:gd name="connsiteY375" fmla="*/ 188595 h 444817"/>
                <a:gd name="connsiteX376" fmla="*/ 212408 w 497205"/>
                <a:gd name="connsiteY376" fmla="*/ 191453 h 444817"/>
                <a:gd name="connsiteX377" fmla="*/ 212408 w 497205"/>
                <a:gd name="connsiteY377" fmla="*/ 193358 h 444817"/>
                <a:gd name="connsiteX378" fmla="*/ 217170 w 497205"/>
                <a:gd name="connsiteY378" fmla="*/ 197168 h 444817"/>
                <a:gd name="connsiteX379" fmla="*/ 219075 w 497205"/>
                <a:gd name="connsiteY379" fmla="*/ 200978 h 444817"/>
                <a:gd name="connsiteX380" fmla="*/ 220980 w 497205"/>
                <a:gd name="connsiteY380" fmla="*/ 201930 h 444817"/>
                <a:gd name="connsiteX381" fmla="*/ 221933 w 497205"/>
                <a:gd name="connsiteY381" fmla="*/ 204788 h 444817"/>
                <a:gd name="connsiteX382" fmla="*/ 223838 w 497205"/>
                <a:gd name="connsiteY382" fmla="*/ 204788 h 444817"/>
                <a:gd name="connsiteX383" fmla="*/ 226695 w 497205"/>
                <a:gd name="connsiteY383" fmla="*/ 203835 h 444817"/>
                <a:gd name="connsiteX384" fmla="*/ 227647 w 497205"/>
                <a:gd name="connsiteY384" fmla="*/ 205740 h 444817"/>
                <a:gd name="connsiteX385" fmla="*/ 227647 w 497205"/>
                <a:gd name="connsiteY385" fmla="*/ 210503 h 444817"/>
                <a:gd name="connsiteX386" fmla="*/ 230505 w 497205"/>
                <a:gd name="connsiteY386" fmla="*/ 210503 h 444817"/>
                <a:gd name="connsiteX387" fmla="*/ 235268 w 497205"/>
                <a:gd name="connsiteY387" fmla="*/ 211455 h 444817"/>
                <a:gd name="connsiteX388" fmla="*/ 237172 w 497205"/>
                <a:gd name="connsiteY388" fmla="*/ 208598 h 444817"/>
                <a:gd name="connsiteX389" fmla="*/ 239077 w 497205"/>
                <a:gd name="connsiteY389" fmla="*/ 204788 h 444817"/>
                <a:gd name="connsiteX390" fmla="*/ 242888 w 497205"/>
                <a:gd name="connsiteY390" fmla="*/ 204788 h 444817"/>
                <a:gd name="connsiteX391" fmla="*/ 242888 w 497205"/>
                <a:gd name="connsiteY391" fmla="*/ 209550 h 444817"/>
                <a:gd name="connsiteX392" fmla="*/ 243840 w 497205"/>
                <a:gd name="connsiteY392" fmla="*/ 212408 h 444817"/>
                <a:gd name="connsiteX393" fmla="*/ 246697 w 497205"/>
                <a:gd name="connsiteY393" fmla="*/ 213360 h 444817"/>
                <a:gd name="connsiteX394" fmla="*/ 250508 w 497205"/>
                <a:gd name="connsiteY394" fmla="*/ 214313 h 444817"/>
                <a:gd name="connsiteX395" fmla="*/ 252412 w 497205"/>
                <a:gd name="connsiteY395" fmla="*/ 215265 h 444817"/>
                <a:gd name="connsiteX396" fmla="*/ 253365 w 497205"/>
                <a:gd name="connsiteY396" fmla="*/ 217170 h 444817"/>
                <a:gd name="connsiteX397" fmla="*/ 249555 w 497205"/>
                <a:gd name="connsiteY397" fmla="*/ 227648 h 444817"/>
                <a:gd name="connsiteX398" fmla="*/ 244793 w 497205"/>
                <a:gd name="connsiteY398" fmla="*/ 234315 h 444817"/>
                <a:gd name="connsiteX399" fmla="*/ 240030 w 497205"/>
                <a:gd name="connsiteY399" fmla="*/ 239078 h 444817"/>
                <a:gd name="connsiteX400" fmla="*/ 236220 w 497205"/>
                <a:gd name="connsiteY400" fmla="*/ 240983 h 444817"/>
                <a:gd name="connsiteX401" fmla="*/ 230505 w 497205"/>
                <a:gd name="connsiteY401" fmla="*/ 244793 h 444817"/>
                <a:gd name="connsiteX402" fmla="*/ 225743 w 497205"/>
                <a:gd name="connsiteY402" fmla="*/ 249555 h 444817"/>
                <a:gd name="connsiteX403" fmla="*/ 220980 w 497205"/>
                <a:gd name="connsiteY403" fmla="*/ 252413 h 444817"/>
                <a:gd name="connsiteX404" fmla="*/ 208597 w 497205"/>
                <a:gd name="connsiteY404" fmla="*/ 255270 h 444817"/>
                <a:gd name="connsiteX405" fmla="*/ 204788 w 497205"/>
                <a:gd name="connsiteY405" fmla="*/ 256223 h 444817"/>
                <a:gd name="connsiteX406" fmla="*/ 200977 w 497205"/>
                <a:gd name="connsiteY406" fmla="*/ 250508 h 444817"/>
                <a:gd name="connsiteX407" fmla="*/ 199072 w 497205"/>
                <a:gd name="connsiteY407" fmla="*/ 247650 h 444817"/>
                <a:gd name="connsiteX408" fmla="*/ 197168 w 497205"/>
                <a:gd name="connsiteY408" fmla="*/ 236220 h 444817"/>
                <a:gd name="connsiteX409" fmla="*/ 188595 w 497205"/>
                <a:gd name="connsiteY409" fmla="*/ 223838 h 444817"/>
                <a:gd name="connsiteX410" fmla="*/ 174308 w 497205"/>
                <a:gd name="connsiteY410" fmla="*/ 201930 h 444817"/>
                <a:gd name="connsiteX411" fmla="*/ 171450 w 497205"/>
                <a:gd name="connsiteY411" fmla="*/ 192405 h 444817"/>
                <a:gd name="connsiteX412" fmla="*/ 169545 w 497205"/>
                <a:gd name="connsiteY412" fmla="*/ 194310 h 444817"/>
                <a:gd name="connsiteX413" fmla="*/ 168593 w 497205"/>
                <a:gd name="connsiteY413" fmla="*/ 193358 h 444817"/>
                <a:gd name="connsiteX414" fmla="*/ 167640 w 497205"/>
                <a:gd name="connsiteY414" fmla="*/ 192405 h 444817"/>
                <a:gd name="connsiteX415" fmla="*/ 164783 w 497205"/>
                <a:gd name="connsiteY415" fmla="*/ 192405 h 444817"/>
                <a:gd name="connsiteX416" fmla="*/ 164783 w 497205"/>
                <a:gd name="connsiteY416" fmla="*/ 196215 h 444817"/>
                <a:gd name="connsiteX417" fmla="*/ 167640 w 497205"/>
                <a:gd name="connsiteY417" fmla="*/ 201930 h 444817"/>
                <a:gd name="connsiteX418" fmla="*/ 174308 w 497205"/>
                <a:gd name="connsiteY418" fmla="*/ 214313 h 444817"/>
                <a:gd name="connsiteX419" fmla="*/ 180022 w 497205"/>
                <a:gd name="connsiteY419" fmla="*/ 223838 h 444817"/>
                <a:gd name="connsiteX420" fmla="*/ 180022 w 497205"/>
                <a:gd name="connsiteY420" fmla="*/ 230505 h 444817"/>
                <a:gd name="connsiteX421" fmla="*/ 187643 w 497205"/>
                <a:gd name="connsiteY421" fmla="*/ 238125 h 444817"/>
                <a:gd name="connsiteX422" fmla="*/ 189547 w 497205"/>
                <a:gd name="connsiteY422" fmla="*/ 245745 h 444817"/>
                <a:gd name="connsiteX423" fmla="*/ 191452 w 497205"/>
                <a:gd name="connsiteY423" fmla="*/ 246698 h 444817"/>
                <a:gd name="connsiteX424" fmla="*/ 196215 w 497205"/>
                <a:gd name="connsiteY424" fmla="*/ 252413 h 444817"/>
                <a:gd name="connsiteX425" fmla="*/ 201930 w 497205"/>
                <a:gd name="connsiteY425" fmla="*/ 258128 h 444817"/>
                <a:gd name="connsiteX426" fmla="*/ 200977 w 497205"/>
                <a:gd name="connsiteY426" fmla="*/ 264795 h 444817"/>
                <a:gd name="connsiteX427" fmla="*/ 204788 w 497205"/>
                <a:gd name="connsiteY427" fmla="*/ 265748 h 444817"/>
                <a:gd name="connsiteX428" fmla="*/ 211455 w 497205"/>
                <a:gd name="connsiteY428" fmla="*/ 263843 h 444817"/>
                <a:gd name="connsiteX429" fmla="*/ 222885 w 497205"/>
                <a:gd name="connsiteY429" fmla="*/ 260033 h 444817"/>
                <a:gd name="connsiteX430" fmla="*/ 228600 w 497205"/>
                <a:gd name="connsiteY430" fmla="*/ 259080 h 444817"/>
                <a:gd name="connsiteX431" fmla="*/ 228600 w 497205"/>
                <a:gd name="connsiteY431" fmla="*/ 261938 h 444817"/>
                <a:gd name="connsiteX432" fmla="*/ 218122 w 497205"/>
                <a:gd name="connsiteY432" fmla="*/ 287655 h 444817"/>
                <a:gd name="connsiteX433" fmla="*/ 209550 w 497205"/>
                <a:gd name="connsiteY433" fmla="*/ 300038 h 444817"/>
                <a:gd name="connsiteX434" fmla="*/ 198120 w 497205"/>
                <a:gd name="connsiteY434" fmla="*/ 311468 h 444817"/>
                <a:gd name="connsiteX435" fmla="*/ 189547 w 497205"/>
                <a:gd name="connsiteY435" fmla="*/ 321945 h 444817"/>
                <a:gd name="connsiteX436" fmla="*/ 189547 w 497205"/>
                <a:gd name="connsiteY436" fmla="*/ 334328 h 444817"/>
                <a:gd name="connsiteX437" fmla="*/ 193358 w 497205"/>
                <a:gd name="connsiteY437" fmla="*/ 359093 h 444817"/>
                <a:gd name="connsiteX438" fmla="*/ 193358 w 497205"/>
                <a:gd name="connsiteY438" fmla="*/ 365760 h 444817"/>
                <a:gd name="connsiteX439" fmla="*/ 185738 w 497205"/>
                <a:gd name="connsiteY439" fmla="*/ 373380 h 444817"/>
                <a:gd name="connsiteX440" fmla="*/ 178118 w 497205"/>
                <a:gd name="connsiteY440" fmla="*/ 380048 h 444817"/>
                <a:gd name="connsiteX441" fmla="*/ 171450 w 497205"/>
                <a:gd name="connsiteY441" fmla="*/ 385763 h 444817"/>
                <a:gd name="connsiteX442" fmla="*/ 173355 w 497205"/>
                <a:gd name="connsiteY442" fmla="*/ 394335 h 444817"/>
                <a:gd name="connsiteX443" fmla="*/ 173355 w 497205"/>
                <a:gd name="connsiteY443" fmla="*/ 402908 h 444817"/>
                <a:gd name="connsiteX444" fmla="*/ 164783 w 497205"/>
                <a:gd name="connsiteY444" fmla="*/ 408622 h 444817"/>
                <a:gd name="connsiteX445" fmla="*/ 164783 w 497205"/>
                <a:gd name="connsiteY445" fmla="*/ 411480 h 444817"/>
                <a:gd name="connsiteX446" fmla="*/ 159068 w 497205"/>
                <a:gd name="connsiteY446" fmla="*/ 422910 h 444817"/>
                <a:gd name="connsiteX447" fmla="*/ 150495 w 497205"/>
                <a:gd name="connsiteY447" fmla="*/ 433388 h 444817"/>
                <a:gd name="connsiteX448" fmla="*/ 143827 w 497205"/>
                <a:gd name="connsiteY448" fmla="*/ 438150 h 444817"/>
                <a:gd name="connsiteX449" fmla="*/ 137160 w 497205"/>
                <a:gd name="connsiteY449" fmla="*/ 439103 h 444817"/>
                <a:gd name="connsiteX450" fmla="*/ 127635 w 497205"/>
                <a:gd name="connsiteY450" fmla="*/ 441008 h 444817"/>
                <a:gd name="connsiteX451" fmla="*/ 123825 w 497205"/>
                <a:gd name="connsiteY451" fmla="*/ 444818 h 444817"/>
                <a:gd name="connsiteX452" fmla="*/ 120968 w 497205"/>
                <a:gd name="connsiteY452" fmla="*/ 443865 h 444817"/>
                <a:gd name="connsiteX453" fmla="*/ 120015 w 497205"/>
                <a:gd name="connsiteY453" fmla="*/ 441960 h 444817"/>
                <a:gd name="connsiteX454" fmla="*/ 115252 w 497205"/>
                <a:gd name="connsiteY454" fmla="*/ 439103 h 444817"/>
                <a:gd name="connsiteX455" fmla="*/ 114300 w 497205"/>
                <a:gd name="connsiteY455" fmla="*/ 429578 h 444817"/>
                <a:gd name="connsiteX456" fmla="*/ 105727 w 497205"/>
                <a:gd name="connsiteY456" fmla="*/ 414338 h 444817"/>
                <a:gd name="connsiteX457" fmla="*/ 103822 w 497205"/>
                <a:gd name="connsiteY457" fmla="*/ 401003 h 444817"/>
                <a:gd name="connsiteX458" fmla="*/ 102870 w 497205"/>
                <a:gd name="connsiteY458" fmla="*/ 394335 h 444817"/>
                <a:gd name="connsiteX459" fmla="*/ 96202 w 497205"/>
                <a:gd name="connsiteY459" fmla="*/ 379095 h 444817"/>
                <a:gd name="connsiteX460" fmla="*/ 96202 w 497205"/>
                <a:gd name="connsiteY460" fmla="*/ 363855 h 444817"/>
                <a:gd name="connsiteX461" fmla="*/ 102870 w 497205"/>
                <a:gd name="connsiteY461" fmla="*/ 351473 h 444817"/>
                <a:gd name="connsiteX462" fmla="*/ 100013 w 497205"/>
                <a:gd name="connsiteY462" fmla="*/ 334328 h 444817"/>
                <a:gd name="connsiteX463" fmla="*/ 94297 w 497205"/>
                <a:gd name="connsiteY463" fmla="*/ 322898 h 444817"/>
                <a:gd name="connsiteX464" fmla="*/ 85725 w 497205"/>
                <a:gd name="connsiteY464" fmla="*/ 309563 h 444817"/>
                <a:gd name="connsiteX465" fmla="*/ 86677 w 497205"/>
                <a:gd name="connsiteY465" fmla="*/ 301943 h 444817"/>
                <a:gd name="connsiteX466" fmla="*/ 89535 w 497205"/>
                <a:gd name="connsiteY466" fmla="*/ 296228 h 444817"/>
                <a:gd name="connsiteX467" fmla="*/ 89535 w 497205"/>
                <a:gd name="connsiteY467" fmla="*/ 291465 h 444817"/>
                <a:gd name="connsiteX468" fmla="*/ 84772 w 497205"/>
                <a:gd name="connsiteY468" fmla="*/ 291465 h 444817"/>
                <a:gd name="connsiteX469" fmla="*/ 79057 w 497205"/>
                <a:gd name="connsiteY469" fmla="*/ 291465 h 444817"/>
                <a:gd name="connsiteX470" fmla="*/ 73343 w 497205"/>
                <a:gd name="connsiteY470" fmla="*/ 282893 h 444817"/>
                <a:gd name="connsiteX471" fmla="*/ 66675 w 497205"/>
                <a:gd name="connsiteY471" fmla="*/ 282893 h 444817"/>
                <a:gd name="connsiteX472" fmla="*/ 53340 w 497205"/>
                <a:gd name="connsiteY472" fmla="*/ 286703 h 444817"/>
                <a:gd name="connsiteX473" fmla="*/ 36195 w 497205"/>
                <a:gd name="connsiteY473" fmla="*/ 292418 h 444817"/>
                <a:gd name="connsiteX474" fmla="*/ 29527 w 497205"/>
                <a:gd name="connsiteY474" fmla="*/ 291465 h 444817"/>
                <a:gd name="connsiteX475" fmla="*/ 14288 w 497205"/>
                <a:gd name="connsiteY475" fmla="*/ 275273 h 444817"/>
                <a:gd name="connsiteX476" fmla="*/ 3810 w 497205"/>
                <a:gd name="connsiteY476" fmla="*/ 261938 h 444817"/>
                <a:gd name="connsiteX477" fmla="*/ 0 w 497205"/>
                <a:gd name="connsiteY477" fmla="*/ 254318 h 444817"/>
                <a:gd name="connsiteX478" fmla="*/ 0 w 497205"/>
                <a:gd name="connsiteY478" fmla="*/ 245745 h 444817"/>
                <a:gd name="connsiteX479" fmla="*/ 2857 w 497205"/>
                <a:gd name="connsiteY479" fmla="*/ 236220 h 444817"/>
                <a:gd name="connsiteX480" fmla="*/ 2857 w 497205"/>
                <a:gd name="connsiteY480" fmla="*/ 226695 h 444817"/>
                <a:gd name="connsiteX481" fmla="*/ 3810 w 497205"/>
                <a:gd name="connsiteY481" fmla="*/ 220028 h 444817"/>
                <a:gd name="connsiteX482" fmla="*/ 12382 w 497205"/>
                <a:gd name="connsiteY482" fmla="*/ 201930 h 444817"/>
                <a:gd name="connsiteX483" fmla="*/ 17145 w 497205"/>
                <a:gd name="connsiteY483" fmla="*/ 197168 h 444817"/>
                <a:gd name="connsiteX484" fmla="*/ 20002 w 497205"/>
                <a:gd name="connsiteY484" fmla="*/ 197168 h 444817"/>
                <a:gd name="connsiteX485" fmla="*/ 26670 w 497205"/>
                <a:gd name="connsiteY485" fmla="*/ 188595 h 444817"/>
                <a:gd name="connsiteX486" fmla="*/ 28575 w 497205"/>
                <a:gd name="connsiteY486" fmla="*/ 181928 h 444817"/>
                <a:gd name="connsiteX487" fmla="*/ 29527 w 497205"/>
                <a:gd name="connsiteY487" fmla="*/ 179070 h 444817"/>
                <a:gd name="connsiteX488" fmla="*/ 35243 w 497205"/>
                <a:gd name="connsiteY488" fmla="*/ 175260 h 444817"/>
                <a:gd name="connsiteX489" fmla="*/ 37147 w 497205"/>
                <a:gd name="connsiteY489" fmla="*/ 172403 h 444817"/>
                <a:gd name="connsiteX490" fmla="*/ 40957 w 497205"/>
                <a:gd name="connsiteY490" fmla="*/ 166688 h 444817"/>
                <a:gd name="connsiteX491" fmla="*/ 43815 w 497205"/>
                <a:gd name="connsiteY491" fmla="*/ 166688 h 444817"/>
                <a:gd name="connsiteX492" fmla="*/ 46672 w 497205"/>
                <a:gd name="connsiteY492" fmla="*/ 168593 h 444817"/>
                <a:gd name="connsiteX493" fmla="*/ 50482 w 497205"/>
                <a:gd name="connsiteY493" fmla="*/ 168593 h 444817"/>
                <a:gd name="connsiteX494" fmla="*/ 60960 w 497205"/>
                <a:gd name="connsiteY494" fmla="*/ 164783 h 444817"/>
                <a:gd name="connsiteX495" fmla="*/ 69532 w 497205"/>
                <a:gd name="connsiteY495" fmla="*/ 162878 h 444817"/>
                <a:gd name="connsiteX496" fmla="*/ 74295 w 497205"/>
                <a:gd name="connsiteY496" fmla="*/ 161925 h 444817"/>
                <a:gd name="connsiteX497" fmla="*/ 79057 w 497205"/>
                <a:gd name="connsiteY497" fmla="*/ 160020 h 444817"/>
                <a:gd name="connsiteX498" fmla="*/ 85725 w 497205"/>
                <a:gd name="connsiteY498" fmla="*/ 160020 h 444817"/>
                <a:gd name="connsiteX499" fmla="*/ 94297 w 497205"/>
                <a:gd name="connsiteY499" fmla="*/ 160973 h 444817"/>
                <a:gd name="connsiteX500" fmla="*/ 93345 w 497205"/>
                <a:gd name="connsiteY500" fmla="*/ 164783 h 444817"/>
                <a:gd name="connsiteX501" fmla="*/ 91440 w 497205"/>
                <a:gd name="connsiteY501" fmla="*/ 170498 h 444817"/>
                <a:gd name="connsiteX502" fmla="*/ 92393 w 497205"/>
                <a:gd name="connsiteY502" fmla="*/ 172403 h 444817"/>
                <a:gd name="connsiteX503" fmla="*/ 96202 w 497205"/>
                <a:gd name="connsiteY503" fmla="*/ 175260 h 444817"/>
                <a:gd name="connsiteX504" fmla="*/ 100013 w 497205"/>
                <a:gd name="connsiteY504" fmla="*/ 177165 h 444817"/>
                <a:gd name="connsiteX505" fmla="*/ 105727 w 497205"/>
                <a:gd name="connsiteY505" fmla="*/ 178118 h 444817"/>
                <a:gd name="connsiteX506" fmla="*/ 107632 w 497205"/>
                <a:gd name="connsiteY506" fmla="*/ 178118 h 444817"/>
                <a:gd name="connsiteX507" fmla="*/ 108585 w 497205"/>
                <a:gd name="connsiteY507" fmla="*/ 182880 h 444817"/>
                <a:gd name="connsiteX508" fmla="*/ 113347 w 497205"/>
                <a:gd name="connsiteY508" fmla="*/ 184785 h 444817"/>
                <a:gd name="connsiteX509" fmla="*/ 120015 w 497205"/>
                <a:gd name="connsiteY509" fmla="*/ 186690 h 444817"/>
                <a:gd name="connsiteX510" fmla="*/ 122872 w 497205"/>
                <a:gd name="connsiteY510" fmla="*/ 186690 h 444817"/>
                <a:gd name="connsiteX511" fmla="*/ 122872 w 497205"/>
                <a:gd name="connsiteY511" fmla="*/ 183833 h 444817"/>
                <a:gd name="connsiteX512" fmla="*/ 121920 w 497205"/>
                <a:gd name="connsiteY512" fmla="*/ 183833 h 444817"/>
                <a:gd name="connsiteX513" fmla="*/ 121920 w 497205"/>
                <a:gd name="connsiteY513" fmla="*/ 180975 h 444817"/>
                <a:gd name="connsiteX514" fmla="*/ 125730 w 497205"/>
                <a:gd name="connsiteY514" fmla="*/ 178118 h 444817"/>
                <a:gd name="connsiteX515" fmla="*/ 131445 w 497205"/>
                <a:gd name="connsiteY515" fmla="*/ 177165 h 444817"/>
                <a:gd name="connsiteX516" fmla="*/ 134302 w 497205"/>
                <a:gd name="connsiteY516" fmla="*/ 180023 h 444817"/>
                <a:gd name="connsiteX517" fmla="*/ 138113 w 497205"/>
                <a:gd name="connsiteY517" fmla="*/ 182880 h 444817"/>
                <a:gd name="connsiteX518" fmla="*/ 143827 w 497205"/>
                <a:gd name="connsiteY518" fmla="*/ 185738 h 444817"/>
                <a:gd name="connsiteX519" fmla="*/ 148590 w 497205"/>
                <a:gd name="connsiteY519" fmla="*/ 185738 h 444817"/>
                <a:gd name="connsiteX520" fmla="*/ 152400 w 497205"/>
                <a:gd name="connsiteY520" fmla="*/ 183833 h 444817"/>
                <a:gd name="connsiteX521" fmla="*/ 157163 w 497205"/>
                <a:gd name="connsiteY521" fmla="*/ 182880 h 444817"/>
                <a:gd name="connsiteX522" fmla="*/ 160020 w 497205"/>
                <a:gd name="connsiteY522" fmla="*/ 182880 h 444817"/>
                <a:gd name="connsiteX523" fmla="*/ 162877 w 497205"/>
                <a:gd name="connsiteY523" fmla="*/ 183833 h 444817"/>
                <a:gd name="connsiteX524" fmla="*/ 164783 w 497205"/>
                <a:gd name="connsiteY524" fmla="*/ 184785 h 444817"/>
                <a:gd name="connsiteX525" fmla="*/ 166688 w 497205"/>
                <a:gd name="connsiteY525" fmla="*/ 180975 h 444817"/>
                <a:gd name="connsiteX526" fmla="*/ 167640 w 497205"/>
                <a:gd name="connsiteY526" fmla="*/ 177165 h 444817"/>
                <a:gd name="connsiteX527" fmla="*/ 169545 w 497205"/>
                <a:gd name="connsiteY527" fmla="*/ 172403 h 444817"/>
                <a:gd name="connsiteX528" fmla="*/ 169545 w 497205"/>
                <a:gd name="connsiteY528" fmla="*/ 168593 h 444817"/>
                <a:gd name="connsiteX529" fmla="*/ 169545 w 497205"/>
                <a:gd name="connsiteY529" fmla="*/ 164783 h 444817"/>
                <a:gd name="connsiteX530" fmla="*/ 170497 w 497205"/>
                <a:gd name="connsiteY530" fmla="*/ 163830 h 444817"/>
                <a:gd name="connsiteX531" fmla="*/ 170497 w 497205"/>
                <a:gd name="connsiteY531" fmla="*/ 161925 h 444817"/>
                <a:gd name="connsiteX532" fmla="*/ 163830 w 497205"/>
                <a:gd name="connsiteY532" fmla="*/ 162878 h 444817"/>
                <a:gd name="connsiteX533" fmla="*/ 159068 w 497205"/>
                <a:gd name="connsiteY533" fmla="*/ 162878 h 444817"/>
                <a:gd name="connsiteX534" fmla="*/ 153352 w 497205"/>
                <a:gd name="connsiteY534" fmla="*/ 162878 h 444817"/>
                <a:gd name="connsiteX535" fmla="*/ 146685 w 497205"/>
                <a:gd name="connsiteY535" fmla="*/ 163830 h 444817"/>
                <a:gd name="connsiteX536" fmla="*/ 144780 w 497205"/>
                <a:gd name="connsiteY536" fmla="*/ 160973 h 444817"/>
                <a:gd name="connsiteX537" fmla="*/ 142875 w 497205"/>
                <a:gd name="connsiteY537" fmla="*/ 155258 h 444817"/>
                <a:gd name="connsiteX538" fmla="*/ 140970 w 497205"/>
                <a:gd name="connsiteY538" fmla="*/ 149543 h 444817"/>
                <a:gd name="connsiteX539" fmla="*/ 144780 w 497205"/>
                <a:gd name="connsiteY539" fmla="*/ 149543 h 444817"/>
                <a:gd name="connsiteX540" fmla="*/ 146685 w 497205"/>
                <a:gd name="connsiteY540" fmla="*/ 146685 h 444817"/>
                <a:gd name="connsiteX541" fmla="*/ 147638 w 497205"/>
                <a:gd name="connsiteY541" fmla="*/ 145733 h 444817"/>
                <a:gd name="connsiteX542" fmla="*/ 150495 w 497205"/>
                <a:gd name="connsiteY542" fmla="*/ 145733 h 444817"/>
                <a:gd name="connsiteX543" fmla="*/ 154305 w 497205"/>
                <a:gd name="connsiteY543" fmla="*/ 145733 h 444817"/>
                <a:gd name="connsiteX544" fmla="*/ 156210 w 497205"/>
                <a:gd name="connsiteY544" fmla="*/ 143828 h 444817"/>
                <a:gd name="connsiteX545" fmla="*/ 159068 w 497205"/>
                <a:gd name="connsiteY545" fmla="*/ 141923 h 444817"/>
                <a:gd name="connsiteX546" fmla="*/ 160972 w 497205"/>
                <a:gd name="connsiteY546" fmla="*/ 140018 h 444817"/>
                <a:gd name="connsiteX547" fmla="*/ 165735 w 497205"/>
                <a:gd name="connsiteY547" fmla="*/ 140018 h 444817"/>
                <a:gd name="connsiteX548" fmla="*/ 168593 w 497205"/>
                <a:gd name="connsiteY548" fmla="*/ 141923 h 444817"/>
                <a:gd name="connsiteX549" fmla="*/ 172402 w 497205"/>
                <a:gd name="connsiteY549" fmla="*/ 142875 h 444817"/>
                <a:gd name="connsiteX550" fmla="*/ 175260 w 497205"/>
                <a:gd name="connsiteY550" fmla="*/ 143828 h 444817"/>
                <a:gd name="connsiteX551" fmla="*/ 179070 w 497205"/>
                <a:gd name="connsiteY551" fmla="*/ 143828 h 444817"/>
                <a:gd name="connsiteX552" fmla="*/ 184785 w 497205"/>
                <a:gd name="connsiteY552" fmla="*/ 143828 h 444817"/>
                <a:gd name="connsiteX553" fmla="*/ 184785 w 497205"/>
                <a:gd name="connsiteY553" fmla="*/ 140018 h 444817"/>
                <a:gd name="connsiteX554" fmla="*/ 185738 w 497205"/>
                <a:gd name="connsiteY554" fmla="*/ 138113 h 444817"/>
                <a:gd name="connsiteX555" fmla="*/ 183833 w 497205"/>
                <a:gd name="connsiteY555" fmla="*/ 137160 h 444817"/>
                <a:gd name="connsiteX556" fmla="*/ 180975 w 497205"/>
                <a:gd name="connsiteY556" fmla="*/ 137160 h 444817"/>
                <a:gd name="connsiteX557" fmla="*/ 179070 w 497205"/>
                <a:gd name="connsiteY557" fmla="*/ 134303 h 444817"/>
                <a:gd name="connsiteX558" fmla="*/ 177165 w 497205"/>
                <a:gd name="connsiteY558" fmla="*/ 132398 h 444817"/>
                <a:gd name="connsiteX559" fmla="*/ 173355 w 497205"/>
                <a:gd name="connsiteY559" fmla="*/ 130493 h 444817"/>
                <a:gd name="connsiteX560" fmla="*/ 171450 w 497205"/>
                <a:gd name="connsiteY560" fmla="*/ 128588 h 444817"/>
                <a:gd name="connsiteX561" fmla="*/ 171450 w 497205"/>
                <a:gd name="connsiteY561" fmla="*/ 125730 h 444817"/>
                <a:gd name="connsiteX562" fmla="*/ 174308 w 497205"/>
                <a:gd name="connsiteY562" fmla="*/ 123825 h 444817"/>
                <a:gd name="connsiteX563" fmla="*/ 176213 w 497205"/>
                <a:gd name="connsiteY563" fmla="*/ 121920 h 444817"/>
                <a:gd name="connsiteX564" fmla="*/ 176213 w 497205"/>
                <a:gd name="connsiteY564" fmla="*/ 120968 h 444817"/>
                <a:gd name="connsiteX565" fmla="*/ 174308 w 497205"/>
                <a:gd name="connsiteY565" fmla="*/ 120015 h 444817"/>
                <a:gd name="connsiteX566" fmla="*/ 172402 w 497205"/>
                <a:gd name="connsiteY566" fmla="*/ 120968 h 444817"/>
                <a:gd name="connsiteX567" fmla="*/ 164783 w 497205"/>
                <a:gd name="connsiteY567" fmla="*/ 124778 h 444817"/>
                <a:gd name="connsiteX568" fmla="*/ 166688 w 497205"/>
                <a:gd name="connsiteY568" fmla="*/ 126682 h 444817"/>
                <a:gd name="connsiteX569" fmla="*/ 166688 w 497205"/>
                <a:gd name="connsiteY569" fmla="*/ 129540 h 444817"/>
                <a:gd name="connsiteX570" fmla="*/ 163830 w 497205"/>
                <a:gd name="connsiteY570" fmla="*/ 131445 h 444817"/>
                <a:gd name="connsiteX571" fmla="*/ 160972 w 497205"/>
                <a:gd name="connsiteY571" fmla="*/ 131445 h 444817"/>
                <a:gd name="connsiteX572" fmla="*/ 159068 w 497205"/>
                <a:gd name="connsiteY572" fmla="*/ 128588 h 444817"/>
                <a:gd name="connsiteX573" fmla="*/ 157163 w 497205"/>
                <a:gd name="connsiteY573" fmla="*/ 123825 h 444817"/>
                <a:gd name="connsiteX574" fmla="*/ 156210 w 497205"/>
                <a:gd name="connsiteY574" fmla="*/ 121920 h 444817"/>
                <a:gd name="connsiteX575" fmla="*/ 154305 w 497205"/>
                <a:gd name="connsiteY575" fmla="*/ 122873 h 444817"/>
                <a:gd name="connsiteX576" fmla="*/ 149543 w 497205"/>
                <a:gd name="connsiteY576" fmla="*/ 124778 h 444817"/>
                <a:gd name="connsiteX577" fmla="*/ 147638 w 497205"/>
                <a:gd name="connsiteY577" fmla="*/ 131445 h 444817"/>
                <a:gd name="connsiteX578" fmla="*/ 144780 w 497205"/>
                <a:gd name="connsiteY578" fmla="*/ 136208 h 444817"/>
                <a:gd name="connsiteX579" fmla="*/ 144780 w 497205"/>
                <a:gd name="connsiteY579" fmla="*/ 140970 h 444817"/>
                <a:gd name="connsiteX580" fmla="*/ 146685 w 497205"/>
                <a:gd name="connsiteY580" fmla="*/ 143828 h 444817"/>
                <a:gd name="connsiteX581" fmla="*/ 141922 w 497205"/>
                <a:gd name="connsiteY581" fmla="*/ 147638 h 444817"/>
                <a:gd name="connsiteX582" fmla="*/ 140018 w 497205"/>
                <a:gd name="connsiteY582" fmla="*/ 147638 h 444817"/>
                <a:gd name="connsiteX583" fmla="*/ 137160 w 497205"/>
                <a:gd name="connsiteY583" fmla="*/ 145733 h 444817"/>
                <a:gd name="connsiteX584" fmla="*/ 132397 w 497205"/>
                <a:gd name="connsiteY584" fmla="*/ 146685 h 444817"/>
                <a:gd name="connsiteX585" fmla="*/ 131445 w 497205"/>
                <a:gd name="connsiteY585" fmla="*/ 149543 h 444817"/>
                <a:gd name="connsiteX586" fmla="*/ 131445 w 497205"/>
                <a:gd name="connsiteY586" fmla="*/ 154305 h 444817"/>
                <a:gd name="connsiteX587" fmla="*/ 131445 w 497205"/>
                <a:gd name="connsiteY587" fmla="*/ 156210 h 444817"/>
                <a:gd name="connsiteX588" fmla="*/ 131445 w 497205"/>
                <a:gd name="connsiteY588" fmla="*/ 162878 h 444817"/>
                <a:gd name="connsiteX589" fmla="*/ 126682 w 497205"/>
                <a:gd name="connsiteY589" fmla="*/ 163830 h 444817"/>
                <a:gd name="connsiteX590" fmla="*/ 123825 w 497205"/>
                <a:gd name="connsiteY590" fmla="*/ 160973 h 444817"/>
                <a:gd name="connsiteX591" fmla="*/ 123825 w 497205"/>
                <a:gd name="connsiteY591" fmla="*/ 156210 h 444817"/>
                <a:gd name="connsiteX592" fmla="*/ 126682 w 497205"/>
                <a:gd name="connsiteY592" fmla="*/ 155258 h 444817"/>
                <a:gd name="connsiteX593" fmla="*/ 122872 w 497205"/>
                <a:gd name="connsiteY593" fmla="*/ 154305 h 444817"/>
                <a:gd name="connsiteX594" fmla="*/ 120968 w 497205"/>
                <a:gd name="connsiteY594" fmla="*/ 150495 h 444817"/>
                <a:gd name="connsiteX595" fmla="*/ 119063 w 497205"/>
                <a:gd name="connsiteY595" fmla="*/ 145733 h 444817"/>
                <a:gd name="connsiteX596" fmla="*/ 116205 w 497205"/>
                <a:gd name="connsiteY596" fmla="*/ 140970 h 444817"/>
                <a:gd name="connsiteX597" fmla="*/ 112395 w 497205"/>
                <a:gd name="connsiteY597" fmla="*/ 139065 h 444817"/>
                <a:gd name="connsiteX598" fmla="*/ 106680 w 497205"/>
                <a:gd name="connsiteY598" fmla="*/ 133350 h 444817"/>
                <a:gd name="connsiteX599" fmla="*/ 102870 w 497205"/>
                <a:gd name="connsiteY599" fmla="*/ 132398 h 444817"/>
                <a:gd name="connsiteX600" fmla="*/ 100965 w 497205"/>
                <a:gd name="connsiteY600" fmla="*/ 130493 h 444817"/>
                <a:gd name="connsiteX601" fmla="*/ 100013 w 497205"/>
                <a:gd name="connsiteY601" fmla="*/ 128588 h 444817"/>
                <a:gd name="connsiteX602" fmla="*/ 98107 w 497205"/>
                <a:gd name="connsiteY602" fmla="*/ 128588 h 444817"/>
                <a:gd name="connsiteX603" fmla="*/ 97155 w 497205"/>
                <a:gd name="connsiteY603" fmla="*/ 131445 h 444817"/>
                <a:gd name="connsiteX604" fmla="*/ 99060 w 497205"/>
                <a:gd name="connsiteY604" fmla="*/ 133350 h 444817"/>
                <a:gd name="connsiteX605" fmla="*/ 100965 w 497205"/>
                <a:gd name="connsiteY605" fmla="*/ 136208 h 444817"/>
                <a:gd name="connsiteX606" fmla="*/ 101918 w 497205"/>
                <a:gd name="connsiteY606" fmla="*/ 138113 h 444817"/>
                <a:gd name="connsiteX607" fmla="*/ 105727 w 497205"/>
                <a:gd name="connsiteY607" fmla="*/ 140970 h 444817"/>
                <a:gd name="connsiteX608" fmla="*/ 108585 w 497205"/>
                <a:gd name="connsiteY608" fmla="*/ 141923 h 444817"/>
                <a:gd name="connsiteX609" fmla="*/ 108585 w 497205"/>
                <a:gd name="connsiteY609" fmla="*/ 143828 h 444817"/>
                <a:gd name="connsiteX610" fmla="*/ 113347 w 497205"/>
                <a:gd name="connsiteY610" fmla="*/ 146685 h 444817"/>
                <a:gd name="connsiteX611" fmla="*/ 115252 w 497205"/>
                <a:gd name="connsiteY611" fmla="*/ 149543 h 444817"/>
                <a:gd name="connsiteX612" fmla="*/ 116205 w 497205"/>
                <a:gd name="connsiteY612" fmla="*/ 152400 h 444817"/>
                <a:gd name="connsiteX613" fmla="*/ 115252 w 497205"/>
                <a:gd name="connsiteY613" fmla="*/ 152400 h 444817"/>
                <a:gd name="connsiteX614" fmla="*/ 113347 w 497205"/>
                <a:gd name="connsiteY614" fmla="*/ 150495 h 444817"/>
                <a:gd name="connsiteX615" fmla="*/ 112395 w 497205"/>
                <a:gd name="connsiteY615" fmla="*/ 150495 h 444817"/>
                <a:gd name="connsiteX616" fmla="*/ 112395 w 497205"/>
                <a:gd name="connsiteY616" fmla="*/ 156210 h 444817"/>
                <a:gd name="connsiteX617" fmla="*/ 111443 w 497205"/>
                <a:gd name="connsiteY617" fmla="*/ 158115 h 444817"/>
                <a:gd name="connsiteX618" fmla="*/ 109538 w 497205"/>
                <a:gd name="connsiteY618" fmla="*/ 158115 h 444817"/>
                <a:gd name="connsiteX619" fmla="*/ 109538 w 497205"/>
                <a:gd name="connsiteY619" fmla="*/ 153353 h 444817"/>
                <a:gd name="connsiteX620" fmla="*/ 106680 w 497205"/>
                <a:gd name="connsiteY620" fmla="*/ 150495 h 444817"/>
                <a:gd name="connsiteX621" fmla="*/ 103822 w 497205"/>
                <a:gd name="connsiteY621" fmla="*/ 146685 h 444817"/>
                <a:gd name="connsiteX622" fmla="*/ 100965 w 497205"/>
                <a:gd name="connsiteY622" fmla="*/ 144780 h 444817"/>
                <a:gd name="connsiteX623" fmla="*/ 97155 w 497205"/>
                <a:gd name="connsiteY623" fmla="*/ 144780 h 444817"/>
                <a:gd name="connsiteX624" fmla="*/ 94297 w 497205"/>
                <a:gd name="connsiteY624" fmla="*/ 142875 h 444817"/>
                <a:gd name="connsiteX625" fmla="*/ 91440 w 497205"/>
                <a:gd name="connsiteY625" fmla="*/ 137160 h 444817"/>
                <a:gd name="connsiteX626" fmla="*/ 89535 w 497205"/>
                <a:gd name="connsiteY626" fmla="*/ 134303 h 444817"/>
                <a:gd name="connsiteX627" fmla="*/ 87630 w 497205"/>
                <a:gd name="connsiteY627" fmla="*/ 132398 h 444817"/>
                <a:gd name="connsiteX628" fmla="*/ 84772 w 497205"/>
                <a:gd name="connsiteY628" fmla="*/ 133350 h 444817"/>
                <a:gd name="connsiteX629" fmla="*/ 80963 w 497205"/>
                <a:gd name="connsiteY629" fmla="*/ 138113 h 444817"/>
                <a:gd name="connsiteX630" fmla="*/ 77152 w 497205"/>
                <a:gd name="connsiteY630" fmla="*/ 139065 h 444817"/>
                <a:gd name="connsiteX631" fmla="*/ 75247 w 497205"/>
                <a:gd name="connsiteY631" fmla="*/ 137160 h 444817"/>
                <a:gd name="connsiteX632" fmla="*/ 71438 w 497205"/>
                <a:gd name="connsiteY632" fmla="*/ 139065 h 444817"/>
                <a:gd name="connsiteX633" fmla="*/ 70485 w 497205"/>
                <a:gd name="connsiteY633" fmla="*/ 141923 h 444817"/>
                <a:gd name="connsiteX634" fmla="*/ 60960 w 497205"/>
                <a:gd name="connsiteY634" fmla="*/ 149543 h 444817"/>
                <a:gd name="connsiteX635" fmla="*/ 57150 w 497205"/>
                <a:gd name="connsiteY635" fmla="*/ 158115 h 444817"/>
                <a:gd name="connsiteX636" fmla="*/ 53340 w 497205"/>
                <a:gd name="connsiteY636" fmla="*/ 164783 h 444817"/>
                <a:gd name="connsiteX637" fmla="*/ 50482 w 497205"/>
                <a:gd name="connsiteY637" fmla="*/ 164783 h 444817"/>
                <a:gd name="connsiteX638" fmla="*/ 47625 w 497205"/>
                <a:gd name="connsiteY638" fmla="*/ 162878 h 444817"/>
                <a:gd name="connsiteX639" fmla="*/ 44768 w 497205"/>
                <a:gd name="connsiteY639" fmla="*/ 163830 h 444817"/>
                <a:gd name="connsiteX640" fmla="*/ 40957 w 497205"/>
                <a:gd name="connsiteY640" fmla="*/ 164783 h 444817"/>
                <a:gd name="connsiteX641" fmla="*/ 37147 w 497205"/>
                <a:gd name="connsiteY641" fmla="*/ 162878 h 444817"/>
                <a:gd name="connsiteX642" fmla="*/ 34290 w 497205"/>
                <a:gd name="connsiteY642" fmla="*/ 161925 h 444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</a:cxnLst>
              <a:rect l="l" t="t" r="r" b="b"/>
              <a:pathLst>
                <a:path w="497205" h="444817">
                  <a:moveTo>
                    <a:pt x="32385" y="160020"/>
                  </a:moveTo>
                  <a:lnTo>
                    <a:pt x="32385" y="140970"/>
                  </a:lnTo>
                  <a:lnTo>
                    <a:pt x="32385" y="136208"/>
                  </a:lnTo>
                  <a:lnTo>
                    <a:pt x="37147" y="135255"/>
                  </a:lnTo>
                  <a:lnTo>
                    <a:pt x="42863" y="135255"/>
                  </a:lnTo>
                  <a:lnTo>
                    <a:pt x="49530" y="137160"/>
                  </a:lnTo>
                  <a:lnTo>
                    <a:pt x="52388" y="137160"/>
                  </a:lnTo>
                  <a:lnTo>
                    <a:pt x="56197" y="135255"/>
                  </a:lnTo>
                  <a:lnTo>
                    <a:pt x="55245" y="132398"/>
                  </a:lnTo>
                  <a:lnTo>
                    <a:pt x="57150" y="129540"/>
                  </a:lnTo>
                  <a:lnTo>
                    <a:pt x="56197" y="123825"/>
                  </a:lnTo>
                  <a:lnTo>
                    <a:pt x="52388" y="120968"/>
                  </a:lnTo>
                  <a:lnTo>
                    <a:pt x="48577" y="119063"/>
                  </a:lnTo>
                  <a:lnTo>
                    <a:pt x="47625" y="118110"/>
                  </a:lnTo>
                  <a:lnTo>
                    <a:pt x="47625" y="115253"/>
                  </a:lnTo>
                  <a:lnTo>
                    <a:pt x="53340" y="115253"/>
                  </a:lnTo>
                  <a:lnTo>
                    <a:pt x="54293" y="112395"/>
                  </a:lnTo>
                  <a:lnTo>
                    <a:pt x="53340" y="111443"/>
                  </a:lnTo>
                  <a:lnTo>
                    <a:pt x="56197" y="110490"/>
                  </a:lnTo>
                  <a:lnTo>
                    <a:pt x="57150" y="113348"/>
                  </a:lnTo>
                  <a:lnTo>
                    <a:pt x="60960" y="113348"/>
                  </a:lnTo>
                  <a:lnTo>
                    <a:pt x="67627" y="105728"/>
                  </a:lnTo>
                  <a:lnTo>
                    <a:pt x="70485" y="104775"/>
                  </a:lnTo>
                  <a:lnTo>
                    <a:pt x="72390" y="101918"/>
                  </a:lnTo>
                  <a:lnTo>
                    <a:pt x="74295" y="100965"/>
                  </a:lnTo>
                  <a:lnTo>
                    <a:pt x="75247" y="103823"/>
                  </a:lnTo>
                  <a:lnTo>
                    <a:pt x="76200" y="102870"/>
                  </a:lnTo>
                  <a:lnTo>
                    <a:pt x="76200" y="97155"/>
                  </a:lnTo>
                  <a:lnTo>
                    <a:pt x="80010" y="96203"/>
                  </a:lnTo>
                  <a:lnTo>
                    <a:pt x="84772" y="95250"/>
                  </a:lnTo>
                  <a:lnTo>
                    <a:pt x="85725" y="91440"/>
                  </a:lnTo>
                  <a:lnTo>
                    <a:pt x="85725" y="84773"/>
                  </a:lnTo>
                  <a:lnTo>
                    <a:pt x="84772" y="81915"/>
                  </a:lnTo>
                  <a:lnTo>
                    <a:pt x="87630" y="80010"/>
                  </a:lnTo>
                  <a:lnTo>
                    <a:pt x="90488" y="79057"/>
                  </a:lnTo>
                  <a:lnTo>
                    <a:pt x="91440" y="81915"/>
                  </a:lnTo>
                  <a:lnTo>
                    <a:pt x="91440" y="86678"/>
                  </a:lnTo>
                  <a:lnTo>
                    <a:pt x="89535" y="88582"/>
                  </a:lnTo>
                  <a:lnTo>
                    <a:pt x="89535" y="91440"/>
                  </a:lnTo>
                  <a:lnTo>
                    <a:pt x="92393" y="92393"/>
                  </a:lnTo>
                  <a:lnTo>
                    <a:pt x="97155" y="93345"/>
                  </a:lnTo>
                  <a:lnTo>
                    <a:pt x="100013" y="93345"/>
                  </a:lnTo>
                  <a:lnTo>
                    <a:pt x="104775" y="91440"/>
                  </a:lnTo>
                  <a:lnTo>
                    <a:pt x="107632" y="91440"/>
                  </a:lnTo>
                  <a:lnTo>
                    <a:pt x="112395" y="91440"/>
                  </a:lnTo>
                  <a:lnTo>
                    <a:pt x="115252" y="92393"/>
                  </a:lnTo>
                  <a:lnTo>
                    <a:pt x="117157" y="91440"/>
                  </a:lnTo>
                  <a:lnTo>
                    <a:pt x="118110" y="86678"/>
                  </a:lnTo>
                  <a:lnTo>
                    <a:pt x="120015" y="81915"/>
                  </a:lnTo>
                  <a:lnTo>
                    <a:pt x="121920" y="80010"/>
                  </a:lnTo>
                  <a:lnTo>
                    <a:pt x="123825" y="80010"/>
                  </a:lnTo>
                  <a:lnTo>
                    <a:pt x="124777" y="80963"/>
                  </a:lnTo>
                  <a:lnTo>
                    <a:pt x="127635" y="80010"/>
                  </a:lnTo>
                  <a:lnTo>
                    <a:pt x="127635" y="77153"/>
                  </a:lnTo>
                  <a:lnTo>
                    <a:pt x="126682" y="73343"/>
                  </a:lnTo>
                  <a:lnTo>
                    <a:pt x="133350" y="72390"/>
                  </a:lnTo>
                  <a:lnTo>
                    <a:pt x="136208" y="72390"/>
                  </a:lnTo>
                  <a:lnTo>
                    <a:pt x="140018" y="70485"/>
                  </a:lnTo>
                  <a:lnTo>
                    <a:pt x="138113" y="68580"/>
                  </a:lnTo>
                  <a:lnTo>
                    <a:pt x="137160" y="67628"/>
                  </a:lnTo>
                  <a:lnTo>
                    <a:pt x="134302" y="68580"/>
                  </a:lnTo>
                  <a:lnTo>
                    <a:pt x="131445" y="69533"/>
                  </a:lnTo>
                  <a:lnTo>
                    <a:pt x="127635" y="70485"/>
                  </a:lnTo>
                  <a:lnTo>
                    <a:pt x="123825" y="70485"/>
                  </a:lnTo>
                  <a:lnTo>
                    <a:pt x="119063" y="60960"/>
                  </a:lnTo>
                  <a:lnTo>
                    <a:pt x="119063" y="58103"/>
                  </a:lnTo>
                  <a:lnTo>
                    <a:pt x="122872" y="54293"/>
                  </a:lnTo>
                  <a:lnTo>
                    <a:pt x="125730" y="51435"/>
                  </a:lnTo>
                  <a:lnTo>
                    <a:pt x="125730" y="46673"/>
                  </a:lnTo>
                  <a:lnTo>
                    <a:pt x="124777" y="46673"/>
                  </a:lnTo>
                  <a:lnTo>
                    <a:pt x="121920" y="45720"/>
                  </a:lnTo>
                  <a:lnTo>
                    <a:pt x="119063" y="48578"/>
                  </a:lnTo>
                  <a:lnTo>
                    <a:pt x="115252" y="52388"/>
                  </a:lnTo>
                  <a:lnTo>
                    <a:pt x="115252" y="55245"/>
                  </a:lnTo>
                  <a:lnTo>
                    <a:pt x="111443" y="57150"/>
                  </a:lnTo>
                  <a:lnTo>
                    <a:pt x="108585" y="63818"/>
                  </a:lnTo>
                  <a:lnTo>
                    <a:pt x="110490" y="68580"/>
                  </a:lnTo>
                  <a:lnTo>
                    <a:pt x="110490" y="71438"/>
                  </a:lnTo>
                  <a:lnTo>
                    <a:pt x="107632" y="76200"/>
                  </a:lnTo>
                  <a:lnTo>
                    <a:pt x="105727" y="80963"/>
                  </a:lnTo>
                  <a:lnTo>
                    <a:pt x="105727" y="83820"/>
                  </a:lnTo>
                  <a:lnTo>
                    <a:pt x="103822" y="85725"/>
                  </a:lnTo>
                  <a:lnTo>
                    <a:pt x="101918" y="86678"/>
                  </a:lnTo>
                  <a:lnTo>
                    <a:pt x="100965" y="88582"/>
                  </a:lnTo>
                  <a:lnTo>
                    <a:pt x="97155" y="88582"/>
                  </a:lnTo>
                  <a:lnTo>
                    <a:pt x="97155" y="84773"/>
                  </a:lnTo>
                  <a:lnTo>
                    <a:pt x="95250" y="81915"/>
                  </a:lnTo>
                  <a:lnTo>
                    <a:pt x="93345" y="80010"/>
                  </a:lnTo>
                  <a:lnTo>
                    <a:pt x="93345" y="75248"/>
                  </a:lnTo>
                  <a:lnTo>
                    <a:pt x="92393" y="76200"/>
                  </a:lnTo>
                  <a:lnTo>
                    <a:pt x="92393" y="73343"/>
                  </a:lnTo>
                  <a:lnTo>
                    <a:pt x="88582" y="75248"/>
                  </a:lnTo>
                  <a:lnTo>
                    <a:pt x="87630" y="75248"/>
                  </a:lnTo>
                  <a:lnTo>
                    <a:pt x="85725" y="77153"/>
                  </a:lnTo>
                  <a:lnTo>
                    <a:pt x="81915" y="77153"/>
                  </a:lnTo>
                  <a:lnTo>
                    <a:pt x="80010" y="74295"/>
                  </a:lnTo>
                  <a:lnTo>
                    <a:pt x="80010" y="64770"/>
                  </a:lnTo>
                  <a:lnTo>
                    <a:pt x="84772" y="60960"/>
                  </a:lnTo>
                  <a:lnTo>
                    <a:pt x="88582" y="57150"/>
                  </a:lnTo>
                  <a:lnTo>
                    <a:pt x="97155" y="48578"/>
                  </a:lnTo>
                  <a:lnTo>
                    <a:pt x="103822" y="42863"/>
                  </a:lnTo>
                  <a:lnTo>
                    <a:pt x="112395" y="34290"/>
                  </a:lnTo>
                  <a:lnTo>
                    <a:pt x="125730" y="25718"/>
                  </a:lnTo>
                  <a:lnTo>
                    <a:pt x="132397" y="25718"/>
                  </a:lnTo>
                  <a:lnTo>
                    <a:pt x="138113" y="27623"/>
                  </a:lnTo>
                  <a:lnTo>
                    <a:pt x="140970" y="29528"/>
                  </a:lnTo>
                  <a:lnTo>
                    <a:pt x="150495" y="33338"/>
                  </a:lnTo>
                  <a:lnTo>
                    <a:pt x="159068" y="39053"/>
                  </a:lnTo>
                  <a:lnTo>
                    <a:pt x="160972" y="39053"/>
                  </a:lnTo>
                  <a:lnTo>
                    <a:pt x="162877" y="40958"/>
                  </a:lnTo>
                  <a:lnTo>
                    <a:pt x="163830" y="41910"/>
                  </a:lnTo>
                  <a:lnTo>
                    <a:pt x="163830" y="44768"/>
                  </a:lnTo>
                  <a:lnTo>
                    <a:pt x="162877" y="46673"/>
                  </a:lnTo>
                  <a:lnTo>
                    <a:pt x="159068" y="46673"/>
                  </a:lnTo>
                  <a:lnTo>
                    <a:pt x="154305" y="44768"/>
                  </a:lnTo>
                  <a:lnTo>
                    <a:pt x="150495" y="43815"/>
                  </a:lnTo>
                  <a:lnTo>
                    <a:pt x="146685" y="41910"/>
                  </a:lnTo>
                  <a:lnTo>
                    <a:pt x="146685" y="45720"/>
                  </a:lnTo>
                  <a:lnTo>
                    <a:pt x="148590" y="47625"/>
                  </a:lnTo>
                  <a:lnTo>
                    <a:pt x="152400" y="49530"/>
                  </a:lnTo>
                  <a:lnTo>
                    <a:pt x="157163" y="54293"/>
                  </a:lnTo>
                  <a:lnTo>
                    <a:pt x="160020" y="54293"/>
                  </a:lnTo>
                  <a:lnTo>
                    <a:pt x="166688" y="48578"/>
                  </a:lnTo>
                  <a:lnTo>
                    <a:pt x="168593" y="47625"/>
                  </a:lnTo>
                  <a:lnTo>
                    <a:pt x="171450" y="44768"/>
                  </a:lnTo>
                  <a:lnTo>
                    <a:pt x="172402" y="46673"/>
                  </a:lnTo>
                  <a:lnTo>
                    <a:pt x="175260" y="46673"/>
                  </a:lnTo>
                  <a:lnTo>
                    <a:pt x="175260" y="42863"/>
                  </a:lnTo>
                  <a:lnTo>
                    <a:pt x="173355" y="41910"/>
                  </a:lnTo>
                  <a:lnTo>
                    <a:pt x="173355" y="39053"/>
                  </a:lnTo>
                  <a:lnTo>
                    <a:pt x="171450" y="38100"/>
                  </a:lnTo>
                  <a:lnTo>
                    <a:pt x="171450" y="34290"/>
                  </a:lnTo>
                  <a:lnTo>
                    <a:pt x="173355" y="34290"/>
                  </a:lnTo>
                  <a:lnTo>
                    <a:pt x="177165" y="37148"/>
                  </a:lnTo>
                  <a:lnTo>
                    <a:pt x="177165" y="40958"/>
                  </a:lnTo>
                  <a:lnTo>
                    <a:pt x="179070" y="40958"/>
                  </a:lnTo>
                  <a:lnTo>
                    <a:pt x="184785" y="39053"/>
                  </a:lnTo>
                  <a:lnTo>
                    <a:pt x="192405" y="36195"/>
                  </a:lnTo>
                  <a:lnTo>
                    <a:pt x="198120" y="34290"/>
                  </a:lnTo>
                  <a:lnTo>
                    <a:pt x="206693" y="32385"/>
                  </a:lnTo>
                  <a:lnTo>
                    <a:pt x="216218" y="31433"/>
                  </a:lnTo>
                  <a:lnTo>
                    <a:pt x="220980" y="34290"/>
                  </a:lnTo>
                  <a:lnTo>
                    <a:pt x="224790" y="34290"/>
                  </a:lnTo>
                  <a:lnTo>
                    <a:pt x="224790" y="31433"/>
                  </a:lnTo>
                  <a:lnTo>
                    <a:pt x="221933" y="27623"/>
                  </a:lnTo>
                  <a:lnTo>
                    <a:pt x="219075" y="26670"/>
                  </a:lnTo>
                  <a:lnTo>
                    <a:pt x="219075" y="23813"/>
                  </a:lnTo>
                  <a:lnTo>
                    <a:pt x="224790" y="18098"/>
                  </a:lnTo>
                  <a:lnTo>
                    <a:pt x="225743" y="17145"/>
                  </a:lnTo>
                  <a:lnTo>
                    <a:pt x="229552" y="16193"/>
                  </a:lnTo>
                  <a:lnTo>
                    <a:pt x="230505" y="18098"/>
                  </a:lnTo>
                  <a:lnTo>
                    <a:pt x="230505" y="21908"/>
                  </a:lnTo>
                  <a:lnTo>
                    <a:pt x="239077" y="33338"/>
                  </a:lnTo>
                  <a:lnTo>
                    <a:pt x="239077" y="38100"/>
                  </a:lnTo>
                  <a:lnTo>
                    <a:pt x="236220" y="39053"/>
                  </a:lnTo>
                  <a:lnTo>
                    <a:pt x="234315" y="41910"/>
                  </a:lnTo>
                  <a:lnTo>
                    <a:pt x="239077" y="41910"/>
                  </a:lnTo>
                  <a:lnTo>
                    <a:pt x="241935" y="39053"/>
                  </a:lnTo>
                  <a:lnTo>
                    <a:pt x="242888" y="33338"/>
                  </a:lnTo>
                  <a:lnTo>
                    <a:pt x="246697" y="33338"/>
                  </a:lnTo>
                  <a:lnTo>
                    <a:pt x="248602" y="33338"/>
                  </a:lnTo>
                  <a:lnTo>
                    <a:pt x="248602" y="31433"/>
                  </a:lnTo>
                  <a:lnTo>
                    <a:pt x="241935" y="29528"/>
                  </a:lnTo>
                  <a:lnTo>
                    <a:pt x="237172" y="25718"/>
                  </a:lnTo>
                  <a:lnTo>
                    <a:pt x="235268" y="20955"/>
                  </a:lnTo>
                  <a:lnTo>
                    <a:pt x="245745" y="14288"/>
                  </a:lnTo>
                  <a:lnTo>
                    <a:pt x="250508" y="10478"/>
                  </a:lnTo>
                  <a:lnTo>
                    <a:pt x="256222" y="5715"/>
                  </a:lnTo>
                  <a:lnTo>
                    <a:pt x="271462" y="953"/>
                  </a:lnTo>
                  <a:lnTo>
                    <a:pt x="277178" y="0"/>
                  </a:lnTo>
                  <a:lnTo>
                    <a:pt x="300990" y="0"/>
                  </a:lnTo>
                  <a:lnTo>
                    <a:pt x="304800" y="953"/>
                  </a:lnTo>
                  <a:lnTo>
                    <a:pt x="303847" y="4763"/>
                  </a:lnTo>
                  <a:lnTo>
                    <a:pt x="299085" y="11430"/>
                  </a:lnTo>
                  <a:lnTo>
                    <a:pt x="299085" y="11430"/>
                  </a:lnTo>
                  <a:lnTo>
                    <a:pt x="300990" y="12383"/>
                  </a:lnTo>
                  <a:lnTo>
                    <a:pt x="309562" y="7620"/>
                  </a:lnTo>
                  <a:lnTo>
                    <a:pt x="320040" y="7620"/>
                  </a:lnTo>
                  <a:lnTo>
                    <a:pt x="354330" y="13335"/>
                  </a:lnTo>
                  <a:lnTo>
                    <a:pt x="358140" y="14288"/>
                  </a:lnTo>
                  <a:lnTo>
                    <a:pt x="366712" y="13335"/>
                  </a:lnTo>
                  <a:lnTo>
                    <a:pt x="367665" y="9525"/>
                  </a:lnTo>
                  <a:lnTo>
                    <a:pt x="369570" y="6668"/>
                  </a:lnTo>
                  <a:lnTo>
                    <a:pt x="375285" y="7620"/>
                  </a:lnTo>
                  <a:lnTo>
                    <a:pt x="389572" y="10478"/>
                  </a:lnTo>
                  <a:lnTo>
                    <a:pt x="402908" y="10478"/>
                  </a:lnTo>
                  <a:lnTo>
                    <a:pt x="412433" y="9525"/>
                  </a:lnTo>
                  <a:lnTo>
                    <a:pt x="422910" y="13335"/>
                  </a:lnTo>
                  <a:lnTo>
                    <a:pt x="431483" y="13335"/>
                  </a:lnTo>
                  <a:lnTo>
                    <a:pt x="441960" y="8573"/>
                  </a:lnTo>
                  <a:lnTo>
                    <a:pt x="450533" y="8573"/>
                  </a:lnTo>
                  <a:lnTo>
                    <a:pt x="471487" y="10478"/>
                  </a:lnTo>
                  <a:lnTo>
                    <a:pt x="484822" y="15240"/>
                  </a:lnTo>
                  <a:lnTo>
                    <a:pt x="493395" y="17145"/>
                  </a:lnTo>
                  <a:lnTo>
                    <a:pt x="497205" y="20003"/>
                  </a:lnTo>
                  <a:lnTo>
                    <a:pt x="497205" y="21908"/>
                  </a:lnTo>
                  <a:lnTo>
                    <a:pt x="493395" y="21908"/>
                  </a:lnTo>
                  <a:lnTo>
                    <a:pt x="489585" y="20955"/>
                  </a:lnTo>
                  <a:lnTo>
                    <a:pt x="485775" y="20955"/>
                  </a:lnTo>
                  <a:lnTo>
                    <a:pt x="483870" y="20955"/>
                  </a:lnTo>
                  <a:lnTo>
                    <a:pt x="481965" y="20003"/>
                  </a:lnTo>
                  <a:lnTo>
                    <a:pt x="480060" y="20955"/>
                  </a:lnTo>
                  <a:lnTo>
                    <a:pt x="480060" y="25718"/>
                  </a:lnTo>
                  <a:lnTo>
                    <a:pt x="485775" y="27623"/>
                  </a:lnTo>
                  <a:lnTo>
                    <a:pt x="490537" y="29528"/>
                  </a:lnTo>
                  <a:lnTo>
                    <a:pt x="493395" y="30480"/>
                  </a:lnTo>
                  <a:lnTo>
                    <a:pt x="492443" y="33338"/>
                  </a:lnTo>
                  <a:lnTo>
                    <a:pt x="486728" y="41910"/>
                  </a:lnTo>
                  <a:lnTo>
                    <a:pt x="486728" y="43815"/>
                  </a:lnTo>
                  <a:lnTo>
                    <a:pt x="479108" y="44768"/>
                  </a:lnTo>
                  <a:lnTo>
                    <a:pt x="474345" y="46673"/>
                  </a:lnTo>
                  <a:lnTo>
                    <a:pt x="477203" y="50483"/>
                  </a:lnTo>
                  <a:lnTo>
                    <a:pt x="483870" y="57150"/>
                  </a:lnTo>
                  <a:lnTo>
                    <a:pt x="489585" y="66675"/>
                  </a:lnTo>
                  <a:lnTo>
                    <a:pt x="492443" y="76200"/>
                  </a:lnTo>
                  <a:lnTo>
                    <a:pt x="492443" y="81915"/>
                  </a:lnTo>
                  <a:lnTo>
                    <a:pt x="490537" y="81915"/>
                  </a:lnTo>
                  <a:lnTo>
                    <a:pt x="486728" y="77153"/>
                  </a:lnTo>
                  <a:lnTo>
                    <a:pt x="481012" y="71438"/>
                  </a:lnTo>
                  <a:lnTo>
                    <a:pt x="472440" y="63818"/>
                  </a:lnTo>
                  <a:lnTo>
                    <a:pt x="466725" y="60008"/>
                  </a:lnTo>
                  <a:lnTo>
                    <a:pt x="466725" y="55245"/>
                  </a:lnTo>
                  <a:lnTo>
                    <a:pt x="469583" y="51435"/>
                  </a:lnTo>
                  <a:lnTo>
                    <a:pt x="468630" y="45720"/>
                  </a:lnTo>
                  <a:lnTo>
                    <a:pt x="465772" y="40958"/>
                  </a:lnTo>
                  <a:lnTo>
                    <a:pt x="463868" y="40005"/>
                  </a:lnTo>
                  <a:lnTo>
                    <a:pt x="461962" y="42863"/>
                  </a:lnTo>
                  <a:lnTo>
                    <a:pt x="461010" y="42863"/>
                  </a:lnTo>
                  <a:lnTo>
                    <a:pt x="459105" y="41910"/>
                  </a:lnTo>
                  <a:lnTo>
                    <a:pt x="455295" y="41910"/>
                  </a:lnTo>
                  <a:lnTo>
                    <a:pt x="455295" y="46673"/>
                  </a:lnTo>
                  <a:lnTo>
                    <a:pt x="457200" y="51435"/>
                  </a:lnTo>
                  <a:lnTo>
                    <a:pt x="453390" y="54293"/>
                  </a:lnTo>
                  <a:lnTo>
                    <a:pt x="446722" y="55245"/>
                  </a:lnTo>
                  <a:lnTo>
                    <a:pt x="441008" y="56198"/>
                  </a:lnTo>
                  <a:lnTo>
                    <a:pt x="434340" y="56198"/>
                  </a:lnTo>
                  <a:lnTo>
                    <a:pt x="428625" y="58103"/>
                  </a:lnTo>
                  <a:lnTo>
                    <a:pt x="427672" y="60008"/>
                  </a:lnTo>
                  <a:lnTo>
                    <a:pt x="427672" y="72390"/>
                  </a:lnTo>
                  <a:lnTo>
                    <a:pt x="432435" y="77153"/>
                  </a:lnTo>
                  <a:lnTo>
                    <a:pt x="434340" y="77153"/>
                  </a:lnTo>
                  <a:lnTo>
                    <a:pt x="435293" y="76200"/>
                  </a:lnTo>
                  <a:lnTo>
                    <a:pt x="439103" y="76200"/>
                  </a:lnTo>
                  <a:lnTo>
                    <a:pt x="442912" y="79057"/>
                  </a:lnTo>
                  <a:lnTo>
                    <a:pt x="449580" y="86678"/>
                  </a:lnTo>
                  <a:lnTo>
                    <a:pt x="453390" y="94298"/>
                  </a:lnTo>
                  <a:lnTo>
                    <a:pt x="456247" y="101918"/>
                  </a:lnTo>
                  <a:lnTo>
                    <a:pt x="458153" y="111443"/>
                  </a:lnTo>
                  <a:lnTo>
                    <a:pt x="459105" y="120968"/>
                  </a:lnTo>
                  <a:lnTo>
                    <a:pt x="449580" y="123825"/>
                  </a:lnTo>
                  <a:lnTo>
                    <a:pt x="448628" y="131445"/>
                  </a:lnTo>
                  <a:lnTo>
                    <a:pt x="447675" y="138113"/>
                  </a:lnTo>
                  <a:lnTo>
                    <a:pt x="451485" y="143828"/>
                  </a:lnTo>
                  <a:lnTo>
                    <a:pt x="456247" y="151448"/>
                  </a:lnTo>
                  <a:lnTo>
                    <a:pt x="457200" y="153353"/>
                  </a:lnTo>
                  <a:lnTo>
                    <a:pt x="457200" y="156210"/>
                  </a:lnTo>
                  <a:lnTo>
                    <a:pt x="454343" y="158115"/>
                  </a:lnTo>
                  <a:lnTo>
                    <a:pt x="451485" y="160020"/>
                  </a:lnTo>
                  <a:lnTo>
                    <a:pt x="450533" y="157163"/>
                  </a:lnTo>
                  <a:lnTo>
                    <a:pt x="447675" y="151448"/>
                  </a:lnTo>
                  <a:lnTo>
                    <a:pt x="444818" y="146685"/>
                  </a:lnTo>
                  <a:lnTo>
                    <a:pt x="441008" y="143828"/>
                  </a:lnTo>
                  <a:lnTo>
                    <a:pt x="435293" y="138113"/>
                  </a:lnTo>
                  <a:lnTo>
                    <a:pt x="434340" y="138113"/>
                  </a:lnTo>
                  <a:lnTo>
                    <a:pt x="430530" y="141923"/>
                  </a:lnTo>
                  <a:lnTo>
                    <a:pt x="427672" y="140970"/>
                  </a:lnTo>
                  <a:lnTo>
                    <a:pt x="427672" y="137160"/>
                  </a:lnTo>
                  <a:lnTo>
                    <a:pt x="428625" y="135255"/>
                  </a:lnTo>
                  <a:lnTo>
                    <a:pt x="424815" y="135255"/>
                  </a:lnTo>
                  <a:lnTo>
                    <a:pt x="419100" y="140970"/>
                  </a:lnTo>
                  <a:lnTo>
                    <a:pt x="419100" y="143828"/>
                  </a:lnTo>
                  <a:lnTo>
                    <a:pt x="422910" y="147638"/>
                  </a:lnTo>
                  <a:lnTo>
                    <a:pt x="430530" y="147638"/>
                  </a:lnTo>
                  <a:lnTo>
                    <a:pt x="434340" y="149543"/>
                  </a:lnTo>
                  <a:lnTo>
                    <a:pt x="433387" y="151448"/>
                  </a:lnTo>
                  <a:lnTo>
                    <a:pt x="431483" y="152400"/>
                  </a:lnTo>
                  <a:lnTo>
                    <a:pt x="431483" y="157163"/>
                  </a:lnTo>
                  <a:lnTo>
                    <a:pt x="439103" y="168593"/>
                  </a:lnTo>
                  <a:lnTo>
                    <a:pt x="442912" y="176213"/>
                  </a:lnTo>
                  <a:lnTo>
                    <a:pt x="440055" y="177165"/>
                  </a:lnTo>
                  <a:lnTo>
                    <a:pt x="442912" y="179070"/>
                  </a:lnTo>
                  <a:lnTo>
                    <a:pt x="444818" y="181928"/>
                  </a:lnTo>
                  <a:lnTo>
                    <a:pt x="444818" y="195263"/>
                  </a:lnTo>
                  <a:lnTo>
                    <a:pt x="441008" y="200025"/>
                  </a:lnTo>
                  <a:lnTo>
                    <a:pt x="431483" y="209550"/>
                  </a:lnTo>
                  <a:lnTo>
                    <a:pt x="422910" y="215265"/>
                  </a:lnTo>
                  <a:lnTo>
                    <a:pt x="420053" y="220028"/>
                  </a:lnTo>
                  <a:lnTo>
                    <a:pt x="418147" y="220028"/>
                  </a:lnTo>
                  <a:lnTo>
                    <a:pt x="416243" y="217170"/>
                  </a:lnTo>
                  <a:lnTo>
                    <a:pt x="414337" y="215265"/>
                  </a:lnTo>
                  <a:lnTo>
                    <a:pt x="410528" y="217170"/>
                  </a:lnTo>
                  <a:lnTo>
                    <a:pt x="406718" y="226695"/>
                  </a:lnTo>
                  <a:lnTo>
                    <a:pt x="407670" y="230505"/>
                  </a:lnTo>
                  <a:lnTo>
                    <a:pt x="415290" y="237173"/>
                  </a:lnTo>
                  <a:lnTo>
                    <a:pt x="421005" y="243840"/>
                  </a:lnTo>
                  <a:lnTo>
                    <a:pt x="421958" y="255270"/>
                  </a:lnTo>
                  <a:lnTo>
                    <a:pt x="419100" y="260033"/>
                  </a:lnTo>
                  <a:lnTo>
                    <a:pt x="416243" y="263843"/>
                  </a:lnTo>
                  <a:lnTo>
                    <a:pt x="412433" y="266700"/>
                  </a:lnTo>
                  <a:lnTo>
                    <a:pt x="411480" y="269558"/>
                  </a:lnTo>
                  <a:lnTo>
                    <a:pt x="408622" y="269558"/>
                  </a:lnTo>
                  <a:lnTo>
                    <a:pt x="408622" y="266700"/>
                  </a:lnTo>
                  <a:lnTo>
                    <a:pt x="406718" y="263843"/>
                  </a:lnTo>
                  <a:lnTo>
                    <a:pt x="404812" y="261938"/>
                  </a:lnTo>
                  <a:lnTo>
                    <a:pt x="401003" y="259080"/>
                  </a:lnTo>
                  <a:lnTo>
                    <a:pt x="401003" y="255270"/>
                  </a:lnTo>
                  <a:lnTo>
                    <a:pt x="398145" y="254318"/>
                  </a:lnTo>
                  <a:lnTo>
                    <a:pt x="395287" y="252413"/>
                  </a:lnTo>
                  <a:lnTo>
                    <a:pt x="394335" y="250508"/>
                  </a:lnTo>
                  <a:lnTo>
                    <a:pt x="390525" y="250508"/>
                  </a:lnTo>
                  <a:lnTo>
                    <a:pt x="392430" y="260033"/>
                  </a:lnTo>
                  <a:lnTo>
                    <a:pt x="392430" y="267653"/>
                  </a:lnTo>
                  <a:lnTo>
                    <a:pt x="395287" y="274320"/>
                  </a:lnTo>
                  <a:lnTo>
                    <a:pt x="399097" y="280035"/>
                  </a:lnTo>
                  <a:lnTo>
                    <a:pt x="402908" y="285750"/>
                  </a:lnTo>
                  <a:lnTo>
                    <a:pt x="405765" y="291465"/>
                  </a:lnTo>
                  <a:lnTo>
                    <a:pt x="407670" y="295275"/>
                  </a:lnTo>
                  <a:lnTo>
                    <a:pt x="406718" y="298133"/>
                  </a:lnTo>
                  <a:lnTo>
                    <a:pt x="403860" y="298133"/>
                  </a:lnTo>
                  <a:lnTo>
                    <a:pt x="401003" y="295275"/>
                  </a:lnTo>
                  <a:lnTo>
                    <a:pt x="399097" y="295275"/>
                  </a:lnTo>
                  <a:lnTo>
                    <a:pt x="393383" y="282893"/>
                  </a:lnTo>
                  <a:lnTo>
                    <a:pt x="390525" y="278130"/>
                  </a:lnTo>
                  <a:lnTo>
                    <a:pt x="385762" y="273368"/>
                  </a:lnTo>
                  <a:lnTo>
                    <a:pt x="385762" y="260033"/>
                  </a:lnTo>
                  <a:lnTo>
                    <a:pt x="384810" y="251460"/>
                  </a:lnTo>
                  <a:lnTo>
                    <a:pt x="381953" y="243840"/>
                  </a:lnTo>
                  <a:lnTo>
                    <a:pt x="379095" y="235268"/>
                  </a:lnTo>
                  <a:lnTo>
                    <a:pt x="377190" y="236220"/>
                  </a:lnTo>
                  <a:lnTo>
                    <a:pt x="374333" y="239078"/>
                  </a:lnTo>
                  <a:lnTo>
                    <a:pt x="371475" y="240030"/>
                  </a:lnTo>
                  <a:lnTo>
                    <a:pt x="368618" y="239078"/>
                  </a:lnTo>
                  <a:lnTo>
                    <a:pt x="369570" y="231458"/>
                  </a:lnTo>
                  <a:lnTo>
                    <a:pt x="363855" y="223838"/>
                  </a:lnTo>
                  <a:lnTo>
                    <a:pt x="360045" y="220980"/>
                  </a:lnTo>
                  <a:lnTo>
                    <a:pt x="360045" y="218123"/>
                  </a:lnTo>
                  <a:lnTo>
                    <a:pt x="359093" y="213360"/>
                  </a:lnTo>
                  <a:lnTo>
                    <a:pt x="355283" y="213360"/>
                  </a:lnTo>
                  <a:lnTo>
                    <a:pt x="351472" y="218123"/>
                  </a:lnTo>
                  <a:lnTo>
                    <a:pt x="348615" y="217170"/>
                  </a:lnTo>
                  <a:lnTo>
                    <a:pt x="347662" y="215265"/>
                  </a:lnTo>
                  <a:lnTo>
                    <a:pt x="344805" y="217170"/>
                  </a:lnTo>
                  <a:lnTo>
                    <a:pt x="340995" y="223838"/>
                  </a:lnTo>
                  <a:lnTo>
                    <a:pt x="336233" y="230505"/>
                  </a:lnTo>
                  <a:lnTo>
                    <a:pt x="332422" y="235268"/>
                  </a:lnTo>
                  <a:lnTo>
                    <a:pt x="326708" y="243840"/>
                  </a:lnTo>
                  <a:lnTo>
                    <a:pt x="323850" y="256223"/>
                  </a:lnTo>
                  <a:lnTo>
                    <a:pt x="322897" y="263843"/>
                  </a:lnTo>
                  <a:lnTo>
                    <a:pt x="320040" y="274320"/>
                  </a:lnTo>
                  <a:lnTo>
                    <a:pt x="318135" y="274320"/>
                  </a:lnTo>
                  <a:lnTo>
                    <a:pt x="315278" y="273368"/>
                  </a:lnTo>
                  <a:lnTo>
                    <a:pt x="312420" y="264795"/>
                  </a:lnTo>
                  <a:lnTo>
                    <a:pt x="307658" y="257175"/>
                  </a:lnTo>
                  <a:lnTo>
                    <a:pt x="300990" y="240983"/>
                  </a:lnTo>
                  <a:lnTo>
                    <a:pt x="298133" y="229553"/>
                  </a:lnTo>
                  <a:lnTo>
                    <a:pt x="297180" y="218123"/>
                  </a:lnTo>
                  <a:lnTo>
                    <a:pt x="294322" y="218123"/>
                  </a:lnTo>
                  <a:lnTo>
                    <a:pt x="293370" y="223838"/>
                  </a:lnTo>
                  <a:lnTo>
                    <a:pt x="291465" y="224790"/>
                  </a:lnTo>
                  <a:lnTo>
                    <a:pt x="288608" y="222885"/>
                  </a:lnTo>
                  <a:lnTo>
                    <a:pt x="282893" y="217170"/>
                  </a:lnTo>
                  <a:lnTo>
                    <a:pt x="280987" y="214313"/>
                  </a:lnTo>
                  <a:lnTo>
                    <a:pt x="280035" y="210503"/>
                  </a:lnTo>
                  <a:lnTo>
                    <a:pt x="275272" y="206693"/>
                  </a:lnTo>
                  <a:lnTo>
                    <a:pt x="253365" y="206693"/>
                  </a:lnTo>
                  <a:lnTo>
                    <a:pt x="249555" y="205740"/>
                  </a:lnTo>
                  <a:lnTo>
                    <a:pt x="244793" y="203835"/>
                  </a:lnTo>
                  <a:lnTo>
                    <a:pt x="244793" y="200025"/>
                  </a:lnTo>
                  <a:lnTo>
                    <a:pt x="242888" y="198120"/>
                  </a:lnTo>
                  <a:lnTo>
                    <a:pt x="238125" y="199073"/>
                  </a:lnTo>
                  <a:lnTo>
                    <a:pt x="236220" y="200978"/>
                  </a:lnTo>
                  <a:lnTo>
                    <a:pt x="230505" y="200978"/>
                  </a:lnTo>
                  <a:lnTo>
                    <a:pt x="227647" y="198120"/>
                  </a:lnTo>
                  <a:lnTo>
                    <a:pt x="221933" y="192405"/>
                  </a:lnTo>
                  <a:lnTo>
                    <a:pt x="218122" y="188595"/>
                  </a:lnTo>
                  <a:lnTo>
                    <a:pt x="214313" y="188595"/>
                  </a:lnTo>
                  <a:lnTo>
                    <a:pt x="212408" y="191453"/>
                  </a:lnTo>
                  <a:lnTo>
                    <a:pt x="212408" y="193358"/>
                  </a:lnTo>
                  <a:lnTo>
                    <a:pt x="217170" y="197168"/>
                  </a:lnTo>
                  <a:lnTo>
                    <a:pt x="219075" y="200978"/>
                  </a:lnTo>
                  <a:lnTo>
                    <a:pt x="220980" y="201930"/>
                  </a:lnTo>
                  <a:lnTo>
                    <a:pt x="221933" y="204788"/>
                  </a:lnTo>
                  <a:lnTo>
                    <a:pt x="223838" y="204788"/>
                  </a:lnTo>
                  <a:lnTo>
                    <a:pt x="226695" y="203835"/>
                  </a:lnTo>
                  <a:lnTo>
                    <a:pt x="227647" y="205740"/>
                  </a:lnTo>
                  <a:lnTo>
                    <a:pt x="227647" y="210503"/>
                  </a:lnTo>
                  <a:lnTo>
                    <a:pt x="230505" y="210503"/>
                  </a:lnTo>
                  <a:lnTo>
                    <a:pt x="235268" y="211455"/>
                  </a:lnTo>
                  <a:lnTo>
                    <a:pt x="237172" y="208598"/>
                  </a:lnTo>
                  <a:lnTo>
                    <a:pt x="239077" y="204788"/>
                  </a:lnTo>
                  <a:lnTo>
                    <a:pt x="242888" y="204788"/>
                  </a:lnTo>
                  <a:lnTo>
                    <a:pt x="242888" y="209550"/>
                  </a:lnTo>
                  <a:lnTo>
                    <a:pt x="243840" y="212408"/>
                  </a:lnTo>
                  <a:lnTo>
                    <a:pt x="246697" y="213360"/>
                  </a:lnTo>
                  <a:lnTo>
                    <a:pt x="250508" y="214313"/>
                  </a:lnTo>
                  <a:lnTo>
                    <a:pt x="252412" y="215265"/>
                  </a:lnTo>
                  <a:lnTo>
                    <a:pt x="253365" y="217170"/>
                  </a:lnTo>
                  <a:lnTo>
                    <a:pt x="249555" y="227648"/>
                  </a:lnTo>
                  <a:lnTo>
                    <a:pt x="244793" y="234315"/>
                  </a:lnTo>
                  <a:lnTo>
                    <a:pt x="240030" y="239078"/>
                  </a:lnTo>
                  <a:lnTo>
                    <a:pt x="236220" y="240983"/>
                  </a:lnTo>
                  <a:lnTo>
                    <a:pt x="230505" y="244793"/>
                  </a:lnTo>
                  <a:lnTo>
                    <a:pt x="225743" y="249555"/>
                  </a:lnTo>
                  <a:lnTo>
                    <a:pt x="220980" y="252413"/>
                  </a:lnTo>
                  <a:lnTo>
                    <a:pt x="208597" y="255270"/>
                  </a:lnTo>
                  <a:lnTo>
                    <a:pt x="204788" y="256223"/>
                  </a:lnTo>
                  <a:lnTo>
                    <a:pt x="200977" y="250508"/>
                  </a:lnTo>
                  <a:lnTo>
                    <a:pt x="199072" y="247650"/>
                  </a:lnTo>
                  <a:lnTo>
                    <a:pt x="197168" y="236220"/>
                  </a:lnTo>
                  <a:lnTo>
                    <a:pt x="188595" y="223838"/>
                  </a:lnTo>
                  <a:lnTo>
                    <a:pt x="174308" y="201930"/>
                  </a:lnTo>
                  <a:lnTo>
                    <a:pt x="171450" y="192405"/>
                  </a:lnTo>
                  <a:lnTo>
                    <a:pt x="169545" y="194310"/>
                  </a:lnTo>
                  <a:lnTo>
                    <a:pt x="168593" y="193358"/>
                  </a:lnTo>
                  <a:lnTo>
                    <a:pt x="167640" y="192405"/>
                  </a:lnTo>
                  <a:lnTo>
                    <a:pt x="164783" y="192405"/>
                  </a:lnTo>
                  <a:lnTo>
                    <a:pt x="164783" y="196215"/>
                  </a:lnTo>
                  <a:lnTo>
                    <a:pt x="167640" y="201930"/>
                  </a:lnTo>
                  <a:lnTo>
                    <a:pt x="174308" y="214313"/>
                  </a:lnTo>
                  <a:lnTo>
                    <a:pt x="180022" y="223838"/>
                  </a:lnTo>
                  <a:lnTo>
                    <a:pt x="180022" y="230505"/>
                  </a:lnTo>
                  <a:lnTo>
                    <a:pt x="187643" y="238125"/>
                  </a:lnTo>
                  <a:lnTo>
                    <a:pt x="189547" y="245745"/>
                  </a:lnTo>
                  <a:lnTo>
                    <a:pt x="191452" y="246698"/>
                  </a:lnTo>
                  <a:lnTo>
                    <a:pt x="196215" y="252413"/>
                  </a:lnTo>
                  <a:lnTo>
                    <a:pt x="201930" y="258128"/>
                  </a:lnTo>
                  <a:lnTo>
                    <a:pt x="200977" y="264795"/>
                  </a:lnTo>
                  <a:lnTo>
                    <a:pt x="204788" y="265748"/>
                  </a:lnTo>
                  <a:lnTo>
                    <a:pt x="211455" y="263843"/>
                  </a:lnTo>
                  <a:lnTo>
                    <a:pt x="222885" y="260033"/>
                  </a:lnTo>
                  <a:lnTo>
                    <a:pt x="228600" y="259080"/>
                  </a:lnTo>
                  <a:lnTo>
                    <a:pt x="228600" y="261938"/>
                  </a:lnTo>
                  <a:lnTo>
                    <a:pt x="218122" y="287655"/>
                  </a:lnTo>
                  <a:lnTo>
                    <a:pt x="209550" y="300038"/>
                  </a:lnTo>
                  <a:lnTo>
                    <a:pt x="198120" y="311468"/>
                  </a:lnTo>
                  <a:lnTo>
                    <a:pt x="189547" y="321945"/>
                  </a:lnTo>
                  <a:lnTo>
                    <a:pt x="189547" y="334328"/>
                  </a:lnTo>
                  <a:lnTo>
                    <a:pt x="193358" y="359093"/>
                  </a:lnTo>
                  <a:lnTo>
                    <a:pt x="193358" y="365760"/>
                  </a:lnTo>
                  <a:lnTo>
                    <a:pt x="185738" y="373380"/>
                  </a:lnTo>
                  <a:lnTo>
                    <a:pt x="178118" y="380048"/>
                  </a:lnTo>
                  <a:lnTo>
                    <a:pt x="171450" y="385763"/>
                  </a:lnTo>
                  <a:lnTo>
                    <a:pt x="173355" y="394335"/>
                  </a:lnTo>
                  <a:lnTo>
                    <a:pt x="173355" y="402908"/>
                  </a:lnTo>
                  <a:lnTo>
                    <a:pt x="164783" y="408622"/>
                  </a:lnTo>
                  <a:lnTo>
                    <a:pt x="164783" y="411480"/>
                  </a:lnTo>
                  <a:lnTo>
                    <a:pt x="159068" y="422910"/>
                  </a:lnTo>
                  <a:lnTo>
                    <a:pt x="150495" y="433388"/>
                  </a:lnTo>
                  <a:lnTo>
                    <a:pt x="143827" y="438150"/>
                  </a:lnTo>
                  <a:lnTo>
                    <a:pt x="137160" y="439103"/>
                  </a:lnTo>
                  <a:lnTo>
                    <a:pt x="127635" y="441008"/>
                  </a:lnTo>
                  <a:lnTo>
                    <a:pt x="123825" y="444818"/>
                  </a:lnTo>
                  <a:lnTo>
                    <a:pt x="120968" y="443865"/>
                  </a:lnTo>
                  <a:lnTo>
                    <a:pt x="120015" y="441960"/>
                  </a:lnTo>
                  <a:lnTo>
                    <a:pt x="115252" y="439103"/>
                  </a:lnTo>
                  <a:lnTo>
                    <a:pt x="114300" y="429578"/>
                  </a:lnTo>
                  <a:lnTo>
                    <a:pt x="105727" y="414338"/>
                  </a:lnTo>
                  <a:lnTo>
                    <a:pt x="103822" y="401003"/>
                  </a:lnTo>
                  <a:lnTo>
                    <a:pt x="102870" y="394335"/>
                  </a:lnTo>
                  <a:lnTo>
                    <a:pt x="96202" y="379095"/>
                  </a:lnTo>
                  <a:lnTo>
                    <a:pt x="96202" y="363855"/>
                  </a:lnTo>
                  <a:lnTo>
                    <a:pt x="102870" y="351473"/>
                  </a:lnTo>
                  <a:lnTo>
                    <a:pt x="100013" y="334328"/>
                  </a:lnTo>
                  <a:lnTo>
                    <a:pt x="94297" y="322898"/>
                  </a:lnTo>
                  <a:lnTo>
                    <a:pt x="85725" y="309563"/>
                  </a:lnTo>
                  <a:lnTo>
                    <a:pt x="86677" y="301943"/>
                  </a:lnTo>
                  <a:lnTo>
                    <a:pt x="89535" y="296228"/>
                  </a:lnTo>
                  <a:lnTo>
                    <a:pt x="89535" y="291465"/>
                  </a:lnTo>
                  <a:lnTo>
                    <a:pt x="84772" y="291465"/>
                  </a:lnTo>
                  <a:lnTo>
                    <a:pt x="79057" y="291465"/>
                  </a:lnTo>
                  <a:lnTo>
                    <a:pt x="73343" y="282893"/>
                  </a:lnTo>
                  <a:lnTo>
                    <a:pt x="66675" y="282893"/>
                  </a:lnTo>
                  <a:lnTo>
                    <a:pt x="53340" y="286703"/>
                  </a:lnTo>
                  <a:lnTo>
                    <a:pt x="36195" y="292418"/>
                  </a:lnTo>
                  <a:lnTo>
                    <a:pt x="29527" y="291465"/>
                  </a:lnTo>
                  <a:lnTo>
                    <a:pt x="14288" y="275273"/>
                  </a:lnTo>
                  <a:lnTo>
                    <a:pt x="3810" y="261938"/>
                  </a:lnTo>
                  <a:lnTo>
                    <a:pt x="0" y="254318"/>
                  </a:lnTo>
                  <a:lnTo>
                    <a:pt x="0" y="245745"/>
                  </a:lnTo>
                  <a:lnTo>
                    <a:pt x="2857" y="236220"/>
                  </a:lnTo>
                  <a:lnTo>
                    <a:pt x="2857" y="226695"/>
                  </a:lnTo>
                  <a:lnTo>
                    <a:pt x="3810" y="220028"/>
                  </a:lnTo>
                  <a:lnTo>
                    <a:pt x="12382" y="201930"/>
                  </a:lnTo>
                  <a:lnTo>
                    <a:pt x="17145" y="197168"/>
                  </a:lnTo>
                  <a:lnTo>
                    <a:pt x="20002" y="197168"/>
                  </a:lnTo>
                  <a:lnTo>
                    <a:pt x="26670" y="188595"/>
                  </a:lnTo>
                  <a:lnTo>
                    <a:pt x="28575" y="181928"/>
                  </a:lnTo>
                  <a:lnTo>
                    <a:pt x="29527" y="179070"/>
                  </a:lnTo>
                  <a:lnTo>
                    <a:pt x="35243" y="175260"/>
                  </a:lnTo>
                  <a:lnTo>
                    <a:pt x="37147" y="172403"/>
                  </a:lnTo>
                  <a:lnTo>
                    <a:pt x="40957" y="166688"/>
                  </a:lnTo>
                  <a:lnTo>
                    <a:pt x="43815" y="166688"/>
                  </a:lnTo>
                  <a:lnTo>
                    <a:pt x="46672" y="168593"/>
                  </a:lnTo>
                  <a:lnTo>
                    <a:pt x="50482" y="168593"/>
                  </a:lnTo>
                  <a:lnTo>
                    <a:pt x="60960" y="164783"/>
                  </a:lnTo>
                  <a:lnTo>
                    <a:pt x="69532" y="162878"/>
                  </a:lnTo>
                  <a:lnTo>
                    <a:pt x="74295" y="161925"/>
                  </a:lnTo>
                  <a:lnTo>
                    <a:pt x="79057" y="160020"/>
                  </a:lnTo>
                  <a:lnTo>
                    <a:pt x="85725" y="160020"/>
                  </a:lnTo>
                  <a:lnTo>
                    <a:pt x="94297" y="160973"/>
                  </a:lnTo>
                  <a:lnTo>
                    <a:pt x="93345" y="164783"/>
                  </a:lnTo>
                  <a:lnTo>
                    <a:pt x="91440" y="170498"/>
                  </a:lnTo>
                  <a:lnTo>
                    <a:pt x="92393" y="172403"/>
                  </a:lnTo>
                  <a:lnTo>
                    <a:pt x="96202" y="175260"/>
                  </a:lnTo>
                  <a:lnTo>
                    <a:pt x="100013" y="177165"/>
                  </a:lnTo>
                  <a:lnTo>
                    <a:pt x="105727" y="178118"/>
                  </a:lnTo>
                  <a:lnTo>
                    <a:pt x="107632" y="178118"/>
                  </a:lnTo>
                  <a:lnTo>
                    <a:pt x="108585" y="182880"/>
                  </a:lnTo>
                  <a:lnTo>
                    <a:pt x="113347" y="184785"/>
                  </a:lnTo>
                  <a:lnTo>
                    <a:pt x="120015" y="186690"/>
                  </a:lnTo>
                  <a:lnTo>
                    <a:pt x="122872" y="186690"/>
                  </a:lnTo>
                  <a:lnTo>
                    <a:pt x="122872" y="183833"/>
                  </a:lnTo>
                  <a:lnTo>
                    <a:pt x="121920" y="183833"/>
                  </a:lnTo>
                  <a:lnTo>
                    <a:pt x="121920" y="180975"/>
                  </a:lnTo>
                  <a:lnTo>
                    <a:pt x="125730" y="178118"/>
                  </a:lnTo>
                  <a:lnTo>
                    <a:pt x="131445" y="177165"/>
                  </a:lnTo>
                  <a:lnTo>
                    <a:pt x="134302" y="180023"/>
                  </a:lnTo>
                  <a:lnTo>
                    <a:pt x="138113" y="182880"/>
                  </a:lnTo>
                  <a:lnTo>
                    <a:pt x="143827" y="185738"/>
                  </a:lnTo>
                  <a:lnTo>
                    <a:pt x="148590" y="185738"/>
                  </a:lnTo>
                  <a:lnTo>
                    <a:pt x="152400" y="183833"/>
                  </a:lnTo>
                  <a:lnTo>
                    <a:pt x="157163" y="182880"/>
                  </a:lnTo>
                  <a:lnTo>
                    <a:pt x="160020" y="182880"/>
                  </a:lnTo>
                  <a:lnTo>
                    <a:pt x="162877" y="183833"/>
                  </a:lnTo>
                  <a:lnTo>
                    <a:pt x="164783" y="184785"/>
                  </a:lnTo>
                  <a:lnTo>
                    <a:pt x="166688" y="180975"/>
                  </a:lnTo>
                  <a:lnTo>
                    <a:pt x="167640" y="177165"/>
                  </a:lnTo>
                  <a:lnTo>
                    <a:pt x="169545" y="172403"/>
                  </a:lnTo>
                  <a:lnTo>
                    <a:pt x="169545" y="168593"/>
                  </a:lnTo>
                  <a:lnTo>
                    <a:pt x="169545" y="164783"/>
                  </a:lnTo>
                  <a:lnTo>
                    <a:pt x="170497" y="163830"/>
                  </a:lnTo>
                  <a:lnTo>
                    <a:pt x="170497" y="161925"/>
                  </a:lnTo>
                  <a:lnTo>
                    <a:pt x="163830" y="162878"/>
                  </a:lnTo>
                  <a:lnTo>
                    <a:pt x="159068" y="162878"/>
                  </a:lnTo>
                  <a:lnTo>
                    <a:pt x="153352" y="162878"/>
                  </a:lnTo>
                  <a:lnTo>
                    <a:pt x="146685" y="163830"/>
                  </a:lnTo>
                  <a:lnTo>
                    <a:pt x="144780" y="160973"/>
                  </a:lnTo>
                  <a:lnTo>
                    <a:pt x="142875" y="155258"/>
                  </a:lnTo>
                  <a:lnTo>
                    <a:pt x="140970" y="149543"/>
                  </a:lnTo>
                  <a:lnTo>
                    <a:pt x="144780" y="149543"/>
                  </a:lnTo>
                  <a:lnTo>
                    <a:pt x="146685" y="146685"/>
                  </a:lnTo>
                  <a:lnTo>
                    <a:pt x="147638" y="145733"/>
                  </a:lnTo>
                  <a:lnTo>
                    <a:pt x="150495" y="145733"/>
                  </a:lnTo>
                  <a:lnTo>
                    <a:pt x="154305" y="145733"/>
                  </a:lnTo>
                  <a:lnTo>
                    <a:pt x="156210" y="143828"/>
                  </a:lnTo>
                  <a:lnTo>
                    <a:pt x="159068" y="141923"/>
                  </a:lnTo>
                  <a:lnTo>
                    <a:pt x="160972" y="140018"/>
                  </a:lnTo>
                  <a:lnTo>
                    <a:pt x="165735" y="140018"/>
                  </a:lnTo>
                  <a:lnTo>
                    <a:pt x="168593" y="141923"/>
                  </a:lnTo>
                  <a:lnTo>
                    <a:pt x="172402" y="142875"/>
                  </a:lnTo>
                  <a:lnTo>
                    <a:pt x="175260" y="143828"/>
                  </a:lnTo>
                  <a:lnTo>
                    <a:pt x="179070" y="143828"/>
                  </a:lnTo>
                  <a:lnTo>
                    <a:pt x="184785" y="143828"/>
                  </a:lnTo>
                  <a:lnTo>
                    <a:pt x="184785" y="140018"/>
                  </a:lnTo>
                  <a:lnTo>
                    <a:pt x="185738" y="138113"/>
                  </a:lnTo>
                  <a:lnTo>
                    <a:pt x="183833" y="137160"/>
                  </a:lnTo>
                  <a:lnTo>
                    <a:pt x="180975" y="137160"/>
                  </a:lnTo>
                  <a:lnTo>
                    <a:pt x="179070" y="134303"/>
                  </a:lnTo>
                  <a:lnTo>
                    <a:pt x="177165" y="132398"/>
                  </a:lnTo>
                  <a:lnTo>
                    <a:pt x="173355" y="130493"/>
                  </a:lnTo>
                  <a:lnTo>
                    <a:pt x="171450" y="128588"/>
                  </a:lnTo>
                  <a:lnTo>
                    <a:pt x="171450" y="125730"/>
                  </a:lnTo>
                  <a:lnTo>
                    <a:pt x="174308" y="123825"/>
                  </a:lnTo>
                  <a:lnTo>
                    <a:pt x="176213" y="121920"/>
                  </a:lnTo>
                  <a:lnTo>
                    <a:pt x="176213" y="120968"/>
                  </a:lnTo>
                  <a:lnTo>
                    <a:pt x="174308" y="120015"/>
                  </a:lnTo>
                  <a:lnTo>
                    <a:pt x="172402" y="120968"/>
                  </a:lnTo>
                  <a:lnTo>
                    <a:pt x="164783" y="124778"/>
                  </a:lnTo>
                  <a:lnTo>
                    <a:pt x="166688" y="126682"/>
                  </a:lnTo>
                  <a:lnTo>
                    <a:pt x="166688" y="129540"/>
                  </a:lnTo>
                  <a:lnTo>
                    <a:pt x="163830" y="131445"/>
                  </a:lnTo>
                  <a:lnTo>
                    <a:pt x="160972" y="131445"/>
                  </a:lnTo>
                  <a:lnTo>
                    <a:pt x="159068" y="128588"/>
                  </a:lnTo>
                  <a:lnTo>
                    <a:pt x="157163" y="123825"/>
                  </a:lnTo>
                  <a:lnTo>
                    <a:pt x="156210" y="121920"/>
                  </a:lnTo>
                  <a:lnTo>
                    <a:pt x="154305" y="122873"/>
                  </a:lnTo>
                  <a:lnTo>
                    <a:pt x="149543" y="124778"/>
                  </a:lnTo>
                  <a:lnTo>
                    <a:pt x="147638" y="131445"/>
                  </a:lnTo>
                  <a:lnTo>
                    <a:pt x="144780" y="136208"/>
                  </a:lnTo>
                  <a:lnTo>
                    <a:pt x="144780" y="140970"/>
                  </a:lnTo>
                  <a:lnTo>
                    <a:pt x="146685" y="143828"/>
                  </a:lnTo>
                  <a:lnTo>
                    <a:pt x="141922" y="147638"/>
                  </a:lnTo>
                  <a:lnTo>
                    <a:pt x="140018" y="147638"/>
                  </a:lnTo>
                  <a:lnTo>
                    <a:pt x="137160" y="145733"/>
                  </a:lnTo>
                  <a:lnTo>
                    <a:pt x="132397" y="146685"/>
                  </a:lnTo>
                  <a:lnTo>
                    <a:pt x="131445" y="149543"/>
                  </a:lnTo>
                  <a:lnTo>
                    <a:pt x="131445" y="154305"/>
                  </a:lnTo>
                  <a:lnTo>
                    <a:pt x="131445" y="156210"/>
                  </a:lnTo>
                  <a:lnTo>
                    <a:pt x="131445" y="162878"/>
                  </a:lnTo>
                  <a:lnTo>
                    <a:pt x="126682" y="163830"/>
                  </a:lnTo>
                  <a:lnTo>
                    <a:pt x="123825" y="160973"/>
                  </a:lnTo>
                  <a:lnTo>
                    <a:pt x="123825" y="156210"/>
                  </a:lnTo>
                  <a:lnTo>
                    <a:pt x="126682" y="155258"/>
                  </a:lnTo>
                  <a:lnTo>
                    <a:pt x="122872" y="154305"/>
                  </a:lnTo>
                  <a:lnTo>
                    <a:pt x="120968" y="150495"/>
                  </a:lnTo>
                  <a:lnTo>
                    <a:pt x="119063" y="145733"/>
                  </a:lnTo>
                  <a:lnTo>
                    <a:pt x="116205" y="140970"/>
                  </a:lnTo>
                  <a:lnTo>
                    <a:pt x="112395" y="139065"/>
                  </a:lnTo>
                  <a:lnTo>
                    <a:pt x="106680" y="133350"/>
                  </a:lnTo>
                  <a:lnTo>
                    <a:pt x="102870" y="132398"/>
                  </a:lnTo>
                  <a:lnTo>
                    <a:pt x="100965" y="130493"/>
                  </a:lnTo>
                  <a:lnTo>
                    <a:pt x="100013" y="128588"/>
                  </a:lnTo>
                  <a:lnTo>
                    <a:pt x="98107" y="128588"/>
                  </a:lnTo>
                  <a:lnTo>
                    <a:pt x="97155" y="131445"/>
                  </a:lnTo>
                  <a:lnTo>
                    <a:pt x="99060" y="133350"/>
                  </a:lnTo>
                  <a:lnTo>
                    <a:pt x="100965" y="136208"/>
                  </a:lnTo>
                  <a:lnTo>
                    <a:pt x="101918" y="138113"/>
                  </a:lnTo>
                  <a:lnTo>
                    <a:pt x="105727" y="140970"/>
                  </a:lnTo>
                  <a:lnTo>
                    <a:pt x="108585" y="141923"/>
                  </a:lnTo>
                  <a:lnTo>
                    <a:pt x="108585" y="143828"/>
                  </a:lnTo>
                  <a:lnTo>
                    <a:pt x="113347" y="146685"/>
                  </a:lnTo>
                  <a:lnTo>
                    <a:pt x="115252" y="149543"/>
                  </a:lnTo>
                  <a:lnTo>
                    <a:pt x="116205" y="152400"/>
                  </a:lnTo>
                  <a:lnTo>
                    <a:pt x="115252" y="152400"/>
                  </a:lnTo>
                  <a:lnTo>
                    <a:pt x="113347" y="150495"/>
                  </a:lnTo>
                  <a:lnTo>
                    <a:pt x="112395" y="150495"/>
                  </a:lnTo>
                  <a:lnTo>
                    <a:pt x="112395" y="156210"/>
                  </a:lnTo>
                  <a:lnTo>
                    <a:pt x="111443" y="158115"/>
                  </a:lnTo>
                  <a:lnTo>
                    <a:pt x="109538" y="158115"/>
                  </a:lnTo>
                  <a:lnTo>
                    <a:pt x="109538" y="153353"/>
                  </a:lnTo>
                  <a:lnTo>
                    <a:pt x="106680" y="150495"/>
                  </a:lnTo>
                  <a:lnTo>
                    <a:pt x="103822" y="146685"/>
                  </a:lnTo>
                  <a:lnTo>
                    <a:pt x="100965" y="144780"/>
                  </a:lnTo>
                  <a:lnTo>
                    <a:pt x="97155" y="144780"/>
                  </a:lnTo>
                  <a:lnTo>
                    <a:pt x="94297" y="142875"/>
                  </a:lnTo>
                  <a:lnTo>
                    <a:pt x="91440" y="137160"/>
                  </a:lnTo>
                  <a:lnTo>
                    <a:pt x="89535" y="134303"/>
                  </a:lnTo>
                  <a:lnTo>
                    <a:pt x="87630" y="132398"/>
                  </a:lnTo>
                  <a:lnTo>
                    <a:pt x="84772" y="133350"/>
                  </a:lnTo>
                  <a:lnTo>
                    <a:pt x="80963" y="138113"/>
                  </a:lnTo>
                  <a:lnTo>
                    <a:pt x="77152" y="139065"/>
                  </a:lnTo>
                  <a:lnTo>
                    <a:pt x="75247" y="137160"/>
                  </a:lnTo>
                  <a:lnTo>
                    <a:pt x="71438" y="139065"/>
                  </a:lnTo>
                  <a:lnTo>
                    <a:pt x="70485" y="141923"/>
                  </a:lnTo>
                  <a:lnTo>
                    <a:pt x="60960" y="149543"/>
                  </a:lnTo>
                  <a:lnTo>
                    <a:pt x="57150" y="158115"/>
                  </a:lnTo>
                  <a:lnTo>
                    <a:pt x="53340" y="164783"/>
                  </a:lnTo>
                  <a:lnTo>
                    <a:pt x="50482" y="164783"/>
                  </a:lnTo>
                  <a:lnTo>
                    <a:pt x="47625" y="162878"/>
                  </a:lnTo>
                  <a:lnTo>
                    <a:pt x="44768" y="163830"/>
                  </a:lnTo>
                  <a:lnTo>
                    <a:pt x="40957" y="164783"/>
                  </a:lnTo>
                  <a:lnTo>
                    <a:pt x="37147" y="162878"/>
                  </a:lnTo>
                  <a:lnTo>
                    <a:pt x="34290" y="1619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18B45D2-68AF-4345-BD45-BEB827A6049A}"/>
                </a:ext>
              </a:extLst>
            </p:cNvPr>
            <p:cNvSpPr/>
            <p:nvPr/>
          </p:nvSpPr>
          <p:spPr>
            <a:xfrm>
              <a:off x="6063614" y="3315652"/>
              <a:ext cx="3810" cy="7620"/>
            </a:xfrm>
            <a:custGeom>
              <a:avLst/>
              <a:gdLst>
                <a:gd name="connsiteX0" fmla="*/ 2858 w 3810"/>
                <a:gd name="connsiteY0" fmla="*/ 0 h 7620"/>
                <a:gd name="connsiteX1" fmla="*/ 0 w 3810"/>
                <a:gd name="connsiteY1" fmla="*/ 2858 h 7620"/>
                <a:gd name="connsiteX2" fmla="*/ 953 w 3810"/>
                <a:gd name="connsiteY2" fmla="*/ 6668 h 7620"/>
                <a:gd name="connsiteX3" fmla="*/ 953 w 3810"/>
                <a:gd name="connsiteY3" fmla="*/ 7620 h 7620"/>
                <a:gd name="connsiteX4" fmla="*/ 2858 w 3810"/>
                <a:gd name="connsiteY4" fmla="*/ 7620 h 7620"/>
                <a:gd name="connsiteX5" fmla="*/ 3810 w 3810"/>
                <a:gd name="connsiteY5" fmla="*/ 6668 h 7620"/>
                <a:gd name="connsiteX6" fmla="*/ 3810 w 3810"/>
                <a:gd name="connsiteY6" fmla="*/ 2858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" h="7620">
                  <a:moveTo>
                    <a:pt x="2858" y="0"/>
                  </a:moveTo>
                  <a:lnTo>
                    <a:pt x="0" y="2858"/>
                  </a:lnTo>
                  <a:lnTo>
                    <a:pt x="953" y="6668"/>
                  </a:lnTo>
                  <a:lnTo>
                    <a:pt x="953" y="7620"/>
                  </a:lnTo>
                  <a:lnTo>
                    <a:pt x="2858" y="7620"/>
                  </a:lnTo>
                  <a:lnTo>
                    <a:pt x="3810" y="6668"/>
                  </a:lnTo>
                  <a:lnTo>
                    <a:pt x="3810" y="28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640F29C-830D-4A58-9DD1-7CB6657F4A2E}"/>
                </a:ext>
              </a:extLst>
            </p:cNvPr>
            <p:cNvSpPr/>
            <p:nvPr/>
          </p:nvSpPr>
          <p:spPr>
            <a:xfrm>
              <a:off x="6063614" y="3325177"/>
              <a:ext cx="3810" cy="7620"/>
            </a:xfrm>
            <a:custGeom>
              <a:avLst/>
              <a:gdLst>
                <a:gd name="connsiteX0" fmla="*/ 0 w 3810"/>
                <a:gd name="connsiteY0" fmla="*/ 1905 h 7620"/>
                <a:gd name="connsiteX1" fmla="*/ 953 w 3810"/>
                <a:gd name="connsiteY1" fmla="*/ 953 h 7620"/>
                <a:gd name="connsiteX2" fmla="*/ 3810 w 3810"/>
                <a:gd name="connsiteY2" fmla="*/ 0 h 7620"/>
                <a:gd name="connsiteX3" fmla="*/ 3810 w 3810"/>
                <a:gd name="connsiteY3" fmla="*/ 953 h 7620"/>
                <a:gd name="connsiteX4" fmla="*/ 2858 w 3810"/>
                <a:gd name="connsiteY4" fmla="*/ 3810 h 7620"/>
                <a:gd name="connsiteX5" fmla="*/ 3810 w 3810"/>
                <a:gd name="connsiteY5" fmla="*/ 4763 h 7620"/>
                <a:gd name="connsiteX6" fmla="*/ 2858 w 3810"/>
                <a:gd name="connsiteY6" fmla="*/ 7620 h 7620"/>
                <a:gd name="connsiteX7" fmla="*/ 953 w 3810"/>
                <a:gd name="connsiteY7" fmla="*/ 7620 h 7620"/>
                <a:gd name="connsiteX8" fmla="*/ 0 w 3810"/>
                <a:gd name="connsiteY8" fmla="*/ 6668 h 7620"/>
                <a:gd name="connsiteX9" fmla="*/ 0 w 3810"/>
                <a:gd name="connsiteY9" fmla="*/ 3810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0" h="7620">
                  <a:moveTo>
                    <a:pt x="0" y="1905"/>
                  </a:moveTo>
                  <a:lnTo>
                    <a:pt x="953" y="953"/>
                  </a:lnTo>
                  <a:lnTo>
                    <a:pt x="3810" y="0"/>
                  </a:lnTo>
                  <a:lnTo>
                    <a:pt x="3810" y="953"/>
                  </a:lnTo>
                  <a:lnTo>
                    <a:pt x="2858" y="3810"/>
                  </a:lnTo>
                  <a:lnTo>
                    <a:pt x="3810" y="4763"/>
                  </a:lnTo>
                  <a:lnTo>
                    <a:pt x="2858" y="7620"/>
                  </a:lnTo>
                  <a:lnTo>
                    <a:pt x="953" y="7620"/>
                  </a:lnTo>
                  <a:lnTo>
                    <a:pt x="0" y="6668"/>
                  </a:lnTo>
                  <a:lnTo>
                    <a:pt x="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190F2A7-2651-4813-AE39-136A53D61B85}"/>
                </a:ext>
              </a:extLst>
            </p:cNvPr>
            <p:cNvSpPr/>
            <p:nvPr/>
          </p:nvSpPr>
          <p:spPr>
            <a:xfrm>
              <a:off x="6076950" y="3336607"/>
              <a:ext cx="10477" cy="5715"/>
            </a:xfrm>
            <a:custGeom>
              <a:avLst/>
              <a:gdLst>
                <a:gd name="connsiteX0" fmla="*/ 0 w 10477"/>
                <a:gd name="connsiteY0" fmla="*/ 0 h 5715"/>
                <a:gd name="connsiteX1" fmla="*/ 0 w 10477"/>
                <a:gd name="connsiteY1" fmla="*/ 1905 h 5715"/>
                <a:gd name="connsiteX2" fmla="*/ 3810 w 10477"/>
                <a:gd name="connsiteY2" fmla="*/ 3810 h 5715"/>
                <a:gd name="connsiteX3" fmla="*/ 6668 w 10477"/>
                <a:gd name="connsiteY3" fmla="*/ 5715 h 5715"/>
                <a:gd name="connsiteX4" fmla="*/ 9525 w 10477"/>
                <a:gd name="connsiteY4" fmla="*/ 5715 h 5715"/>
                <a:gd name="connsiteX5" fmla="*/ 10477 w 10477"/>
                <a:gd name="connsiteY5" fmla="*/ 1905 h 5715"/>
                <a:gd name="connsiteX6" fmla="*/ 8573 w 10477"/>
                <a:gd name="connsiteY6" fmla="*/ 0 h 5715"/>
                <a:gd name="connsiteX7" fmla="*/ 5715 w 10477"/>
                <a:gd name="connsiteY7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" h="5715">
                  <a:moveTo>
                    <a:pt x="0" y="0"/>
                  </a:moveTo>
                  <a:lnTo>
                    <a:pt x="0" y="1905"/>
                  </a:lnTo>
                  <a:lnTo>
                    <a:pt x="3810" y="3810"/>
                  </a:lnTo>
                  <a:lnTo>
                    <a:pt x="6668" y="5715"/>
                  </a:lnTo>
                  <a:lnTo>
                    <a:pt x="9525" y="5715"/>
                  </a:lnTo>
                  <a:lnTo>
                    <a:pt x="10477" y="1905"/>
                  </a:lnTo>
                  <a:lnTo>
                    <a:pt x="8573" y="0"/>
                  </a:lnTo>
                  <a:lnTo>
                    <a:pt x="571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1617B95-2C58-4F90-97FB-698476329C82}"/>
                </a:ext>
              </a:extLst>
            </p:cNvPr>
            <p:cNvSpPr/>
            <p:nvPr/>
          </p:nvSpPr>
          <p:spPr>
            <a:xfrm>
              <a:off x="6110287" y="3346132"/>
              <a:ext cx="10477" cy="3810"/>
            </a:xfrm>
            <a:custGeom>
              <a:avLst/>
              <a:gdLst>
                <a:gd name="connsiteX0" fmla="*/ 0 w 10477"/>
                <a:gd name="connsiteY0" fmla="*/ 1905 h 3810"/>
                <a:gd name="connsiteX1" fmla="*/ 0 w 10477"/>
                <a:gd name="connsiteY1" fmla="*/ 0 h 3810"/>
                <a:gd name="connsiteX2" fmla="*/ 3810 w 10477"/>
                <a:gd name="connsiteY2" fmla="*/ 1905 h 3810"/>
                <a:gd name="connsiteX3" fmla="*/ 9525 w 10477"/>
                <a:gd name="connsiteY3" fmla="*/ 953 h 3810"/>
                <a:gd name="connsiteX4" fmla="*/ 10477 w 10477"/>
                <a:gd name="connsiteY4" fmla="*/ 2857 h 3810"/>
                <a:gd name="connsiteX5" fmla="*/ 6668 w 10477"/>
                <a:gd name="connsiteY5" fmla="*/ 3810 h 3810"/>
                <a:gd name="connsiteX6" fmla="*/ 4763 w 10477"/>
                <a:gd name="connsiteY6" fmla="*/ 2857 h 3810"/>
                <a:gd name="connsiteX7" fmla="*/ 2857 w 10477"/>
                <a:gd name="connsiteY7" fmla="*/ 1905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" h="3810">
                  <a:moveTo>
                    <a:pt x="0" y="1905"/>
                  </a:moveTo>
                  <a:lnTo>
                    <a:pt x="0" y="0"/>
                  </a:lnTo>
                  <a:lnTo>
                    <a:pt x="3810" y="1905"/>
                  </a:lnTo>
                  <a:lnTo>
                    <a:pt x="9525" y="953"/>
                  </a:lnTo>
                  <a:lnTo>
                    <a:pt x="10477" y="2857"/>
                  </a:lnTo>
                  <a:lnTo>
                    <a:pt x="6668" y="3810"/>
                  </a:lnTo>
                  <a:lnTo>
                    <a:pt x="4763" y="2857"/>
                  </a:lnTo>
                  <a:lnTo>
                    <a:pt x="2857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0A267DA-3D53-4445-B5F2-FD75EA6A718B}"/>
                </a:ext>
              </a:extLst>
            </p:cNvPr>
            <p:cNvSpPr/>
            <p:nvPr/>
          </p:nvSpPr>
          <p:spPr>
            <a:xfrm>
              <a:off x="6138862" y="3345180"/>
              <a:ext cx="7619" cy="5714"/>
            </a:xfrm>
            <a:custGeom>
              <a:avLst/>
              <a:gdLst>
                <a:gd name="connsiteX0" fmla="*/ 0 w 7619"/>
                <a:gd name="connsiteY0" fmla="*/ 3810 h 5714"/>
                <a:gd name="connsiteX1" fmla="*/ 1905 w 7619"/>
                <a:gd name="connsiteY1" fmla="*/ 952 h 5714"/>
                <a:gd name="connsiteX2" fmla="*/ 7620 w 7619"/>
                <a:gd name="connsiteY2" fmla="*/ 0 h 5714"/>
                <a:gd name="connsiteX3" fmla="*/ 7620 w 7619"/>
                <a:gd name="connsiteY3" fmla="*/ 1905 h 5714"/>
                <a:gd name="connsiteX4" fmla="*/ 5715 w 7619"/>
                <a:gd name="connsiteY4" fmla="*/ 3810 h 5714"/>
                <a:gd name="connsiteX5" fmla="*/ 2857 w 7619"/>
                <a:gd name="connsiteY5" fmla="*/ 5715 h 5714"/>
                <a:gd name="connsiteX6" fmla="*/ 952 w 7619"/>
                <a:gd name="connsiteY6" fmla="*/ 5715 h 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19" h="5714">
                  <a:moveTo>
                    <a:pt x="0" y="3810"/>
                  </a:moveTo>
                  <a:lnTo>
                    <a:pt x="1905" y="952"/>
                  </a:lnTo>
                  <a:lnTo>
                    <a:pt x="7620" y="0"/>
                  </a:lnTo>
                  <a:lnTo>
                    <a:pt x="7620" y="1905"/>
                  </a:lnTo>
                  <a:lnTo>
                    <a:pt x="5715" y="3810"/>
                  </a:lnTo>
                  <a:lnTo>
                    <a:pt x="2857" y="5715"/>
                  </a:lnTo>
                  <a:lnTo>
                    <a:pt x="952" y="571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DA6B160-2E79-4E08-B3FB-562FFC9BF380}"/>
                </a:ext>
              </a:extLst>
            </p:cNvPr>
            <p:cNvSpPr/>
            <p:nvPr/>
          </p:nvSpPr>
          <p:spPr>
            <a:xfrm>
              <a:off x="6163627" y="3195637"/>
              <a:ext cx="15240" cy="10477"/>
            </a:xfrm>
            <a:custGeom>
              <a:avLst/>
              <a:gdLst>
                <a:gd name="connsiteX0" fmla="*/ 1905 w 15240"/>
                <a:gd name="connsiteY0" fmla="*/ 0 h 10477"/>
                <a:gd name="connsiteX1" fmla="*/ 0 w 15240"/>
                <a:gd name="connsiteY1" fmla="*/ 7620 h 10477"/>
                <a:gd name="connsiteX2" fmla="*/ 7620 w 15240"/>
                <a:gd name="connsiteY2" fmla="*/ 9525 h 10477"/>
                <a:gd name="connsiteX3" fmla="*/ 9525 w 15240"/>
                <a:gd name="connsiteY3" fmla="*/ 10478 h 10477"/>
                <a:gd name="connsiteX4" fmla="*/ 15240 w 15240"/>
                <a:gd name="connsiteY4" fmla="*/ 10478 h 10477"/>
                <a:gd name="connsiteX5" fmla="*/ 15240 w 15240"/>
                <a:gd name="connsiteY5" fmla="*/ 8572 h 10477"/>
                <a:gd name="connsiteX6" fmla="*/ 10478 w 15240"/>
                <a:gd name="connsiteY6" fmla="*/ 7620 h 10477"/>
                <a:gd name="connsiteX7" fmla="*/ 9525 w 15240"/>
                <a:gd name="connsiteY7" fmla="*/ 6668 h 10477"/>
                <a:gd name="connsiteX8" fmla="*/ 8573 w 15240"/>
                <a:gd name="connsiteY8" fmla="*/ 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" h="10477">
                  <a:moveTo>
                    <a:pt x="1905" y="0"/>
                  </a:moveTo>
                  <a:lnTo>
                    <a:pt x="0" y="7620"/>
                  </a:lnTo>
                  <a:lnTo>
                    <a:pt x="7620" y="9525"/>
                  </a:lnTo>
                  <a:lnTo>
                    <a:pt x="9525" y="10478"/>
                  </a:lnTo>
                  <a:lnTo>
                    <a:pt x="15240" y="10478"/>
                  </a:lnTo>
                  <a:lnTo>
                    <a:pt x="15240" y="8572"/>
                  </a:lnTo>
                  <a:lnTo>
                    <a:pt x="10478" y="7620"/>
                  </a:lnTo>
                  <a:lnTo>
                    <a:pt x="9525" y="6668"/>
                  </a:lnTo>
                  <a:lnTo>
                    <a:pt x="857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7AFA6F3-1CBE-457E-8596-FAE0B6D3D2F3}"/>
                </a:ext>
              </a:extLst>
            </p:cNvPr>
            <p:cNvSpPr/>
            <p:nvPr/>
          </p:nvSpPr>
          <p:spPr>
            <a:xfrm>
              <a:off x="6167437" y="3179444"/>
              <a:ext cx="21907" cy="14287"/>
            </a:xfrm>
            <a:custGeom>
              <a:avLst/>
              <a:gdLst>
                <a:gd name="connsiteX0" fmla="*/ 0 w 21907"/>
                <a:gd name="connsiteY0" fmla="*/ 14288 h 14287"/>
                <a:gd name="connsiteX1" fmla="*/ 5715 w 21907"/>
                <a:gd name="connsiteY1" fmla="*/ 14288 h 14287"/>
                <a:gd name="connsiteX2" fmla="*/ 8573 w 21907"/>
                <a:gd name="connsiteY2" fmla="*/ 11430 h 14287"/>
                <a:gd name="connsiteX3" fmla="*/ 9525 w 21907"/>
                <a:gd name="connsiteY3" fmla="*/ 11430 h 14287"/>
                <a:gd name="connsiteX4" fmla="*/ 12382 w 21907"/>
                <a:gd name="connsiteY4" fmla="*/ 9525 h 14287"/>
                <a:gd name="connsiteX5" fmla="*/ 16193 w 21907"/>
                <a:gd name="connsiteY5" fmla="*/ 9525 h 14287"/>
                <a:gd name="connsiteX6" fmla="*/ 21907 w 21907"/>
                <a:gd name="connsiteY6" fmla="*/ 4763 h 14287"/>
                <a:gd name="connsiteX7" fmla="*/ 21907 w 21907"/>
                <a:gd name="connsiteY7" fmla="*/ 0 h 14287"/>
                <a:gd name="connsiteX8" fmla="*/ 20955 w 21907"/>
                <a:gd name="connsiteY8" fmla="*/ 0 h 14287"/>
                <a:gd name="connsiteX9" fmla="*/ 14288 w 21907"/>
                <a:gd name="connsiteY9" fmla="*/ 5715 h 14287"/>
                <a:gd name="connsiteX10" fmla="*/ 11430 w 21907"/>
                <a:gd name="connsiteY10" fmla="*/ 5715 h 14287"/>
                <a:gd name="connsiteX11" fmla="*/ 6668 w 21907"/>
                <a:gd name="connsiteY11" fmla="*/ 4763 h 14287"/>
                <a:gd name="connsiteX12" fmla="*/ 4763 w 21907"/>
                <a:gd name="connsiteY12" fmla="*/ 7620 h 14287"/>
                <a:gd name="connsiteX13" fmla="*/ 2857 w 21907"/>
                <a:gd name="connsiteY13" fmla="*/ 10478 h 14287"/>
                <a:gd name="connsiteX14" fmla="*/ 952 w 21907"/>
                <a:gd name="connsiteY14" fmla="*/ 1047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907" h="14287">
                  <a:moveTo>
                    <a:pt x="0" y="14288"/>
                  </a:moveTo>
                  <a:lnTo>
                    <a:pt x="5715" y="14288"/>
                  </a:lnTo>
                  <a:lnTo>
                    <a:pt x="8573" y="11430"/>
                  </a:lnTo>
                  <a:lnTo>
                    <a:pt x="9525" y="11430"/>
                  </a:lnTo>
                  <a:lnTo>
                    <a:pt x="12382" y="9525"/>
                  </a:lnTo>
                  <a:lnTo>
                    <a:pt x="16193" y="9525"/>
                  </a:lnTo>
                  <a:lnTo>
                    <a:pt x="21907" y="4763"/>
                  </a:lnTo>
                  <a:lnTo>
                    <a:pt x="21907" y="0"/>
                  </a:lnTo>
                  <a:lnTo>
                    <a:pt x="20955" y="0"/>
                  </a:lnTo>
                  <a:lnTo>
                    <a:pt x="14288" y="5715"/>
                  </a:lnTo>
                  <a:lnTo>
                    <a:pt x="11430" y="5715"/>
                  </a:lnTo>
                  <a:lnTo>
                    <a:pt x="6668" y="4763"/>
                  </a:lnTo>
                  <a:lnTo>
                    <a:pt x="4763" y="7620"/>
                  </a:lnTo>
                  <a:lnTo>
                    <a:pt x="2857" y="10478"/>
                  </a:lnTo>
                  <a:lnTo>
                    <a:pt x="952" y="104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89318885-8819-4092-9B84-AFC71EAD9BC5}"/>
                </a:ext>
              </a:extLst>
            </p:cNvPr>
            <p:cNvSpPr/>
            <p:nvPr/>
          </p:nvSpPr>
          <p:spPr>
            <a:xfrm>
              <a:off x="6424612" y="3253740"/>
              <a:ext cx="27622" cy="33337"/>
            </a:xfrm>
            <a:custGeom>
              <a:avLst/>
              <a:gdLst>
                <a:gd name="connsiteX0" fmla="*/ 0 w 27622"/>
                <a:gd name="connsiteY0" fmla="*/ 1905 h 33337"/>
                <a:gd name="connsiteX1" fmla="*/ 0 w 27622"/>
                <a:gd name="connsiteY1" fmla="*/ 0 h 33337"/>
                <a:gd name="connsiteX2" fmla="*/ 2858 w 27622"/>
                <a:gd name="connsiteY2" fmla="*/ 0 h 33337"/>
                <a:gd name="connsiteX3" fmla="*/ 4763 w 27622"/>
                <a:gd name="connsiteY3" fmla="*/ 1905 h 33337"/>
                <a:gd name="connsiteX4" fmla="*/ 7620 w 27622"/>
                <a:gd name="connsiteY4" fmla="*/ 6667 h 33337"/>
                <a:gd name="connsiteX5" fmla="*/ 11430 w 27622"/>
                <a:gd name="connsiteY5" fmla="*/ 10478 h 33337"/>
                <a:gd name="connsiteX6" fmla="*/ 13335 w 27622"/>
                <a:gd name="connsiteY6" fmla="*/ 10478 h 33337"/>
                <a:gd name="connsiteX7" fmla="*/ 19050 w 27622"/>
                <a:gd name="connsiteY7" fmla="*/ 17145 h 33337"/>
                <a:gd name="connsiteX8" fmla="*/ 21908 w 27622"/>
                <a:gd name="connsiteY8" fmla="*/ 19050 h 33337"/>
                <a:gd name="connsiteX9" fmla="*/ 21908 w 27622"/>
                <a:gd name="connsiteY9" fmla="*/ 20003 h 33337"/>
                <a:gd name="connsiteX10" fmla="*/ 20955 w 27622"/>
                <a:gd name="connsiteY10" fmla="*/ 21908 h 33337"/>
                <a:gd name="connsiteX11" fmla="*/ 22860 w 27622"/>
                <a:gd name="connsiteY11" fmla="*/ 26670 h 33337"/>
                <a:gd name="connsiteX12" fmla="*/ 25717 w 27622"/>
                <a:gd name="connsiteY12" fmla="*/ 28575 h 33337"/>
                <a:gd name="connsiteX13" fmla="*/ 27623 w 27622"/>
                <a:gd name="connsiteY13" fmla="*/ 30480 h 33337"/>
                <a:gd name="connsiteX14" fmla="*/ 27623 w 27622"/>
                <a:gd name="connsiteY14" fmla="*/ 32385 h 33337"/>
                <a:gd name="connsiteX15" fmla="*/ 25717 w 27622"/>
                <a:gd name="connsiteY15" fmla="*/ 32385 h 33337"/>
                <a:gd name="connsiteX16" fmla="*/ 25717 w 27622"/>
                <a:gd name="connsiteY16" fmla="*/ 33337 h 33337"/>
                <a:gd name="connsiteX17" fmla="*/ 23813 w 27622"/>
                <a:gd name="connsiteY17" fmla="*/ 33337 h 33337"/>
                <a:gd name="connsiteX18" fmla="*/ 21908 w 27622"/>
                <a:gd name="connsiteY18" fmla="*/ 28575 h 33337"/>
                <a:gd name="connsiteX19" fmla="*/ 19050 w 27622"/>
                <a:gd name="connsiteY19" fmla="*/ 25717 h 33337"/>
                <a:gd name="connsiteX20" fmla="*/ 16192 w 27622"/>
                <a:gd name="connsiteY20" fmla="*/ 22860 h 33337"/>
                <a:gd name="connsiteX21" fmla="*/ 11430 w 27622"/>
                <a:gd name="connsiteY21" fmla="*/ 17145 h 33337"/>
                <a:gd name="connsiteX22" fmla="*/ 6667 w 27622"/>
                <a:gd name="connsiteY22" fmla="*/ 12383 h 33337"/>
                <a:gd name="connsiteX23" fmla="*/ 2858 w 27622"/>
                <a:gd name="connsiteY23" fmla="*/ 4762 h 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622" h="33337">
                  <a:moveTo>
                    <a:pt x="0" y="1905"/>
                  </a:moveTo>
                  <a:lnTo>
                    <a:pt x="0" y="0"/>
                  </a:lnTo>
                  <a:lnTo>
                    <a:pt x="2858" y="0"/>
                  </a:lnTo>
                  <a:lnTo>
                    <a:pt x="4763" y="1905"/>
                  </a:lnTo>
                  <a:lnTo>
                    <a:pt x="7620" y="6667"/>
                  </a:lnTo>
                  <a:lnTo>
                    <a:pt x="11430" y="10478"/>
                  </a:lnTo>
                  <a:lnTo>
                    <a:pt x="13335" y="10478"/>
                  </a:lnTo>
                  <a:lnTo>
                    <a:pt x="19050" y="17145"/>
                  </a:lnTo>
                  <a:lnTo>
                    <a:pt x="21908" y="19050"/>
                  </a:lnTo>
                  <a:lnTo>
                    <a:pt x="21908" y="20003"/>
                  </a:lnTo>
                  <a:lnTo>
                    <a:pt x="20955" y="21908"/>
                  </a:lnTo>
                  <a:lnTo>
                    <a:pt x="22860" y="26670"/>
                  </a:lnTo>
                  <a:lnTo>
                    <a:pt x="25717" y="28575"/>
                  </a:lnTo>
                  <a:lnTo>
                    <a:pt x="27623" y="30480"/>
                  </a:lnTo>
                  <a:lnTo>
                    <a:pt x="27623" y="32385"/>
                  </a:lnTo>
                  <a:lnTo>
                    <a:pt x="25717" y="32385"/>
                  </a:lnTo>
                  <a:lnTo>
                    <a:pt x="25717" y="33337"/>
                  </a:lnTo>
                  <a:lnTo>
                    <a:pt x="23813" y="33337"/>
                  </a:lnTo>
                  <a:lnTo>
                    <a:pt x="21908" y="28575"/>
                  </a:lnTo>
                  <a:lnTo>
                    <a:pt x="19050" y="25717"/>
                  </a:lnTo>
                  <a:lnTo>
                    <a:pt x="16192" y="22860"/>
                  </a:lnTo>
                  <a:lnTo>
                    <a:pt x="11430" y="17145"/>
                  </a:lnTo>
                  <a:lnTo>
                    <a:pt x="6667" y="12383"/>
                  </a:lnTo>
                  <a:lnTo>
                    <a:pt x="2858" y="47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23783B-E8F0-4592-AAB2-3CD81ABC5A50}"/>
                </a:ext>
              </a:extLst>
            </p:cNvPr>
            <p:cNvSpPr/>
            <p:nvPr/>
          </p:nvSpPr>
          <p:spPr>
            <a:xfrm>
              <a:off x="6451282" y="3290887"/>
              <a:ext cx="16192" cy="14287"/>
            </a:xfrm>
            <a:custGeom>
              <a:avLst/>
              <a:gdLst>
                <a:gd name="connsiteX0" fmla="*/ 0 w 16192"/>
                <a:gd name="connsiteY0" fmla="*/ 2857 h 14287"/>
                <a:gd name="connsiteX1" fmla="*/ 0 w 16192"/>
                <a:gd name="connsiteY1" fmla="*/ 952 h 14287"/>
                <a:gd name="connsiteX2" fmla="*/ 2857 w 16192"/>
                <a:gd name="connsiteY2" fmla="*/ 0 h 14287"/>
                <a:gd name="connsiteX3" fmla="*/ 5715 w 16192"/>
                <a:gd name="connsiteY3" fmla="*/ 952 h 14287"/>
                <a:gd name="connsiteX4" fmla="*/ 7620 w 16192"/>
                <a:gd name="connsiteY4" fmla="*/ 952 h 14287"/>
                <a:gd name="connsiteX5" fmla="*/ 11430 w 16192"/>
                <a:gd name="connsiteY5" fmla="*/ 952 h 14287"/>
                <a:gd name="connsiteX6" fmla="*/ 13335 w 16192"/>
                <a:gd name="connsiteY6" fmla="*/ 1905 h 14287"/>
                <a:gd name="connsiteX7" fmla="*/ 16192 w 16192"/>
                <a:gd name="connsiteY7" fmla="*/ 4763 h 14287"/>
                <a:gd name="connsiteX8" fmla="*/ 16192 w 16192"/>
                <a:gd name="connsiteY8" fmla="*/ 7620 h 14287"/>
                <a:gd name="connsiteX9" fmla="*/ 13335 w 16192"/>
                <a:gd name="connsiteY9" fmla="*/ 9525 h 14287"/>
                <a:gd name="connsiteX10" fmla="*/ 13335 w 16192"/>
                <a:gd name="connsiteY10" fmla="*/ 11430 h 14287"/>
                <a:gd name="connsiteX11" fmla="*/ 10477 w 16192"/>
                <a:gd name="connsiteY11" fmla="*/ 11430 h 14287"/>
                <a:gd name="connsiteX12" fmla="*/ 8572 w 16192"/>
                <a:gd name="connsiteY12" fmla="*/ 10477 h 14287"/>
                <a:gd name="connsiteX13" fmla="*/ 6667 w 16192"/>
                <a:gd name="connsiteY13" fmla="*/ 10477 h 14287"/>
                <a:gd name="connsiteX14" fmla="*/ 6667 w 16192"/>
                <a:gd name="connsiteY14" fmla="*/ 14288 h 14287"/>
                <a:gd name="connsiteX15" fmla="*/ 3810 w 16192"/>
                <a:gd name="connsiteY15" fmla="*/ 14288 h 14287"/>
                <a:gd name="connsiteX16" fmla="*/ 1905 w 16192"/>
                <a:gd name="connsiteY16" fmla="*/ 11430 h 14287"/>
                <a:gd name="connsiteX17" fmla="*/ 952 w 16192"/>
                <a:gd name="connsiteY17" fmla="*/ 9525 h 14287"/>
                <a:gd name="connsiteX18" fmla="*/ 1905 w 16192"/>
                <a:gd name="connsiteY18" fmla="*/ 7620 h 14287"/>
                <a:gd name="connsiteX19" fmla="*/ 2857 w 16192"/>
                <a:gd name="connsiteY19" fmla="*/ 5715 h 14287"/>
                <a:gd name="connsiteX20" fmla="*/ 1905 w 16192"/>
                <a:gd name="connsiteY20" fmla="*/ 4763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6192" h="14287">
                  <a:moveTo>
                    <a:pt x="0" y="2857"/>
                  </a:moveTo>
                  <a:lnTo>
                    <a:pt x="0" y="952"/>
                  </a:lnTo>
                  <a:lnTo>
                    <a:pt x="2857" y="0"/>
                  </a:lnTo>
                  <a:lnTo>
                    <a:pt x="5715" y="952"/>
                  </a:lnTo>
                  <a:lnTo>
                    <a:pt x="7620" y="952"/>
                  </a:lnTo>
                  <a:lnTo>
                    <a:pt x="11430" y="952"/>
                  </a:lnTo>
                  <a:lnTo>
                    <a:pt x="13335" y="1905"/>
                  </a:lnTo>
                  <a:lnTo>
                    <a:pt x="16192" y="4763"/>
                  </a:lnTo>
                  <a:lnTo>
                    <a:pt x="16192" y="7620"/>
                  </a:lnTo>
                  <a:lnTo>
                    <a:pt x="13335" y="9525"/>
                  </a:lnTo>
                  <a:lnTo>
                    <a:pt x="13335" y="11430"/>
                  </a:lnTo>
                  <a:lnTo>
                    <a:pt x="10477" y="11430"/>
                  </a:lnTo>
                  <a:lnTo>
                    <a:pt x="8572" y="10477"/>
                  </a:lnTo>
                  <a:lnTo>
                    <a:pt x="6667" y="10477"/>
                  </a:lnTo>
                  <a:lnTo>
                    <a:pt x="6667" y="14288"/>
                  </a:lnTo>
                  <a:lnTo>
                    <a:pt x="3810" y="14288"/>
                  </a:lnTo>
                  <a:lnTo>
                    <a:pt x="1905" y="11430"/>
                  </a:lnTo>
                  <a:lnTo>
                    <a:pt x="952" y="9525"/>
                  </a:lnTo>
                  <a:lnTo>
                    <a:pt x="1905" y="7620"/>
                  </a:lnTo>
                  <a:lnTo>
                    <a:pt x="2857" y="5715"/>
                  </a:lnTo>
                  <a:lnTo>
                    <a:pt x="1905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1F00F15-D8DF-403E-8E69-54DCCB721A5D}"/>
                </a:ext>
              </a:extLst>
            </p:cNvPr>
            <p:cNvSpPr/>
            <p:nvPr/>
          </p:nvSpPr>
          <p:spPr>
            <a:xfrm>
              <a:off x="6445567" y="3307080"/>
              <a:ext cx="24765" cy="34289"/>
            </a:xfrm>
            <a:custGeom>
              <a:avLst/>
              <a:gdLst>
                <a:gd name="connsiteX0" fmla="*/ 11430 w 24765"/>
                <a:gd name="connsiteY0" fmla="*/ 0 h 34289"/>
                <a:gd name="connsiteX1" fmla="*/ 14288 w 24765"/>
                <a:gd name="connsiteY1" fmla="*/ 0 h 34289"/>
                <a:gd name="connsiteX2" fmla="*/ 18098 w 24765"/>
                <a:gd name="connsiteY2" fmla="*/ 2857 h 34289"/>
                <a:gd name="connsiteX3" fmla="*/ 20955 w 24765"/>
                <a:gd name="connsiteY3" fmla="*/ 8572 h 34289"/>
                <a:gd name="connsiteX4" fmla="*/ 23813 w 24765"/>
                <a:gd name="connsiteY4" fmla="*/ 16193 h 34289"/>
                <a:gd name="connsiteX5" fmla="*/ 24765 w 24765"/>
                <a:gd name="connsiteY5" fmla="*/ 20002 h 34289"/>
                <a:gd name="connsiteX6" fmla="*/ 23813 w 24765"/>
                <a:gd name="connsiteY6" fmla="*/ 26670 h 34289"/>
                <a:gd name="connsiteX7" fmla="*/ 20003 w 24765"/>
                <a:gd name="connsiteY7" fmla="*/ 27622 h 34289"/>
                <a:gd name="connsiteX8" fmla="*/ 17145 w 24765"/>
                <a:gd name="connsiteY8" fmla="*/ 24765 h 34289"/>
                <a:gd name="connsiteX9" fmla="*/ 11430 w 24765"/>
                <a:gd name="connsiteY9" fmla="*/ 24765 h 34289"/>
                <a:gd name="connsiteX10" fmla="*/ 6668 w 24765"/>
                <a:gd name="connsiteY10" fmla="*/ 27622 h 34289"/>
                <a:gd name="connsiteX11" fmla="*/ 6668 w 24765"/>
                <a:gd name="connsiteY11" fmla="*/ 32385 h 34289"/>
                <a:gd name="connsiteX12" fmla="*/ 3810 w 24765"/>
                <a:gd name="connsiteY12" fmla="*/ 34290 h 34289"/>
                <a:gd name="connsiteX13" fmla="*/ 0 w 24765"/>
                <a:gd name="connsiteY13" fmla="*/ 33338 h 34289"/>
                <a:gd name="connsiteX14" fmla="*/ 0 w 24765"/>
                <a:gd name="connsiteY14" fmla="*/ 31432 h 34289"/>
                <a:gd name="connsiteX15" fmla="*/ 2858 w 24765"/>
                <a:gd name="connsiteY15" fmla="*/ 27622 h 34289"/>
                <a:gd name="connsiteX16" fmla="*/ 10478 w 24765"/>
                <a:gd name="connsiteY16" fmla="*/ 21907 h 34289"/>
                <a:gd name="connsiteX17" fmla="*/ 10478 w 24765"/>
                <a:gd name="connsiteY17" fmla="*/ 17145 h 34289"/>
                <a:gd name="connsiteX18" fmla="*/ 12383 w 24765"/>
                <a:gd name="connsiteY18" fmla="*/ 17145 h 34289"/>
                <a:gd name="connsiteX19" fmla="*/ 15240 w 24765"/>
                <a:gd name="connsiteY19" fmla="*/ 18097 h 34289"/>
                <a:gd name="connsiteX20" fmla="*/ 17145 w 24765"/>
                <a:gd name="connsiteY20" fmla="*/ 13335 h 34289"/>
                <a:gd name="connsiteX21" fmla="*/ 14288 w 24765"/>
                <a:gd name="connsiteY21" fmla="*/ 10477 h 34289"/>
                <a:gd name="connsiteX22" fmla="*/ 12383 w 24765"/>
                <a:gd name="connsiteY22" fmla="*/ 4763 h 3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765" h="34289">
                  <a:moveTo>
                    <a:pt x="11430" y="0"/>
                  </a:moveTo>
                  <a:lnTo>
                    <a:pt x="14288" y="0"/>
                  </a:lnTo>
                  <a:lnTo>
                    <a:pt x="18098" y="2857"/>
                  </a:lnTo>
                  <a:lnTo>
                    <a:pt x="20955" y="8572"/>
                  </a:lnTo>
                  <a:lnTo>
                    <a:pt x="23813" y="16193"/>
                  </a:lnTo>
                  <a:lnTo>
                    <a:pt x="24765" y="20002"/>
                  </a:lnTo>
                  <a:lnTo>
                    <a:pt x="23813" y="26670"/>
                  </a:lnTo>
                  <a:lnTo>
                    <a:pt x="20003" y="27622"/>
                  </a:lnTo>
                  <a:lnTo>
                    <a:pt x="17145" y="24765"/>
                  </a:lnTo>
                  <a:lnTo>
                    <a:pt x="11430" y="24765"/>
                  </a:lnTo>
                  <a:lnTo>
                    <a:pt x="6668" y="27622"/>
                  </a:lnTo>
                  <a:lnTo>
                    <a:pt x="6668" y="32385"/>
                  </a:lnTo>
                  <a:lnTo>
                    <a:pt x="3810" y="34290"/>
                  </a:lnTo>
                  <a:lnTo>
                    <a:pt x="0" y="33338"/>
                  </a:lnTo>
                  <a:lnTo>
                    <a:pt x="0" y="31432"/>
                  </a:lnTo>
                  <a:lnTo>
                    <a:pt x="2858" y="27622"/>
                  </a:lnTo>
                  <a:lnTo>
                    <a:pt x="10478" y="21907"/>
                  </a:lnTo>
                  <a:lnTo>
                    <a:pt x="10478" y="17145"/>
                  </a:lnTo>
                  <a:lnTo>
                    <a:pt x="12383" y="17145"/>
                  </a:lnTo>
                  <a:lnTo>
                    <a:pt x="15240" y="18097"/>
                  </a:lnTo>
                  <a:lnTo>
                    <a:pt x="17145" y="13335"/>
                  </a:lnTo>
                  <a:lnTo>
                    <a:pt x="14288" y="10477"/>
                  </a:lnTo>
                  <a:lnTo>
                    <a:pt x="12383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CAC96B-AA17-44F3-ACB9-B6C60E65AABB}"/>
                </a:ext>
              </a:extLst>
            </p:cNvPr>
            <p:cNvSpPr/>
            <p:nvPr/>
          </p:nvSpPr>
          <p:spPr>
            <a:xfrm>
              <a:off x="6444614" y="3342322"/>
              <a:ext cx="9525" cy="10477"/>
            </a:xfrm>
            <a:custGeom>
              <a:avLst/>
              <a:gdLst>
                <a:gd name="connsiteX0" fmla="*/ 0 w 9525"/>
                <a:gd name="connsiteY0" fmla="*/ 3810 h 10477"/>
                <a:gd name="connsiteX1" fmla="*/ 2858 w 9525"/>
                <a:gd name="connsiteY1" fmla="*/ 3810 h 10477"/>
                <a:gd name="connsiteX2" fmla="*/ 2858 w 9525"/>
                <a:gd name="connsiteY2" fmla="*/ 5715 h 10477"/>
                <a:gd name="connsiteX3" fmla="*/ 3810 w 9525"/>
                <a:gd name="connsiteY3" fmla="*/ 8572 h 10477"/>
                <a:gd name="connsiteX4" fmla="*/ 5715 w 9525"/>
                <a:gd name="connsiteY4" fmla="*/ 10477 h 10477"/>
                <a:gd name="connsiteX5" fmla="*/ 7620 w 9525"/>
                <a:gd name="connsiteY5" fmla="*/ 10477 h 10477"/>
                <a:gd name="connsiteX6" fmla="*/ 9525 w 9525"/>
                <a:gd name="connsiteY6" fmla="*/ 7620 h 10477"/>
                <a:gd name="connsiteX7" fmla="*/ 7620 w 9525"/>
                <a:gd name="connsiteY7" fmla="*/ 4763 h 10477"/>
                <a:gd name="connsiteX8" fmla="*/ 4763 w 9525"/>
                <a:gd name="connsiteY8" fmla="*/ 0 h 10477"/>
                <a:gd name="connsiteX9" fmla="*/ 1905 w 9525"/>
                <a:gd name="connsiteY9" fmla="*/ 0 h 10477"/>
                <a:gd name="connsiteX10" fmla="*/ 0 w 9525"/>
                <a:gd name="connsiteY10" fmla="*/ 952 h 10477"/>
                <a:gd name="connsiteX11" fmla="*/ 0 w 9525"/>
                <a:gd name="connsiteY11" fmla="*/ 2857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25" h="10477">
                  <a:moveTo>
                    <a:pt x="0" y="3810"/>
                  </a:moveTo>
                  <a:lnTo>
                    <a:pt x="2858" y="3810"/>
                  </a:lnTo>
                  <a:lnTo>
                    <a:pt x="2858" y="5715"/>
                  </a:lnTo>
                  <a:lnTo>
                    <a:pt x="3810" y="8572"/>
                  </a:lnTo>
                  <a:lnTo>
                    <a:pt x="5715" y="10477"/>
                  </a:lnTo>
                  <a:lnTo>
                    <a:pt x="7620" y="10477"/>
                  </a:lnTo>
                  <a:lnTo>
                    <a:pt x="9525" y="7620"/>
                  </a:lnTo>
                  <a:lnTo>
                    <a:pt x="7620" y="4763"/>
                  </a:lnTo>
                  <a:lnTo>
                    <a:pt x="4763" y="0"/>
                  </a:lnTo>
                  <a:lnTo>
                    <a:pt x="1905" y="0"/>
                  </a:lnTo>
                  <a:lnTo>
                    <a:pt x="0" y="952"/>
                  </a:lnTo>
                  <a:lnTo>
                    <a:pt x="0" y="2857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478AA2F-A725-4078-8E28-713559677E43}"/>
                </a:ext>
              </a:extLst>
            </p:cNvPr>
            <p:cNvSpPr/>
            <p:nvPr/>
          </p:nvSpPr>
          <p:spPr>
            <a:xfrm>
              <a:off x="6454139" y="3333750"/>
              <a:ext cx="8572" cy="4762"/>
            </a:xfrm>
            <a:custGeom>
              <a:avLst/>
              <a:gdLst>
                <a:gd name="connsiteX0" fmla="*/ 0 w 8572"/>
                <a:gd name="connsiteY0" fmla="*/ 4763 h 4762"/>
                <a:gd name="connsiteX1" fmla="*/ 3810 w 8572"/>
                <a:gd name="connsiteY1" fmla="*/ 4763 h 4762"/>
                <a:gd name="connsiteX2" fmla="*/ 5715 w 8572"/>
                <a:gd name="connsiteY2" fmla="*/ 3810 h 4762"/>
                <a:gd name="connsiteX3" fmla="*/ 8573 w 8572"/>
                <a:gd name="connsiteY3" fmla="*/ 952 h 4762"/>
                <a:gd name="connsiteX4" fmla="*/ 6668 w 8572"/>
                <a:gd name="connsiteY4" fmla="*/ 0 h 4762"/>
                <a:gd name="connsiteX5" fmla="*/ 2858 w 8572"/>
                <a:gd name="connsiteY5" fmla="*/ 952 h 4762"/>
                <a:gd name="connsiteX6" fmla="*/ 952 w 8572"/>
                <a:gd name="connsiteY6" fmla="*/ 1905 h 4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2" h="4762">
                  <a:moveTo>
                    <a:pt x="0" y="4763"/>
                  </a:moveTo>
                  <a:lnTo>
                    <a:pt x="3810" y="4763"/>
                  </a:lnTo>
                  <a:lnTo>
                    <a:pt x="5715" y="3810"/>
                  </a:lnTo>
                  <a:lnTo>
                    <a:pt x="8573" y="952"/>
                  </a:lnTo>
                  <a:lnTo>
                    <a:pt x="6668" y="0"/>
                  </a:lnTo>
                  <a:lnTo>
                    <a:pt x="2858" y="952"/>
                  </a:lnTo>
                  <a:lnTo>
                    <a:pt x="952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9D60EAA-1878-46B2-AEBF-96E303534D71}"/>
                </a:ext>
              </a:extLst>
            </p:cNvPr>
            <p:cNvSpPr/>
            <p:nvPr/>
          </p:nvSpPr>
          <p:spPr>
            <a:xfrm>
              <a:off x="6334125" y="3258502"/>
              <a:ext cx="6667" cy="15240"/>
            </a:xfrm>
            <a:custGeom>
              <a:avLst/>
              <a:gdLst>
                <a:gd name="connsiteX0" fmla="*/ 3810 w 6667"/>
                <a:gd name="connsiteY0" fmla="*/ 953 h 15240"/>
                <a:gd name="connsiteX1" fmla="*/ 5715 w 6667"/>
                <a:gd name="connsiteY1" fmla="*/ 0 h 15240"/>
                <a:gd name="connsiteX2" fmla="*/ 6667 w 6667"/>
                <a:gd name="connsiteY2" fmla="*/ 953 h 15240"/>
                <a:gd name="connsiteX3" fmla="*/ 6667 w 6667"/>
                <a:gd name="connsiteY3" fmla="*/ 8573 h 15240"/>
                <a:gd name="connsiteX4" fmla="*/ 4763 w 6667"/>
                <a:gd name="connsiteY4" fmla="*/ 12383 h 15240"/>
                <a:gd name="connsiteX5" fmla="*/ 2858 w 6667"/>
                <a:gd name="connsiteY5" fmla="*/ 15240 h 15240"/>
                <a:gd name="connsiteX6" fmla="*/ 0 w 6667"/>
                <a:gd name="connsiteY6" fmla="*/ 15240 h 15240"/>
                <a:gd name="connsiteX7" fmla="*/ 0 w 6667"/>
                <a:gd name="connsiteY7" fmla="*/ 13335 h 15240"/>
                <a:gd name="connsiteX8" fmla="*/ 2858 w 6667"/>
                <a:gd name="connsiteY8" fmla="*/ 10478 h 15240"/>
                <a:gd name="connsiteX9" fmla="*/ 4763 w 6667"/>
                <a:gd name="connsiteY9" fmla="*/ 6668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" h="15240">
                  <a:moveTo>
                    <a:pt x="3810" y="953"/>
                  </a:moveTo>
                  <a:lnTo>
                    <a:pt x="5715" y="0"/>
                  </a:lnTo>
                  <a:lnTo>
                    <a:pt x="6667" y="953"/>
                  </a:lnTo>
                  <a:lnTo>
                    <a:pt x="6667" y="8573"/>
                  </a:lnTo>
                  <a:lnTo>
                    <a:pt x="4763" y="12383"/>
                  </a:lnTo>
                  <a:lnTo>
                    <a:pt x="2858" y="15240"/>
                  </a:lnTo>
                  <a:lnTo>
                    <a:pt x="0" y="15240"/>
                  </a:lnTo>
                  <a:lnTo>
                    <a:pt x="0" y="13335"/>
                  </a:lnTo>
                  <a:lnTo>
                    <a:pt x="2858" y="10478"/>
                  </a:lnTo>
                  <a:lnTo>
                    <a:pt x="4763" y="66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AAFCB98-8A8D-47F8-9BBD-901A40ADEB3E}"/>
                </a:ext>
              </a:extLst>
            </p:cNvPr>
            <p:cNvSpPr/>
            <p:nvPr/>
          </p:nvSpPr>
          <p:spPr>
            <a:xfrm>
              <a:off x="6178867" y="3300412"/>
              <a:ext cx="26669" cy="41910"/>
            </a:xfrm>
            <a:custGeom>
              <a:avLst/>
              <a:gdLst>
                <a:gd name="connsiteX0" fmla="*/ 17145 w 26669"/>
                <a:gd name="connsiteY0" fmla="*/ 5715 h 41910"/>
                <a:gd name="connsiteX1" fmla="*/ 15240 w 26669"/>
                <a:gd name="connsiteY1" fmla="*/ 5715 h 41910"/>
                <a:gd name="connsiteX2" fmla="*/ 15240 w 26669"/>
                <a:gd name="connsiteY2" fmla="*/ 7620 h 41910"/>
                <a:gd name="connsiteX3" fmla="*/ 13335 w 26669"/>
                <a:gd name="connsiteY3" fmla="*/ 8573 h 41910"/>
                <a:gd name="connsiteX4" fmla="*/ 11430 w 26669"/>
                <a:gd name="connsiteY4" fmla="*/ 10477 h 41910"/>
                <a:gd name="connsiteX5" fmla="*/ 11430 w 26669"/>
                <a:gd name="connsiteY5" fmla="*/ 11430 h 41910"/>
                <a:gd name="connsiteX6" fmla="*/ 14288 w 26669"/>
                <a:gd name="connsiteY6" fmla="*/ 13335 h 41910"/>
                <a:gd name="connsiteX7" fmla="*/ 18097 w 26669"/>
                <a:gd name="connsiteY7" fmla="*/ 19050 h 41910"/>
                <a:gd name="connsiteX8" fmla="*/ 18097 w 26669"/>
                <a:gd name="connsiteY8" fmla="*/ 24765 h 41910"/>
                <a:gd name="connsiteX9" fmla="*/ 20955 w 26669"/>
                <a:gd name="connsiteY9" fmla="*/ 27623 h 41910"/>
                <a:gd name="connsiteX10" fmla="*/ 23813 w 26669"/>
                <a:gd name="connsiteY10" fmla="*/ 31432 h 41910"/>
                <a:gd name="connsiteX11" fmla="*/ 24765 w 26669"/>
                <a:gd name="connsiteY11" fmla="*/ 36195 h 41910"/>
                <a:gd name="connsiteX12" fmla="*/ 26670 w 26669"/>
                <a:gd name="connsiteY12" fmla="*/ 38100 h 41910"/>
                <a:gd name="connsiteX13" fmla="*/ 26670 w 26669"/>
                <a:gd name="connsiteY13" fmla="*/ 40005 h 41910"/>
                <a:gd name="connsiteX14" fmla="*/ 23813 w 26669"/>
                <a:gd name="connsiteY14" fmla="*/ 41910 h 41910"/>
                <a:gd name="connsiteX15" fmla="*/ 20955 w 26669"/>
                <a:gd name="connsiteY15" fmla="*/ 41910 h 41910"/>
                <a:gd name="connsiteX16" fmla="*/ 14288 w 26669"/>
                <a:gd name="connsiteY16" fmla="*/ 38100 h 41910"/>
                <a:gd name="connsiteX17" fmla="*/ 10477 w 26669"/>
                <a:gd name="connsiteY17" fmla="*/ 37148 h 41910"/>
                <a:gd name="connsiteX18" fmla="*/ 10477 w 26669"/>
                <a:gd name="connsiteY18" fmla="*/ 31432 h 41910"/>
                <a:gd name="connsiteX19" fmla="*/ 12382 w 26669"/>
                <a:gd name="connsiteY19" fmla="*/ 25718 h 41910"/>
                <a:gd name="connsiteX20" fmla="*/ 7620 w 26669"/>
                <a:gd name="connsiteY20" fmla="*/ 20002 h 41910"/>
                <a:gd name="connsiteX21" fmla="*/ 0 w 26669"/>
                <a:gd name="connsiteY21" fmla="*/ 12382 h 41910"/>
                <a:gd name="connsiteX22" fmla="*/ 0 w 26669"/>
                <a:gd name="connsiteY22" fmla="*/ 6668 h 41910"/>
                <a:gd name="connsiteX23" fmla="*/ 5715 w 26669"/>
                <a:gd name="connsiteY23" fmla="*/ 2857 h 41910"/>
                <a:gd name="connsiteX24" fmla="*/ 12382 w 26669"/>
                <a:gd name="connsiteY24" fmla="*/ 952 h 41910"/>
                <a:gd name="connsiteX25" fmla="*/ 15240 w 26669"/>
                <a:gd name="connsiteY25" fmla="*/ 0 h 41910"/>
                <a:gd name="connsiteX26" fmla="*/ 18097 w 26669"/>
                <a:gd name="connsiteY26" fmla="*/ 0 h 41910"/>
                <a:gd name="connsiteX27" fmla="*/ 19050 w 26669"/>
                <a:gd name="connsiteY27" fmla="*/ 1905 h 41910"/>
                <a:gd name="connsiteX28" fmla="*/ 19050 w 26669"/>
                <a:gd name="connsiteY28" fmla="*/ 381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669" h="41910">
                  <a:moveTo>
                    <a:pt x="17145" y="5715"/>
                  </a:moveTo>
                  <a:lnTo>
                    <a:pt x="15240" y="5715"/>
                  </a:lnTo>
                  <a:lnTo>
                    <a:pt x="15240" y="7620"/>
                  </a:lnTo>
                  <a:lnTo>
                    <a:pt x="13335" y="8573"/>
                  </a:lnTo>
                  <a:lnTo>
                    <a:pt x="11430" y="10477"/>
                  </a:lnTo>
                  <a:lnTo>
                    <a:pt x="11430" y="11430"/>
                  </a:lnTo>
                  <a:lnTo>
                    <a:pt x="14288" y="13335"/>
                  </a:lnTo>
                  <a:lnTo>
                    <a:pt x="18097" y="19050"/>
                  </a:lnTo>
                  <a:lnTo>
                    <a:pt x="18097" y="24765"/>
                  </a:lnTo>
                  <a:lnTo>
                    <a:pt x="20955" y="27623"/>
                  </a:lnTo>
                  <a:lnTo>
                    <a:pt x="23813" y="31432"/>
                  </a:lnTo>
                  <a:lnTo>
                    <a:pt x="24765" y="36195"/>
                  </a:lnTo>
                  <a:lnTo>
                    <a:pt x="26670" y="38100"/>
                  </a:lnTo>
                  <a:lnTo>
                    <a:pt x="26670" y="40005"/>
                  </a:lnTo>
                  <a:lnTo>
                    <a:pt x="23813" y="41910"/>
                  </a:lnTo>
                  <a:lnTo>
                    <a:pt x="20955" y="41910"/>
                  </a:lnTo>
                  <a:lnTo>
                    <a:pt x="14288" y="38100"/>
                  </a:lnTo>
                  <a:lnTo>
                    <a:pt x="10477" y="37148"/>
                  </a:lnTo>
                  <a:lnTo>
                    <a:pt x="10477" y="31432"/>
                  </a:lnTo>
                  <a:lnTo>
                    <a:pt x="12382" y="25718"/>
                  </a:lnTo>
                  <a:lnTo>
                    <a:pt x="7620" y="20002"/>
                  </a:lnTo>
                  <a:lnTo>
                    <a:pt x="0" y="12382"/>
                  </a:lnTo>
                  <a:lnTo>
                    <a:pt x="0" y="6668"/>
                  </a:lnTo>
                  <a:lnTo>
                    <a:pt x="5715" y="2857"/>
                  </a:lnTo>
                  <a:lnTo>
                    <a:pt x="12382" y="952"/>
                  </a:lnTo>
                  <a:lnTo>
                    <a:pt x="15240" y="0"/>
                  </a:lnTo>
                  <a:lnTo>
                    <a:pt x="18097" y="0"/>
                  </a:lnTo>
                  <a:lnTo>
                    <a:pt x="19050" y="1905"/>
                  </a:lnTo>
                  <a:lnTo>
                    <a:pt x="1905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2D053B21-7D94-48B7-9F20-80234DA60441}"/>
                </a:ext>
              </a:extLst>
            </p:cNvPr>
            <p:cNvSpPr/>
            <p:nvPr/>
          </p:nvSpPr>
          <p:spPr>
            <a:xfrm>
              <a:off x="6213157" y="3299460"/>
              <a:ext cx="9525" cy="12382"/>
            </a:xfrm>
            <a:custGeom>
              <a:avLst/>
              <a:gdLst>
                <a:gd name="connsiteX0" fmla="*/ 3810 w 9525"/>
                <a:gd name="connsiteY0" fmla="*/ 0 h 12382"/>
                <a:gd name="connsiteX1" fmla="*/ 8573 w 9525"/>
                <a:gd name="connsiteY1" fmla="*/ 0 h 12382"/>
                <a:gd name="connsiteX2" fmla="*/ 8573 w 9525"/>
                <a:gd name="connsiteY2" fmla="*/ 952 h 12382"/>
                <a:gd name="connsiteX3" fmla="*/ 9525 w 9525"/>
                <a:gd name="connsiteY3" fmla="*/ 7620 h 12382"/>
                <a:gd name="connsiteX4" fmla="*/ 7620 w 9525"/>
                <a:gd name="connsiteY4" fmla="*/ 11430 h 12382"/>
                <a:gd name="connsiteX5" fmla="*/ 4763 w 9525"/>
                <a:gd name="connsiteY5" fmla="*/ 12382 h 12382"/>
                <a:gd name="connsiteX6" fmla="*/ 1905 w 9525"/>
                <a:gd name="connsiteY6" fmla="*/ 12382 h 12382"/>
                <a:gd name="connsiteX7" fmla="*/ 0 w 9525"/>
                <a:gd name="connsiteY7" fmla="*/ 8572 h 12382"/>
                <a:gd name="connsiteX8" fmla="*/ 953 w 9525"/>
                <a:gd name="connsiteY8" fmla="*/ 3810 h 12382"/>
                <a:gd name="connsiteX9" fmla="*/ 2857 w 9525"/>
                <a:gd name="connsiteY9" fmla="*/ 1905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" h="12382">
                  <a:moveTo>
                    <a:pt x="3810" y="0"/>
                  </a:moveTo>
                  <a:lnTo>
                    <a:pt x="8573" y="0"/>
                  </a:lnTo>
                  <a:lnTo>
                    <a:pt x="8573" y="952"/>
                  </a:lnTo>
                  <a:lnTo>
                    <a:pt x="9525" y="7620"/>
                  </a:lnTo>
                  <a:lnTo>
                    <a:pt x="7620" y="11430"/>
                  </a:lnTo>
                  <a:lnTo>
                    <a:pt x="4763" y="12382"/>
                  </a:lnTo>
                  <a:lnTo>
                    <a:pt x="1905" y="12382"/>
                  </a:lnTo>
                  <a:lnTo>
                    <a:pt x="0" y="8572"/>
                  </a:lnTo>
                  <a:lnTo>
                    <a:pt x="953" y="3810"/>
                  </a:lnTo>
                  <a:lnTo>
                    <a:pt x="2857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417843E-DD30-4D93-8690-826F056BBA8C}"/>
                </a:ext>
              </a:extLst>
            </p:cNvPr>
            <p:cNvSpPr/>
            <p:nvPr/>
          </p:nvSpPr>
          <p:spPr>
            <a:xfrm>
              <a:off x="6254114" y="3296602"/>
              <a:ext cx="18097" cy="8572"/>
            </a:xfrm>
            <a:custGeom>
              <a:avLst/>
              <a:gdLst>
                <a:gd name="connsiteX0" fmla="*/ 1905 w 18097"/>
                <a:gd name="connsiteY0" fmla="*/ 3810 h 8572"/>
                <a:gd name="connsiteX1" fmla="*/ 0 w 18097"/>
                <a:gd name="connsiteY1" fmla="*/ 4763 h 8572"/>
                <a:gd name="connsiteX2" fmla="*/ 952 w 18097"/>
                <a:gd name="connsiteY2" fmla="*/ 6668 h 8572"/>
                <a:gd name="connsiteX3" fmla="*/ 1905 w 18097"/>
                <a:gd name="connsiteY3" fmla="*/ 6668 h 8572"/>
                <a:gd name="connsiteX4" fmla="*/ 3810 w 18097"/>
                <a:gd name="connsiteY4" fmla="*/ 8573 h 8572"/>
                <a:gd name="connsiteX5" fmla="*/ 4763 w 18097"/>
                <a:gd name="connsiteY5" fmla="*/ 8573 h 8572"/>
                <a:gd name="connsiteX6" fmla="*/ 5715 w 18097"/>
                <a:gd name="connsiteY6" fmla="*/ 6668 h 8572"/>
                <a:gd name="connsiteX7" fmla="*/ 5715 w 18097"/>
                <a:gd name="connsiteY7" fmla="*/ 4763 h 8572"/>
                <a:gd name="connsiteX8" fmla="*/ 10477 w 18097"/>
                <a:gd name="connsiteY8" fmla="*/ 4763 h 8572"/>
                <a:gd name="connsiteX9" fmla="*/ 14288 w 18097"/>
                <a:gd name="connsiteY9" fmla="*/ 3810 h 8572"/>
                <a:gd name="connsiteX10" fmla="*/ 18098 w 18097"/>
                <a:gd name="connsiteY10" fmla="*/ 2858 h 8572"/>
                <a:gd name="connsiteX11" fmla="*/ 18098 w 18097"/>
                <a:gd name="connsiteY11" fmla="*/ 953 h 8572"/>
                <a:gd name="connsiteX12" fmla="*/ 15240 w 18097"/>
                <a:gd name="connsiteY12" fmla="*/ 953 h 8572"/>
                <a:gd name="connsiteX13" fmla="*/ 14288 w 18097"/>
                <a:gd name="connsiteY13" fmla="*/ 1905 h 8572"/>
                <a:gd name="connsiteX14" fmla="*/ 12383 w 18097"/>
                <a:gd name="connsiteY14" fmla="*/ 1905 h 8572"/>
                <a:gd name="connsiteX15" fmla="*/ 9525 w 18097"/>
                <a:gd name="connsiteY15" fmla="*/ 953 h 8572"/>
                <a:gd name="connsiteX16" fmla="*/ 7620 w 18097"/>
                <a:gd name="connsiteY16" fmla="*/ 0 h 8572"/>
                <a:gd name="connsiteX17" fmla="*/ 5715 w 18097"/>
                <a:gd name="connsiteY17" fmla="*/ 0 h 8572"/>
                <a:gd name="connsiteX18" fmla="*/ 3810 w 18097"/>
                <a:gd name="connsiteY18" fmla="*/ 1905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097" h="8572">
                  <a:moveTo>
                    <a:pt x="1905" y="3810"/>
                  </a:moveTo>
                  <a:lnTo>
                    <a:pt x="0" y="4763"/>
                  </a:lnTo>
                  <a:lnTo>
                    <a:pt x="952" y="6668"/>
                  </a:lnTo>
                  <a:lnTo>
                    <a:pt x="1905" y="6668"/>
                  </a:lnTo>
                  <a:lnTo>
                    <a:pt x="3810" y="8573"/>
                  </a:lnTo>
                  <a:lnTo>
                    <a:pt x="4763" y="8573"/>
                  </a:lnTo>
                  <a:lnTo>
                    <a:pt x="5715" y="6668"/>
                  </a:lnTo>
                  <a:lnTo>
                    <a:pt x="5715" y="4763"/>
                  </a:lnTo>
                  <a:lnTo>
                    <a:pt x="10477" y="4763"/>
                  </a:lnTo>
                  <a:lnTo>
                    <a:pt x="14288" y="3810"/>
                  </a:lnTo>
                  <a:lnTo>
                    <a:pt x="18098" y="2858"/>
                  </a:lnTo>
                  <a:lnTo>
                    <a:pt x="18098" y="953"/>
                  </a:lnTo>
                  <a:lnTo>
                    <a:pt x="15240" y="953"/>
                  </a:lnTo>
                  <a:lnTo>
                    <a:pt x="14288" y="1905"/>
                  </a:lnTo>
                  <a:lnTo>
                    <a:pt x="12383" y="1905"/>
                  </a:lnTo>
                  <a:lnTo>
                    <a:pt x="9525" y="953"/>
                  </a:lnTo>
                  <a:lnTo>
                    <a:pt x="7620" y="0"/>
                  </a:lnTo>
                  <a:lnTo>
                    <a:pt x="5715" y="0"/>
                  </a:lnTo>
                  <a:lnTo>
                    <a:pt x="381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76F6584-4474-46A3-96C1-92D03F189BA5}"/>
                </a:ext>
              </a:extLst>
            </p:cNvPr>
            <p:cNvSpPr/>
            <p:nvPr/>
          </p:nvSpPr>
          <p:spPr>
            <a:xfrm>
              <a:off x="6142672" y="3484244"/>
              <a:ext cx="10477" cy="12382"/>
            </a:xfrm>
            <a:custGeom>
              <a:avLst/>
              <a:gdLst>
                <a:gd name="connsiteX0" fmla="*/ 952 w 10477"/>
                <a:gd name="connsiteY0" fmla="*/ 1905 h 12382"/>
                <a:gd name="connsiteX1" fmla="*/ 5715 w 10477"/>
                <a:gd name="connsiteY1" fmla="*/ 0 h 12382"/>
                <a:gd name="connsiteX2" fmla="*/ 7620 w 10477"/>
                <a:gd name="connsiteY2" fmla="*/ 0 h 12382"/>
                <a:gd name="connsiteX3" fmla="*/ 10477 w 10477"/>
                <a:gd name="connsiteY3" fmla="*/ 953 h 12382"/>
                <a:gd name="connsiteX4" fmla="*/ 10477 w 10477"/>
                <a:gd name="connsiteY4" fmla="*/ 2857 h 12382"/>
                <a:gd name="connsiteX5" fmla="*/ 8572 w 10477"/>
                <a:gd name="connsiteY5" fmla="*/ 4763 h 12382"/>
                <a:gd name="connsiteX6" fmla="*/ 6667 w 10477"/>
                <a:gd name="connsiteY6" fmla="*/ 7620 h 12382"/>
                <a:gd name="connsiteX7" fmla="*/ 6667 w 10477"/>
                <a:gd name="connsiteY7" fmla="*/ 12382 h 12382"/>
                <a:gd name="connsiteX8" fmla="*/ 3810 w 10477"/>
                <a:gd name="connsiteY8" fmla="*/ 12382 h 12382"/>
                <a:gd name="connsiteX9" fmla="*/ 0 w 10477"/>
                <a:gd name="connsiteY9" fmla="*/ 9525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" h="12382">
                  <a:moveTo>
                    <a:pt x="952" y="1905"/>
                  </a:moveTo>
                  <a:lnTo>
                    <a:pt x="5715" y="0"/>
                  </a:lnTo>
                  <a:lnTo>
                    <a:pt x="7620" y="0"/>
                  </a:lnTo>
                  <a:lnTo>
                    <a:pt x="10477" y="953"/>
                  </a:lnTo>
                  <a:lnTo>
                    <a:pt x="10477" y="2857"/>
                  </a:lnTo>
                  <a:lnTo>
                    <a:pt x="8572" y="4763"/>
                  </a:lnTo>
                  <a:lnTo>
                    <a:pt x="6667" y="7620"/>
                  </a:lnTo>
                  <a:lnTo>
                    <a:pt x="6667" y="12382"/>
                  </a:lnTo>
                  <a:lnTo>
                    <a:pt x="3810" y="12382"/>
                  </a:lnTo>
                  <a:lnTo>
                    <a:pt x="0" y="95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E24C94B-5BD8-4DB9-86B1-1F067BD1AFD1}"/>
                </a:ext>
              </a:extLst>
            </p:cNvPr>
            <p:cNvSpPr/>
            <p:nvPr/>
          </p:nvSpPr>
          <p:spPr>
            <a:xfrm>
              <a:off x="6135052" y="3503294"/>
              <a:ext cx="4762" cy="14287"/>
            </a:xfrm>
            <a:custGeom>
              <a:avLst/>
              <a:gdLst>
                <a:gd name="connsiteX0" fmla="*/ 0 w 4762"/>
                <a:gd name="connsiteY0" fmla="*/ 0 h 14287"/>
                <a:gd name="connsiteX1" fmla="*/ 0 w 4762"/>
                <a:gd name="connsiteY1" fmla="*/ 8573 h 14287"/>
                <a:gd name="connsiteX2" fmla="*/ 2858 w 4762"/>
                <a:gd name="connsiteY2" fmla="*/ 14288 h 14287"/>
                <a:gd name="connsiteX3" fmla="*/ 4763 w 4762"/>
                <a:gd name="connsiteY3" fmla="*/ 14288 h 14287"/>
                <a:gd name="connsiteX4" fmla="*/ 4763 w 4762"/>
                <a:gd name="connsiteY4" fmla="*/ 10478 h 14287"/>
                <a:gd name="connsiteX5" fmla="*/ 2858 w 4762"/>
                <a:gd name="connsiteY5" fmla="*/ 5715 h 14287"/>
                <a:gd name="connsiteX6" fmla="*/ 2858 w 4762"/>
                <a:gd name="connsiteY6" fmla="*/ 1905 h 14287"/>
                <a:gd name="connsiteX7" fmla="*/ 1905 w 4762"/>
                <a:gd name="connsiteY7" fmla="*/ 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62" h="14287">
                  <a:moveTo>
                    <a:pt x="0" y="0"/>
                  </a:moveTo>
                  <a:lnTo>
                    <a:pt x="0" y="8573"/>
                  </a:lnTo>
                  <a:lnTo>
                    <a:pt x="2858" y="14288"/>
                  </a:lnTo>
                  <a:lnTo>
                    <a:pt x="4763" y="14288"/>
                  </a:lnTo>
                  <a:lnTo>
                    <a:pt x="4763" y="10478"/>
                  </a:lnTo>
                  <a:lnTo>
                    <a:pt x="2858" y="5715"/>
                  </a:lnTo>
                  <a:lnTo>
                    <a:pt x="2858" y="1905"/>
                  </a:lnTo>
                  <a:lnTo>
                    <a:pt x="190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4B71F3A-AA63-4C97-BDEF-1B3F670B04B6}"/>
                </a:ext>
              </a:extLst>
            </p:cNvPr>
            <p:cNvSpPr/>
            <p:nvPr/>
          </p:nvSpPr>
          <p:spPr>
            <a:xfrm>
              <a:off x="6148387" y="3524250"/>
              <a:ext cx="3810" cy="18097"/>
            </a:xfrm>
            <a:custGeom>
              <a:avLst/>
              <a:gdLst>
                <a:gd name="connsiteX0" fmla="*/ 0 w 3810"/>
                <a:gd name="connsiteY0" fmla="*/ 0 h 18097"/>
                <a:gd name="connsiteX1" fmla="*/ 1905 w 3810"/>
                <a:gd name="connsiteY1" fmla="*/ 0 h 18097"/>
                <a:gd name="connsiteX2" fmla="*/ 1905 w 3810"/>
                <a:gd name="connsiteY2" fmla="*/ 3810 h 18097"/>
                <a:gd name="connsiteX3" fmla="*/ 2857 w 3810"/>
                <a:gd name="connsiteY3" fmla="*/ 11430 h 18097"/>
                <a:gd name="connsiteX4" fmla="*/ 3810 w 3810"/>
                <a:gd name="connsiteY4" fmla="*/ 18098 h 18097"/>
                <a:gd name="connsiteX5" fmla="*/ 1905 w 3810"/>
                <a:gd name="connsiteY5" fmla="*/ 17145 h 18097"/>
                <a:gd name="connsiteX6" fmla="*/ 952 w 3810"/>
                <a:gd name="connsiteY6" fmla="*/ 15240 h 18097"/>
                <a:gd name="connsiteX7" fmla="*/ 952 w 3810"/>
                <a:gd name="connsiteY7" fmla="*/ 10477 h 18097"/>
                <a:gd name="connsiteX8" fmla="*/ 952 w 3810"/>
                <a:gd name="connsiteY8" fmla="*/ 4763 h 18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" h="18097">
                  <a:moveTo>
                    <a:pt x="0" y="0"/>
                  </a:moveTo>
                  <a:lnTo>
                    <a:pt x="1905" y="0"/>
                  </a:lnTo>
                  <a:lnTo>
                    <a:pt x="1905" y="3810"/>
                  </a:lnTo>
                  <a:lnTo>
                    <a:pt x="2857" y="11430"/>
                  </a:lnTo>
                  <a:lnTo>
                    <a:pt x="3810" y="18098"/>
                  </a:lnTo>
                  <a:lnTo>
                    <a:pt x="1905" y="17145"/>
                  </a:lnTo>
                  <a:lnTo>
                    <a:pt x="952" y="15240"/>
                  </a:lnTo>
                  <a:lnTo>
                    <a:pt x="952" y="10477"/>
                  </a:lnTo>
                  <a:lnTo>
                    <a:pt x="952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DB57E26-0E1E-4A0A-99DE-E5979DD81418}"/>
                </a:ext>
              </a:extLst>
            </p:cNvPr>
            <p:cNvSpPr/>
            <p:nvPr/>
          </p:nvSpPr>
          <p:spPr>
            <a:xfrm>
              <a:off x="6177914" y="3532822"/>
              <a:ext cx="24765" cy="53339"/>
            </a:xfrm>
            <a:custGeom>
              <a:avLst/>
              <a:gdLst>
                <a:gd name="connsiteX0" fmla="*/ 3810 w 24765"/>
                <a:gd name="connsiteY0" fmla="*/ 31432 h 53339"/>
                <a:gd name="connsiteX1" fmla="*/ 4763 w 24765"/>
                <a:gd name="connsiteY1" fmla="*/ 26670 h 53339"/>
                <a:gd name="connsiteX2" fmla="*/ 2858 w 24765"/>
                <a:gd name="connsiteY2" fmla="*/ 25717 h 53339"/>
                <a:gd name="connsiteX3" fmla="*/ 4763 w 24765"/>
                <a:gd name="connsiteY3" fmla="*/ 19050 h 53339"/>
                <a:gd name="connsiteX4" fmla="*/ 10478 w 24765"/>
                <a:gd name="connsiteY4" fmla="*/ 14288 h 53339"/>
                <a:gd name="connsiteX5" fmla="*/ 13335 w 24765"/>
                <a:gd name="connsiteY5" fmla="*/ 12382 h 53339"/>
                <a:gd name="connsiteX6" fmla="*/ 16193 w 24765"/>
                <a:gd name="connsiteY6" fmla="*/ 7620 h 53339"/>
                <a:gd name="connsiteX7" fmla="*/ 22860 w 24765"/>
                <a:gd name="connsiteY7" fmla="*/ 952 h 53339"/>
                <a:gd name="connsiteX8" fmla="*/ 24765 w 24765"/>
                <a:gd name="connsiteY8" fmla="*/ 0 h 53339"/>
                <a:gd name="connsiteX9" fmla="*/ 24765 w 24765"/>
                <a:gd name="connsiteY9" fmla="*/ 5715 h 53339"/>
                <a:gd name="connsiteX10" fmla="*/ 24765 w 24765"/>
                <a:gd name="connsiteY10" fmla="*/ 17145 h 53339"/>
                <a:gd name="connsiteX11" fmla="*/ 18098 w 24765"/>
                <a:gd name="connsiteY11" fmla="*/ 35242 h 53339"/>
                <a:gd name="connsiteX12" fmla="*/ 13335 w 24765"/>
                <a:gd name="connsiteY12" fmla="*/ 50482 h 53339"/>
                <a:gd name="connsiteX13" fmla="*/ 6668 w 24765"/>
                <a:gd name="connsiteY13" fmla="*/ 53340 h 53339"/>
                <a:gd name="connsiteX14" fmla="*/ 2858 w 24765"/>
                <a:gd name="connsiteY14" fmla="*/ 53340 h 53339"/>
                <a:gd name="connsiteX15" fmla="*/ 0 w 24765"/>
                <a:gd name="connsiteY15" fmla="*/ 46673 h 53339"/>
                <a:gd name="connsiteX16" fmla="*/ 0 w 24765"/>
                <a:gd name="connsiteY16" fmla="*/ 40957 h 5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765" h="53339">
                  <a:moveTo>
                    <a:pt x="3810" y="31432"/>
                  </a:moveTo>
                  <a:lnTo>
                    <a:pt x="4763" y="26670"/>
                  </a:lnTo>
                  <a:lnTo>
                    <a:pt x="2858" y="25717"/>
                  </a:lnTo>
                  <a:lnTo>
                    <a:pt x="4763" y="19050"/>
                  </a:lnTo>
                  <a:lnTo>
                    <a:pt x="10478" y="14288"/>
                  </a:lnTo>
                  <a:lnTo>
                    <a:pt x="13335" y="12382"/>
                  </a:lnTo>
                  <a:lnTo>
                    <a:pt x="16193" y="7620"/>
                  </a:lnTo>
                  <a:lnTo>
                    <a:pt x="22860" y="952"/>
                  </a:lnTo>
                  <a:lnTo>
                    <a:pt x="24765" y="0"/>
                  </a:lnTo>
                  <a:lnTo>
                    <a:pt x="24765" y="5715"/>
                  </a:lnTo>
                  <a:lnTo>
                    <a:pt x="24765" y="17145"/>
                  </a:lnTo>
                  <a:lnTo>
                    <a:pt x="18098" y="35242"/>
                  </a:lnTo>
                  <a:lnTo>
                    <a:pt x="13335" y="50482"/>
                  </a:lnTo>
                  <a:lnTo>
                    <a:pt x="6668" y="53340"/>
                  </a:lnTo>
                  <a:lnTo>
                    <a:pt x="2858" y="53340"/>
                  </a:lnTo>
                  <a:lnTo>
                    <a:pt x="0" y="46673"/>
                  </a:lnTo>
                  <a:lnTo>
                    <a:pt x="0" y="409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54BA3130-7206-432D-912C-D2E5A8C35B0D}"/>
                </a:ext>
              </a:extLst>
            </p:cNvPr>
            <p:cNvSpPr/>
            <p:nvPr/>
          </p:nvSpPr>
          <p:spPr>
            <a:xfrm>
              <a:off x="6217919" y="3567112"/>
              <a:ext cx="4762" cy="3810"/>
            </a:xfrm>
            <a:custGeom>
              <a:avLst/>
              <a:gdLst>
                <a:gd name="connsiteX0" fmla="*/ 0 w 4762"/>
                <a:gd name="connsiteY0" fmla="*/ 0 h 3810"/>
                <a:gd name="connsiteX1" fmla="*/ 0 w 4762"/>
                <a:gd name="connsiteY1" fmla="*/ 2858 h 3810"/>
                <a:gd name="connsiteX2" fmla="*/ 2857 w 4762"/>
                <a:gd name="connsiteY2" fmla="*/ 3810 h 3810"/>
                <a:gd name="connsiteX3" fmla="*/ 4763 w 4762"/>
                <a:gd name="connsiteY3" fmla="*/ 3810 h 3810"/>
                <a:gd name="connsiteX4" fmla="*/ 4763 w 4762"/>
                <a:gd name="connsiteY4" fmla="*/ 1905 h 3810"/>
                <a:gd name="connsiteX5" fmla="*/ 2857 w 4762"/>
                <a:gd name="connsiteY5" fmla="*/ 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" h="3810">
                  <a:moveTo>
                    <a:pt x="0" y="0"/>
                  </a:moveTo>
                  <a:lnTo>
                    <a:pt x="0" y="2858"/>
                  </a:lnTo>
                  <a:lnTo>
                    <a:pt x="2857" y="3810"/>
                  </a:lnTo>
                  <a:lnTo>
                    <a:pt x="4763" y="3810"/>
                  </a:lnTo>
                  <a:lnTo>
                    <a:pt x="4763" y="1905"/>
                  </a:lnTo>
                  <a:lnTo>
                    <a:pt x="285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AA4520D-8F0D-450B-8773-4CECE3E76DF6}"/>
                </a:ext>
              </a:extLst>
            </p:cNvPr>
            <p:cNvSpPr/>
            <p:nvPr/>
          </p:nvSpPr>
          <p:spPr>
            <a:xfrm>
              <a:off x="6225539" y="3563302"/>
              <a:ext cx="2857" cy="3810"/>
            </a:xfrm>
            <a:custGeom>
              <a:avLst/>
              <a:gdLst>
                <a:gd name="connsiteX0" fmla="*/ 953 w 2857"/>
                <a:gd name="connsiteY0" fmla="*/ 0 h 3810"/>
                <a:gd name="connsiteX1" fmla="*/ 2858 w 2857"/>
                <a:gd name="connsiteY1" fmla="*/ 0 h 3810"/>
                <a:gd name="connsiteX2" fmla="*/ 2858 w 2857"/>
                <a:gd name="connsiteY2" fmla="*/ 2858 h 3810"/>
                <a:gd name="connsiteX3" fmla="*/ 1905 w 2857"/>
                <a:gd name="connsiteY3" fmla="*/ 3810 h 3810"/>
                <a:gd name="connsiteX4" fmla="*/ 0 w 2857"/>
                <a:gd name="connsiteY4" fmla="*/ 381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" h="3810">
                  <a:moveTo>
                    <a:pt x="953" y="0"/>
                  </a:moveTo>
                  <a:lnTo>
                    <a:pt x="2858" y="0"/>
                  </a:lnTo>
                  <a:lnTo>
                    <a:pt x="2858" y="2858"/>
                  </a:lnTo>
                  <a:lnTo>
                    <a:pt x="1905" y="3810"/>
                  </a:lnTo>
                  <a:lnTo>
                    <a:pt x="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A9D639D-AFFF-4B69-8432-B7189EEF7775}"/>
                </a:ext>
              </a:extLst>
            </p:cNvPr>
            <p:cNvSpPr/>
            <p:nvPr/>
          </p:nvSpPr>
          <p:spPr>
            <a:xfrm>
              <a:off x="6427470" y="3377564"/>
              <a:ext cx="7619" cy="14287"/>
            </a:xfrm>
            <a:custGeom>
              <a:avLst/>
              <a:gdLst>
                <a:gd name="connsiteX0" fmla="*/ 1905 w 7619"/>
                <a:gd name="connsiteY0" fmla="*/ 953 h 14287"/>
                <a:gd name="connsiteX1" fmla="*/ 4763 w 7619"/>
                <a:gd name="connsiteY1" fmla="*/ 0 h 14287"/>
                <a:gd name="connsiteX2" fmla="*/ 5715 w 7619"/>
                <a:gd name="connsiteY2" fmla="*/ 4763 h 14287"/>
                <a:gd name="connsiteX3" fmla="*/ 5715 w 7619"/>
                <a:gd name="connsiteY3" fmla="*/ 7620 h 14287"/>
                <a:gd name="connsiteX4" fmla="*/ 7620 w 7619"/>
                <a:gd name="connsiteY4" fmla="*/ 14288 h 14287"/>
                <a:gd name="connsiteX5" fmla="*/ 4763 w 7619"/>
                <a:gd name="connsiteY5" fmla="*/ 14288 h 14287"/>
                <a:gd name="connsiteX6" fmla="*/ 1905 w 7619"/>
                <a:gd name="connsiteY6" fmla="*/ 11430 h 14287"/>
                <a:gd name="connsiteX7" fmla="*/ 0 w 7619"/>
                <a:gd name="connsiteY7" fmla="*/ 666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19" h="14287">
                  <a:moveTo>
                    <a:pt x="1905" y="953"/>
                  </a:moveTo>
                  <a:lnTo>
                    <a:pt x="4763" y="0"/>
                  </a:lnTo>
                  <a:lnTo>
                    <a:pt x="5715" y="4763"/>
                  </a:lnTo>
                  <a:lnTo>
                    <a:pt x="5715" y="7620"/>
                  </a:lnTo>
                  <a:lnTo>
                    <a:pt x="7620" y="14288"/>
                  </a:lnTo>
                  <a:lnTo>
                    <a:pt x="4763" y="14288"/>
                  </a:lnTo>
                  <a:lnTo>
                    <a:pt x="1905" y="11430"/>
                  </a:lnTo>
                  <a:lnTo>
                    <a:pt x="0" y="66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AEE4160-EE12-4122-9D4B-5379AF9A4AF4}"/>
                </a:ext>
              </a:extLst>
            </p:cNvPr>
            <p:cNvSpPr/>
            <p:nvPr/>
          </p:nvSpPr>
          <p:spPr>
            <a:xfrm>
              <a:off x="6433185" y="3405187"/>
              <a:ext cx="19050" cy="24764"/>
            </a:xfrm>
            <a:custGeom>
              <a:avLst/>
              <a:gdLst>
                <a:gd name="connsiteX0" fmla="*/ 0 w 19050"/>
                <a:gd name="connsiteY0" fmla="*/ 952 h 24764"/>
                <a:gd name="connsiteX1" fmla="*/ 4763 w 19050"/>
                <a:gd name="connsiteY1" fmla="*/ 0 h 24764"/>
                <a:gd name="connsiteX2" fmla="*/ 8573 w 19050"/>
                <a:gd name="connsiteY2" fmla="*/ 4763 h 24764"/>
                <a:gd name="connsiteX3" fmla="*/ 6667 w 19050"/>
                <a:gd name="connsiteY3" fmla="*/ 10477 h 24764"/>
                <a:gd name="connsiteX4" fmla="*/ 8573 w 19050"/>
                <a:gd name="connsiteY4" fmla="*/ 17145 h 24764"/>
                <a:gd name="connsiteX5" fmla="*/ 13335 w 19050"/>
                <a:gd name="connsiteY5" fmla="*/ 19050 h 24764"/>
                <a:gd name="connsiteX6" fmla="*/ 18098 w 19050"/>
                <a:gd name="connsiteY6" fmla="*/ 22860 h 24764"/>
                <a:gd name="connsiteX7" fmla="*/ 19050 w 19050"/>
                <a:gd name="connsiteY7" fmla="*/ 24765 h 24764"/>
                <a:gd name="connsiteX8" fmla="*/ 16192 w 19050"/>
                <a:gd name="connsiteY8" fmla="*/ 24765 h 24764"/>
                <a:gd name="connsiteX9" fmla="*/ 11430 w 19050"/>
                <a:gd name="connsiteY9" fmla="*/ 20955 h 24764"/>
                <a:gd name="connsiteX10" fmla="*/ 5715 w 19050"/>
                <a:gd name="connsiteY10" fmla="*/ 20955 h 24764"/>
                <a:gd name="connsiteX11" fmla="*/ 952 w 19050"/>
                <a:gd name="connsiteY11" fmla="*/ 14288 h 24764"/>
                <a:gd name="connsiteX12" fmla="*/ 0 w 19050"/>
                <a:gd name="connsiteY12" fmla="*/ 10477 h 24764"/>
                <a:gd name="connsiteX13" fmla="*/ 1905 w 19050"/>
                <a:gd name="connsiteY13" fmla="*/ 8573 h 24764"/>
                <a:gd name="connsiteX14" fmla="*/ 952 w 19050"/>
                <a:gd name="connsiteY14" fmla="*/ 3810 h 24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050" h="24764">
                  <a:moveTo>
                    <a:pt x="0" y="952"/>
                  </a:moveTo>
                  <a:lnTo>
                    <a:pt x="4763" y="0"/>
                  </a:lnTo>
                  <a:lnTo>
                    <a:pt x="8573" y="4763"/>
                  </a:lnTo>
                  <a:lnTo>
                    <a:pt x="6667" y="10477"/>
                  </a:lnTo>
                  <a:lnTo>
                    <a:pt x="8573" y="17145"/>
                  </a:lnTo>
                  <a:lnTo>
                    <a:pt x="13335" y="19050"/>
                  </a:lnTo>
                  <a:lnTo>
                    <a:pt x="18098" y="22860"/>
                  </a:lnTo>
                  <a:lnTo>
                    <a:pt x="19050" y="24765"/>
                  </a:lnTo>
                  <a:lnTo>
                    <a:pt x="16192" y="24765"/>
                  </a:lnTo>
                  <a:lnTo>
                    <a:pt x="11430" y="20955"/>
                  </a:lnTo>
                  <a:lnTo>
                    <a:pt x="5715" y="20955"/>
                  </a:lnTo>
                  <a:lnTo>
                    <a:pt x="952" y="14288"/>
                  </a:lnTo>
                  <a:lnTo>
                    <a:pt x="0" y="10477"/>
                  </a:lnTo>
                  <a:lnTo>
                    <a:pt x="1905" y="8573"/>
                  </a:lnTo>
                  <a:lnTo>
                    <a:pt x="952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CB9D3C4-77C8-47E6-A560-19587DAE0930}"/>
                </a:ext>
              </a:extLst>
            </p:cNvPr>
            <p:cNvSpPr/>
            <p:nvPr/>
          </p:nvSpPr>
          <p:spPr>
            <a:xfrm>
              <a:off x="6302692" y="3446144"/>
              <a:ext cx="10477" cy="16192"/>
            </a:xfrm>
            <a:custGeom>
              <a:avLst/>
              <a:gdLst>
                <a:gd name="connsiteX0" fmla="*/ 2858 w 10477"/>
                <a:gd name="connsiteY0" fmla="*/ 0 h 16192"/>
                <a:gd name="connsiteX1" fmla="*/ 6668 w 10477"/>
                <a:gd name="connsiteY1" fmla="*/ 5715 h 16192"/>
                <a:gd name="connsiteX2" fmla="*/ 10478 w 10477"/>
                <a:gd name="connsiteY2" fmla="*/ 9525 h 16192"/>
                <a:gd name="connsiteX3" fmla="*/ 8573 w 10477"/>
                <a:gd name="connsiteY3" fmla="*/ 14288 h 16192"/>
                <a:gd name="connsiteX4" fmla="*/ 2858 w 10477"/>
                <a:gd name="connsiteY4" fmla="*/ 16193 h 16192"/>
                <a:gd name="connsiteX5" fmla="*/ 0 w 10477"/>
                <a:gd name="connsiteY5" fmla="*/ 11430 h 16192"/>
                <a:gd name="connsiteX6" fmla="*/ 953 w 10477"/>
                <a:gd name="connsiteY6" fmla="*/ 5715 h 16192"/>
                <a:gd name="connsiteX7" fmla="*/ 1905 w 10477"/>
                <a:gd name="connsiteY7" fmla="*/ 953 h 16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" h="16192">
                  <a:moveTo>
                    <a:pt x="2858" y="0"/>
                  </a:moveTo>
                  <a:lnTo>
                    <a:pt x="6668" y="5715"/>
                  </a:lnTo>
                  <a:lnTo>
                    <a:pt x="10478" y="9525"/>
                  </a:lnTo>
                  <a:lnTo>
                    <a:pt x="8573" y="14288"/>
                  </a:lnTo>
                  <a:lnTo>
                    <a:pt x="2858" y="16193"/>
                  </a:lnTo>
                  <a:lnTo>
                    <a:pt x="0" y="11430"/>
                  </a:lnTo>
                  <a:lnTo>
                    <a:pt x="953" y="5715"/>
                  </a:lnTo>
                  <a:lnTo>
                    <a:pt x="1905" y="9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0593420-8F11-4C58-9780-EC962B6D6AF5}"/>
                </a:ext>
              </a:extLst>
            </p:cNvPr>
            <p:cNvSpPr/>
            <p:nvPr/>
          </p:nvSpPr>
          <p:spPr>
            <a:xfrm>
              <a:off x="6356032" y="3463289"/>
              <a:ext cx="37147" cy="43815"/>
            </a:xfrm>
            <a:custGeom>
              <a:avLst/>
              <a:gdLst>
                <a:gd name="connsiteX0" fmla="*/ 3810 w 37147"/>
                <a:gd name="connsiteY0" fmla="*/ 0 h 43815"/>
                <a:gd name="connsiteX1" fmla="*/ 15240 w 37147"/>
                <a:gd name="connsiteY1" fmla="*/ 9525 h 43815"/>
                <a:gd name="connsiteX2" fmla="*/ 25717 w 37147"/>
                <a:gd name="connsiteY2" fmla="*/ 20955 h 43815"/>
                <a:gd name="connsiteX3" fmla="*/ 33338 w 37147"/>
                <a:gd name="connsiteY3" fmla="*/ 28575 h 43815"/>
                <a:gd name="connsiteX4" fmla="*/ 37147 w 37147"/>
                <a:gd name="connsiteY4" fmla="*/ 33338 h 43815"/>
                <a:gd name="connsiteX5" fmla="*/ 36195 w 37147"/>
                <a:gd name="connsiteY5" fmla="*/ 39053 h 43815"/>
                <a:gd name="connsiteX6" fmla="*/ 36195 w 37147"/>
                <a:gd name="connsiteY6" fmla="*/ 42863 h 43815"/>
                <a:gd name="connsiteX7" fmla="*/ 32385 w 37147"/>
                <a:gd name="connsiteY7" fmla="*/ 43815 h 43815"/>
                <a:gd name="connsiteX8" fmla="*/ 23813 w 37147"/>
                <a:gd name="connsiteY8" fmla="*/ 36195 h 43815"/>
                <a:gd name="connsiteX9" fmla="*/ 15240 w 37147"/>
                <a:gd name="connsiteY9" fmla="*/ 21908 h 43815"/>
                <a:gd name="connsiteX10" fmla="*/ 8572 w 37147"/>
                <a:gd name="connsiteY10" fmla="*/ 12383 h 43815"/>
                <a:gd name="connsiteX11" fmla="*/ 2857 w 37147"/>
                <a:gd name="connsiteY11" fmla="*/ 4763 h 43815"/>
                <a:gd name="connsiteX12" fmla="*/ 952 w 37147"/>
                <a:gd name="connsiteY12" fmla="*/ 4763 h 43815"/>
                <a:gd name="connsiteX13" fmla="*/ 0 w 37147"/>
                <a:gd name="connsiteY13" fmla="*/ 953 h 43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147" h="43815">
                  <a:moveTo>
                    <a:pt x="3810" y="0"/>
                  </a:moveTo>
                  <a:lnTo>
                    <a:pt x="15240" y="9525"/>
                  </a:lnTo>
                  <a:lnTo>
                    <a:pt x="25717" y="20955"/>
                  </a:lnTo>
                  <a:lnTo>
                    <a:pt x="33338" y="28575"/>
                  </a:lnTo>
                  <a:lnTo>
                    <a:pt x="37147" y="33338"/>
                  </a:lnTo>
                  <a:lnTo>
                    <a:pt x="36195" y="39053"/>
                  </a:lnTo>
                  <a:lnTo>
                    <a:pt x="36195" y="42863"/>
                  </a:lnTo>
                  <a:lnTo>
                    <a:pt x="32385" y="43815"/>
                  </a:lnTo>
                  <a:lnTo>
                    <a:pt x="23813" y="36195"/>
                  </a:lnTo>
                  <a:lnTo>
                    <a:pt x="15240" y="21908"/>
                  </a:lnTo>
                  <a:lnTo>
                    <a:pt x="8572" y="12383"/>
                  </a:lnTo>
                  <a:lnTo>
                    <a:pt x="2857" y="4763"/>
                  </a:lnTo>
                  <a:lnTo>
                    <a:pt x="952" y="4763"/>
                  </a:lnTo>
                  <a:lnTo>
                    <a:pt x="0" y="9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783E4808-D9C3-4C57-A217-F2B0A9FEF6D1}"/>
                </a:ext>
              </a:extLst>
            </p:cNvPr>
            <p:cNvSpPr/>
            <p:nvPr/>
          </p:nvSpPr>
          <p:spPr>
            <a:xfrm>
              <a:off x="6388417" y="3508057"/>
              <a:ext cx="32385" cy="14287"/>
            </a:xfrm>
            <a:custGeom>
              <a:avLst/>
              <a:gdLst>
                <a:gd name="connsiteX0" fmla="*/ 0 w 32385"/>
                <a:gd name="connsiteY0" fmla="*/ 4763 h 14287"/>
                <a:gd name="connsiteX1" fmla="*/ 1905 w 32385"/>
                <a:gd name="connsiteY1" fmla="*/ 1905 h 14287"/>
                <a:gd name="connsiteX2" fmla="*/ 7620 w 32385"/>
                <a:gd name="connsiteY2" fmla="*/ 0 h 14287"/>
                <a:gd name="connsiteX3" fmla="*/ 11430 w 32385"/>
                <a:gd name="connsiteY3" fmla="*/ 1905 h 14287"/>
                <a:gd name="connsiteX4" fmla="*/ 20003 w 32385"/>
                <a:gd name="connsiteY4" fmla="*/ 2857 h 14287"/>
                <a:gd name="connsiteX5" fmla="*/ 25718 w 32385"/>
                <a:gd name="connsiteY5" fmla="*/ 4763 h 14287"/>
                <a:gd name="connsiteX6" fmla="*/ 31433 w 32385"/>
                <a:gd name="connsiteY6" fmla="*/ 9525 h 14287"/>
                <a:gd name="connsiteX7" fmla="*/ 32385 w 32385"/>
                <a:gd name="connsiteY7" fmla="*/ 14288 h 14287"/>
                <a:gd name="connsiteX8" fmla="*/ 28575 w 32385"/>
                <a:gd name="connsiteY8" fmla="*/ 13335 h 14287"/>
                <a:gd name="connsiteX9" fmla="*/ 25718 w 32385"/>
                <a:gd name="connsiteY9" fmla="*/ 11430 h 14287"/>
                <a:gd name="connsiteX10" fmla="*/ 20003 w 32385"/>
                <a:gd name="connsiteY10" fmla="*/ 11430 h 14287"/>
                <a:gd name="connsiteX11" fmla="*/ 15240 w 32385"/>
                <a:gd name="connsiteY11" fmla="*/ 9525 h 14287"/>
                <a:gd name="connsiteX12" fmla="*/ 6668 w 32385"/>
                <a:gd name="connsiteY12" fmla="*/ 7620 h 14287"/>
                <a:gd name="connsiteX13" fmla="*/ 3810 w 32385"/>
                <a:gd name="connsiteY13" fmla="*/ 4763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385" h="14287">
                  <a:moveTo>
                    <a:pt x="0" y="4763"/>
                  </a:moveTo>
                  <a:lnTo>
                    <a:pt x="1905" y="1905"/>
                  </a:lnTo>
                  <a:lnTo>
                    <a:pt x="7620" y="0"/>
                  </a:lnTo>
                  <a:lnTo>
                    <a:pt x="11430" y="1905"/>
                  </a:lnTo>
                  <a:lnTo>
                    <a:pt x="20003" y="2857"/>
                  </a:lnTo>
                  <a:lnTo>
                    <a:pt x="25718" y="4763"/>
                  </a:lnTo>
                  <a:lnTo>
                    <a:pt x="31433" y="9525"/>
                  </a:lnTo>
                  <a:lnTo>
                    <a:pt x="32385" y="14288"/>
                  </a:lnTo>
                  <a:lnTo>
                    <a:pt x="28575" y="13335"/>
                  </a:lnTo>
                  <a:lnTo>
                    <a:pt x="25718" y="11430"/>
                  </a:lnTo>
                  <a:lnTo>
                    <a:pt x="20003" y="11430"/>
                  </a:lnTo>
                  <a:lnTo>
                    <a:pt x="15240" y="9525"/>
                  </a:lnTo>
                  <a:lnTo>
                    <a:pt x="6668" y="7620"/>
                  </a:lnTo>
                  <a:lnTo>
                    <a:pt x="3810" y="47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76AE2B8-D958-4FE3-B0E0-3C7D91051DF6}"/>
                </a:ext>
              </a:extLst>
            </p:cNvPr>
            <p:cNvSpPr/>
            <p:nvPr/>
          </p:nvSpPr>
          <p:spPr>
            <a:xfrm>
              <a:off x="6432232" y="3437572"/>
              <a:ext cx="5714" cy="9525"/>
            </a:xfrm>
            <a:custGeom>
              <a:avLst/>
              <a:gdLst>
                <a:gd name="connsiteX0" fmla="*/ 5715 w 5714"/>
                <a:gd name="connsiteY0" fmla="*/ 952 h 9525"/>
                <a:gd name="connsiteX1" fmla="*/ 4763 w 5714"/>
                <a:gd name="connsiteY1" fmla="*/ 4763 h 9525"/>
                <a:gd name="connsiteX2" fmla="*/ 1905 w 5714"/>
                <a:gd name="connsiteY2" fmla="*/ 9525 h 9525"/>
                <a:gd name="connsiteX3" fmla="*/ 0 w 5714"/>
                <a:gd name="connsiteY3" fmla="*/ 9525 h 9525"/>
                <a:gd name="connsiteX4" fmla="*/ 0 w 5714"/>
                <a:gd name="connsiteY4" fmla="*/ 5715 h 9525"/>
                <a:gd name="connsiteX5" fmla="*/ 1905 w 5714"/>
                <a:gd name="connsiteY5" fmla="*/ 2857 h 9525"/>
                <a:gd name="connsiteX6" fmla="*/ 2857 w 5714"/>
                <a:gd name="connsiteY6" fmla="*/ 952 h 9525"/>
                <a:gd name="connsiteX7" fmla="*/ 4763 w 5714"/>
                <a:gd name="connsiteY7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4" h="9525">
                  <a:moveTo>
                    <a:pt x="5715" y="952"/>
                  </a:moveTo>
                  <a:lnTo>
                    <a:pt x="4763" y="4763"/>
                  </a:lnTo>
                  <a:lnTo>
                    <a:pt x="1905" y="9525"/>
                  </a:lnTo>
                  <a:lnTo>
                    <a:pt x="0" y="9525"/>
                  </a:lnTo>
                  <a:lnTo>
                    <a:pt x="0" y="5715"/>
                  </a:lnTo>
                  <a:lnTo>
                    <a:pt x="1905" y="2857"/>
                  </a:lnTo>
                  <a:lnTo>
                    <a:pt x="2857" y="952"/>
                  </a:lnTo>
                  <a:lnTo>
                    <a:pt x="4763" y="0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252F0DB-5BC0-4AFE-AB47-40043B234034}"/>
                </a:ext>
              </a:extLst>
            </p:cNvPr>
            <p:cNvSpPr/>
            <p:nvPr/>
          </p:nvSpPr>
          <p:spPr>
            <a:xfrm>
              <a:off x="6444614" y="3434714"/>
              <a:ext cx="4762" cy="5715"/>
            </a:xfrm>
            <a:custGeom>
              <a:avLst/>
              <a:gdLst>
                <a:gd name="connsiteX0" fmla="*/ 952 w 4762"/>
                <a:gd name="connsiteY0" fmla="*/ 0 h 5715"/>
                <a:gd name="connsiteX1" fmla="*/ 4763 w 4762"/>
                <a:gd name="connsiteY1" fmla="*/ 0 h 5715"/>
                <a:gd name="connsiteX2" fmla="*/ 4763 w 4762"/>
                <a:gd name="connsiteY2" fmla="*/ 1905 h 5715"/>
                <a:gd name="connsiteX3" fmla="*/ 2858 w 4762"/>
                <a:gd name="connsiteY3" fmla="*/ 4763 h 5715"/>
                <a:gd name="connsiteX4" fmla="*/ 0 w 4762"/>
                <a:gd name="connsiteY4" fmla="*/ 5715 h 5715"/>
                <a:gd name="connsiteX5" fmla="*/ 0 w 4762"/>
                <a:gd name="connsiteY5" fmla="*/ 2858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" h="5715">
                  <a:moveTo>
                    <a:pt x="952" y="0"/>
                  </a:moveTo>
                  <a:lnTo>
                    <a:pt x="4763" y="0"/>
                  </a:lnTo>
                  <a:lnTo>
                    <a:pt x="4763" y="1905"/>
                  </a:lnTo>
                  <a:lnTo>
                    <a:pt x="2858" y="4763"/>
                  </a:lnTo>
                  <a:lnTo>
                    <a:pt x="0" y="5715"/>
                  </a:lnTo>
                  <a:lnTo>
                    <a:pt x="0" y="28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2467640-50E3-48B4-AD4C-4146A1D01559}"/>
                </a:ext>
              </a:extLst>
            </p:cNvPr>
            <p:cNvSpPr/>
            <p:nvPr/>
          </p:nvSpPr>
          <p:spPr>
            <a:xfrm>
              <a:off x="6441757" y="3442335"/>
              <a:ext cx="13334" cy="12382"/>
            </a:xfrm>
            <a:custGeom>
              <a:avLst/>
              <a:gdLst>
                <a:gd name="connsiteX0" fmla="*/ 0 w 13334"/>
                <a:gd name="connsiteY0" fmla="*/ 7620 h 12382"/>
                <a:gd name="connsiteX1" fmla="*/ 1905 w 13334"/>
                <a:gd name="connsiteY1" fmla="*/ 4763 h 12382"/>
                <a:gd name="connsiteX2" fmla="*/ 3810 w 13334"/>
                <a:gd name="connsiteY2" fmla="*/ 3810 h 12382"/>
                <a:gd name="connsiteX3" fmla="*/ 4763 w 13334"/>
                <a:gd name="connsiteY3" fmla="*/ 3810 h 12382"/>
                <a:gd name="connsiteX4" fmla="*/ 6667 w 13334"/>
                <a:gd name="connsiteY4" fmla="*/ 2857 h 12382"/>
                <a:gd name="connsiteX5" fmla="*/ 7620 w 13334"/>
                <a:gd name="connsiteY5" fmla="*/ 0 h 12382"/>
                <a:gd name="connsiteX6" fmla="*/ 10477 w 13334"/>
                <a:gd name="connsiteY6" fmla="*/ 0 h 12382"/>
                <a:gd name="connsiteX7" fmla="*/ 11430 w 13334"/>
                <a:gd name="connsiteY7" fmla="*/ 2857 h 12382"/>
                <a:gd name="connsiteX8" fmla="*/ 13335 w 13334"/>
                <a:gd name="connsiteY8" fmla="*/ 5715 h 12382"/>
                <a:gd name="connsiteX9" fmla="*/ 8572 w 13334"/>
                <a:gd name="connsiteY9" fmla="*/ 12382 h 12382"/>
                <a:gd name="connsiteX10" fmla="*/ 4763 w 13334"/>
                <a:gd name="connsiteY10" fmla="*/ 12382 h 12382"/>
                <a:gd name="connsiteX11" fmla="*/ 4763 w 13334"/>
                <a:gd name="connsiteY11" fmla="*/ 8572 h 12382"/>
                <a:gd name="connsiteX12" fmla="*/ 3810 w 13334"/>
                <a:gd name="connsiteY12" fmla="*/ 7620 h 12382"/>
                <a:gd name="connsiteX13" fmla="*/ 952 w 13334"/>
                <a:gd name="connsiteY13" fmla="*/ 7620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4" h="12382">
                  <a:moveTo>
                    <a:pt x="0" y="7620"/>
                  </a:moveTo>
                  <a:lnTo>
                    <a:pt x="1905" y="4763"/>
                  </a:lnTo>
                  <a:lnTo>
                    <a:pt x="3810" y="3810"/>
                  </a:lnTo>
                  <a:lnTo>
                    <a:pt x="4763" y="3810"/>
                  </a:lnTo>
                  <a:lnTo>
                    <a:pt x="6667" y="2857"/>
                  </a:lnTo>
                  <a:lnTo>
                    <a:pt x="7620" y="0"/>
                  </a:lnTo>
                  <a:lnTo>
                    <a:pt x="10477" y="0"/>
                  </a:lnTo>
                  <a:lnTo>
                    <a:pt x="11430" y="2857"/>
                  </a:lnTo>
                  <a:lnTo>
                    <a:pt x="13335" y="5715"/>
                  </a:lnTo>
                  <a:lnTo>
                    <a:pt x="8572" y="12382"/>
                  </a:lnTo>
                  <a:lnTo>
                    <a:pt x="4763" y="12382"/>
                  </a:lnTo>
                  <a:lnTo>
                    <a:pt x="4763" y="8572"/>
                  </a:lnTo>
                  <a:lnTo>
                    <a:pt x="3810" y="7620"/>
                  </a:lnTo>
                  <a:lnTo>
                    <a:pt x="952" y="762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3D3B2D4-D160-48EC-90C7-09F69E4F0745}"/>
                </a:ext>
              </a:extLst>
            </p:cNvPr>
            <p:cNvSpPr/>
            <p:nvPr/>
          </p:nvSpPr>
          <p:spPr>
            <a:xfrm>
              <a:off x="6404610" y="3456622"/>
              <a:ext cx="32385" cy="44767"/>
            </a:xfrm>
            <a:custGeom>
              <a:avLst/>
              <a:gdLst>
                <a:gd name="connsiteX0" fmla="*/ 26670 w 32385"/>
                <a:gd name="connsiteY0" fmla="*/ 952 h 44767"/>
                <a:gd name="connsiteX1" fmla="*/ 28575 w 32385"/>
                <a:gd name="connsiteY1" fmla="*/ 2857 h 44767"/>
                <a:gd name="connsiteX2" fmla="*/ 30480 w 32385"/>
                <a:gd name="connsiteY2" fmla="*/ 4763 h 44767"/>
                <a:gd name="connsiteX3" fmla="*/ 32385 w 32385"/>
                <a:gd name="connsiteY3" fmla="*/ 7620 h 44767"/>
                <a:gd name="connsiteX4" fmla="*/ 28575 w 32385"/>
                <a:gd name="connsiteY4" fmla="*/ 10477 h 44767"/>
                <a:gd name="connsiteX5" fmla="*/ 27623 w 32385"/>
                <a:gd name="connsiteY5" fmla="*/ 16192 h 44767"/>
                <a:gd name="connsiteX6" fmla="*/ 30480 w 32385"/>
                <a:gd name="connsiteY6" fmla="*/ 19050 h 44767"/>
                <a:gd name="connsiteX7" fmla="*/ 31432 w 32385"/>
                <a:gd name="connsiteY7" fmla="*/ 23813 h 44767"/>
                <a:gd name="connsiteX8" fmla="*/ 27623 w 32385"/>
                <a:gd name="connsiteY8" fmla="*/ 27622 h 44767"/>
                <a:gd name="connsiteX9" fmla="*/ 24765 w 32385"/>
                <a:gd name="connsiteY9" fmla="*/ 36195 h 44767"/>
                <a:gd name="connsiteX10" fmla="*/ 20955 w 32385"/>
                <a:gd name="connsiteY10" fmla="*/ 43815 h 44767"/>
                <a:gd name="connsiteX11" fmla="*/ 19050 w 32385"/>
                <a:gd name="connsiteY11" fmla="*/ 44767 h 44767"/>
                <a:gd name="connsiteX12" fmla="*/ 15240 w 32385"/>
                <a:gd name="connsiteY12" fmla="*/ 44767 h 44767"/>
                <a:gd name="connsiteX13" fmla="*/ 3810 w 32385"/>
                <a:gd name="connsiteY13" fmla="*/ 40005 h 44767"/>
                <a:gd name="connsiteX14" fmla="*/ 952 w 32385"/>
                <a:gd name="connsiteY14" fmla="*/ 32385 h 44767"/>
                <a:gd name="connsiteX15" fmla="*/ 0 w 32385"/>
                <a:gd name="connsiteY15" fmla="*/ 25717 h 44767"/>
                <a:gd name="connsiteX16" fmla="*/ 0 w 32385"/>
                <a:gd name="connsiteY16" fmla="*/ 21907 h 44767"/>
                <a:gd name="connsiteX17" fmla="*/ 1905 w 32385"/>
                <a:gd name="connsiteY17" fmla="*/ 21907 h 44767"/>
                <a:gd name="connsiteX18" fmla="*/ 11430 w 32385"/>
                <a:gd name="connsiteY18" fmla="*/ 15240 h 44767"/>
                <a:gd name="connsiteX19" fmla="*/ 17145 w 32385"/>
                <a:gd name="connsiteY19" fmla="*/ 8572 h 44767"/>
                <a:gd name="connsiteX20" fmla="*/ 20002 w 32385"/>
                <a:gd name="connsiteY20" fmla="*/ 3810 h 44767"/>
                <a:gd name="connsiteX21" fmla="*/ 20955 w 32385"/>
                <a:gd name="connsiteY21" fmla="*/ 0 h 44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385" h="44767">
                  <a:moveTo>
                    <a:pt x="26670" y="952"/>
                  </a:moveTo>
                  <a:lnTo>
                    <a:pt x="28575" y="2857"/>
                  </a:lnTo>
                  <a:lnTo>
                    <a:pt x="30480" y="4763"/>
                  </a:lnTo>
                  <a:lnTo>
                    <a:pt x="32385" y="7620"/>
                  </a:lnTo>
                  <a:lnTo>
                    <a:pt x="28575" y="10477"/>
                  </a:lnTo>
                  <a:lnTo>
                    <a:pt x="27623" y="16192"/>
                  </a:lnTo>
                  <a:lnTo>
                    <a:pt x="30480" y="19050"/>
                  </a:lnTo>
                  <a:lnTo>
                    <a:pt x="31432" y="23813"/>
                  </a:lnTo>
                  <a:lnTo>
                    <a:pt x="27623" y="27622"/>
                  </a:lnTo>
                  <a:lnTo>
                    <a:pt x="24765" y="36195"/>
                  </a:lnTo>
                  <a:lnTo>
                    <a:pt x="20955" y="43815"/>
                  </a:lnTo>
                  <a:lnTo>
                    <a:pt x="19050" y="44767"/>
                  </a:lnTo>
                  <a:lnTo>
                    <a:pt x="15240" y="44767"/>
                  </a:lnTo>
                  <a:lnTo>
                    <a:pt x="3810" y="40005"/>
                  </a:lnTo>
                  <a:lnTo>
                    <a:pt x="952" y="32385"/>
                  </a:lnTo>
                  <a:lnTo>
                    <a:pt x="0" y="25717"/>
                  </a:lnTo>
                  <a:lnTo>
                    <a:pt x="0" y="21907"/>
                  </a:lnTo>
                  <a:lnTo>
                    <a:pt x="1905" y="21907"/>
                  </a:lnTo>
                  <a:lnTo>
                    <a:pt x="11430" y="15240"/>
                  </a:lnTo>
                  <a:lnTo>
                    <a:pt x="17145" y="8572"/>
                  </a:lnTo>
                  <a:lnTo>
                    <a:pt x="20002" y="3810"/>
                  </a:lnTo>
                  <a:lnTo>
                    <a:pt x="2095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4E2E1836-EAA2-44FE-8DF0-58054B4E1C60}"/>
                </a:ext>
              </a:extLst>
            </p:cNvPr>
            <p:cNvSpPr/>
            <p:nvPr/>
          </p:nvSpPr>
          <p:spPr>
            <a:xfrm>
              <a:off x="6465570" y="3474719"/>
              <a:ext cx="4762" cy="11430"/>
            </a:xfrm>
            <a:custGeom>
              <a:avLst/>
              <a:gdLst>
                <a:gd name="connsiteX0" fmla="*/ 3810 w 4762"/>
                <a:gd name="connsiteY0" fmla="*/ 0 h 11430"/>
                <a:gd name="connsiteX1" fmla="*/ 4763 w 4762"/>
                <a:gd name="connsiteY1" fmla="*/ 2857 h 11430"/>
                <a:gd name="connsiteX2" fmla="*/ 4763 w 4762"/>
                <a:gd name="connsiteY2" fmla="*/ 8573 h 11430"/>
                <a:gd name="connsiteX3" fmla="*/ 3810 w 4762"/>
                <a:gd name="connsiteY3" fmla="*/ 11430 h 11430"/>
                <a:gd name="connsiteX4" fmla="*/ 1905 w 4762"/>
                <a:gd name="connsiteY4" fmla="*/ 11430 h 11430"/>
                <a:gd name="connsiteX5" fmla="*/ 0 w 4762"/>
                <a:gd name="connsiteY5" fmla="*/ 8573 h 11430"/>
                <a:gd name="connsiteX6" fmla="*/ 0 w 4762"/>
                <a:gd name="connsiteY6" fmla="*/ 5715 h 11430"/>
                <a:gd name="connsiteX7" fmla="*/ 952 w 4762"/>
                <a:gd name="connsiteY7" fmla="*/ 1905 h 11430"/>
                <a:gd name="connsiteX8" fmla="*/ 2857 w 4762"/>
                <a:gd name="connsiteY8" fmla="*/ 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62" h="11430">
                  <a:moveTo>
                    <a:pt x="3810" y="0"/>
                  </a:moveTo>
                  <a:lnTo>
                    <a:pt x="4763" y="2857"/>
                  </a:lnTo>
                  <a:lnTo>
                    <a:pt x="4763" y="8573"/>
                  </a:lnTo>
                  <a:lnTo>
                    <a:pt x="3810" y="11430"/>
                  </a:lnTo>
                  <a:lnTo>
                    <a:pt x="1905" y="11430"/>
                  </a:lnTo>
                  <a:lnTo>
                    <a:pt x="0" y="8573"/>
                  </a:lnTo>
                  <a:lnTo>
                    <a:pt x="0" y="5715"/>
                  </a:lnTo>
                  <a:lnTo>
                    <a:pt x="952" y="1905"/>
                  </a:lnTo>
                  <a:lnTo>
                    <a:pt x="285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668E3C8-6DC3-4FD1-BFA5-84E04CB67372}"/>
                </a:ext>
              </a:extLst>
            </p:cNvPr>
            <p:cNvSpPr/>
            <p:nvPr/>
          </p:nvSpPr>
          <p:spPr>
            <a:xfrm>
              <a:off x="6436995" y="3479482"/>
              <a:ext cx="20954" cy="28575"/>
            </a:xfrm>
            <a:custGeom>
              <a:avLst/>
              <a:gdLst>
                <a:gd name="connsiteX0" fmla="*/ 19050 w 20954"/>
                <a:gd name="connsiteY0" fmla="*/ 0 h 28575"/>
                <a:gd name="connsiteX1" fmla="*/ 20955 w 20954"/>
                <a:gd name="connsiteY1" fmla="*/ 0 h 28575"/>
                <a:gd name="connsiteX2" fmla="*/ 20955 w 20954"/>
                <a:gd name="connsiteY2" fmla="*/ 953 h 28575"/>
                <a:gd name="connsiteX3" fmla="*/ 19050 w 20954"/>
                <a:gd name="connsiteY3" fmla="*/ 2857 h 28575"/>
                <a:gd name="connsiteX4" fmla="*/ 15240 w 20954"/>
                <a:gd name="connsiteY4" fmla="*/ 3810 h 28575"/>
                <a:gd name="connsiteX5" fmla="*/ 6667 w 20954"/>
                <a:gd name="connsiteY5" fmla="*/ 3810 h 28575"/>
                <a:gd name="connsiteX6" fmla="*/ 5715 w 20954"/>
                <a:gd name="connsiteY6" fmla="*/ 11430 h 28575"/>
                <a:gd name="connsiteX7" fmla="*/ 9525 w 20954"/>
                <a:gd name="connsiteY7" fmla="*/ 8573 h 28575"/>
                <a:gd name="connsiteX8" fmla="*/ 13335 w 20954"/>
                <a:gd name="connsiteY8" fmla="*/ 6668 h 28575"/>
                <a:gd name="connsiteX9" fmla="*/ 16192 w 20954"/>
                <a:gd name="connsiteY9" fmla="*/ 7620 h 28575"/>
                <a:gd name="connsiteX10" fmla="*/ 16192 w 20954"/>
                <a:gd name="connsiteY10" fmla="*/ 9525 h 28575"/>
                <a:gd name="connsiteX11" fmla="*/ 14288 w 20954"/>
                <a:gd name="connsiteY11" fmla="*/ 9525 h 28575"/>
                <a:gd name="connsiteX12" fmla="*/ 9525 w 20954"/>
                <a:gd name="connsiteY12" fmla="*/ 12382 h 28575"/>
                <a:gd name="connsiteX13" fmla="*/ 9525 w 20954"/>
                <a:gd name="connsiteY13" fmla="*/ 15240 h 28575"/>
                <a:gd name="connsiteX14" fmla="*/ 12382 w 20954"/>
                <a:gd name="connsiteY14" fmla="*/ 20003 h 28575"/>
                <a:gd name="connsiteX15" fmla="*/ 13335 w 20954"/>
                <a:gd name="connsiteY15" fmla="*/ 22860 h 28575"/>
                <a:gd name="connsiteX16" fmla="*/ 11430 w 20954"/>
                <a:gd name="connsiteY16" fmla="*/ 25718 h 28575"/>
                <a:gd name="connsiteX17" fmla="*/ 7620 w 20954"/>
                <a:gd name="connsiteY17" fmla="*/ 26670 h 28575"/>
                <a:gd name="connsiteX18" fmla="*/ 7620 w 20954"/>
                <a:gd name="connsiteY18" fmla="*/ 23813 h 28575"/>
                <a:gd name="connsiteX19" fmla="*/ 6667 w 20954"/>
                <a:gd name="connsiteY19" fmla="*/ 17145 h 28575"/>
                <a:gd name="connsiteX20" fmla="*/ 4763 w 20954"/>
                <a:gd name="connsiteY20" fmla="*/ 17145 h 28575"/>
                <a:gd name="connsiteX21" fmla="*/ 3810 w 20954"/>
                <a:gd name="connsiteY21" fmla="*/ 20955 h 28575"/>
                <a:gd name="connsiteX22" fmla="*/ 4763 w 20954"/>
                <a:gd name="connsiteY22" fmla="*/ 27623 h 28575"/>
                <a:gd name="connsiteX23" fmla="*/ 4763 w 20954"/>
                <a:gd name="connsiteY23" fmla="*/ 28575 h 28575"/>
                <a:gd name="connsiteX24" fmla="*/ 952 w 20954"/>
                <a:gd name="connsiteY24" fmla="*/ 28575 h 28575"/>
                <a:gd name="connsiteX25" fmla="*/ 952 w 20954"/>
                <a:gd name="connsiteY25" fmla="*/ 22860 h 28575"/>
                <a:gd name="connsiteX26" fmla="*/ 0 w 20954"/>
                <a:gd name="connsiteY26" fmla="*/ 19050 h 28575"/>
                <a:gd name="connsiteX27" fmla="*/ 0 w 20954"/>
                <a:gd name="connsiteY27" fmla="*/ 12382 h 28575"/>
                <a:gd name="connsiteX28" fmla="*/ 2857 w 20954"/>
                <a:gd name="connsiteY28" fmla="*/ 2857 h 28575"/>
                <a:gd name="connsiteX29" fmla="*/ 4763 w 20954"/>
                <a:gd name="connsiteY29" fmla="*/ 0 h 28575"/>
                <a:gd name="connsiteX30" fmla="*/ 9525 w 20954"/>
                <a:gd name="connsiteY30" fmla="*/ 0 h 28575"/>
                <a:gd name="connsiteX31" fmla="*/ 10477 w 20954"/>
                <a:gd name="connsiteY31" fmla="*/ 1905 h 28575"/>
                <a:gd name="connsiteX32" fmla="*/ 15240 w 20954"/>
                <a:gd name="connsiteY32" fmla="*/ 190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954" h="28575">
                  <a:moveTo>
                    <a:pt x="19050" y="0"/>
                  </a:moveTo>
                  <a:lnTo>
                    <a:pt x="20955" y="0"/>
                  </a:lnTo>
                  <a:lnTo>
                    <a:pt x="20955" y="953"/>
                  </a:lnTo>
                  <a:lnTo>
                    <a:pt x="19050" y="2857"/>
                  </a:lnTo>
                  <a:lnTo>
                    <a:pt x="15240" y="3810"/>
                  </a:lnTo>
                  <a:lnTo>
                    <a:pt x="6667" y="3810"/>
                  </a:lnTo>
                  <a:lnTo>
                    <a:pt x="5715" y="11430"/>
                  </a:lnTo>
                  <a:lnTo>
                    <a:pt x="9525" y="8573"/>
                  </a:lnTo>
                  <a:lnTo>
                    <a:pt x="13335" y="6668"/>
                  </a:lnTo>
                  <a:lnTo>
                    <a:pt x="16192" y="7620"/>
                  </a:lnTo>
                  <a:lnTo>
                    <a:pt x="16192" y="9525"/>
                  </a:lnTo>
                  <a:lnTo>
                    <a:pt x="14288" y="9525"/>
                  </a:lnTo>
                  <a:lnTo>
                    <a:pt x="9525" y="12382"/>
                  </a:lnTo>
                  <a:lnTo>
                    <a:pt x="9525" y="15240"/>
                  </a:lnTo>
                  <a:lnTo>
                    <a:pt x="12382" y="20003"/>
                  </a:lnTo>
                  <a:lnTo>
                    <a:pt x="13335" y="22860"/>
                  </a:lnTo>
                  <a:lnTo>
                    <a:pt x="11430" y="25718"/>
                  </a:lnTo>
                  <a:lnTo>
                    <a:pt x="7620" y="26670"/>
                  </a:lnTo>
                  <a:lnTo>
                    <a:pt x="7620" y="23813"/>
                  </a:lnTo>
                  <a:lnTo>
                    <a:pt x="6667" y="17145"/>
                  </a:lnTo>
                  <a:lnTo>
                    <a:pt x="4763" y="17145"/>
                  </a:lnTo>
                  <a:lnTo>
                    <a:pt x="3810" y="20955"/>
                  </a:lnTo>
                  <a:lnTo>
                    <a:pt x="4763" y="27623"/>
                  </a:lnTo>
                  <a:lnTo>
                    <a:pt x="4763" y="28575"/>
                  </a:lnTo>
                  <a:lnTo>
                    <a:pt x="952" y="28575"/>
                  </a:lnTo>
                  <a:lnTo>
                    <a:pt x="952" y="22860"/>
                  </a:lnTo>
                  <a:lnTo>
                    <a:pt x="0" y="19050"/>
                  </a:lnTo>
                  <a:lnTo>
                    <a:pt x="0" y="12382"/>
                  </a:lnTo>
                  <a:lnTo>
                    <a:pt x="2857" y="2857"/>
                  </a:lnTo>
                  <a:lnTo>
                    <a:pt x="4763" y="0"/>
                  </a:lnTo>
                  <a:lnTo>
                    <a:pt x="9525" y="0"/>
                  </a:lnTo>
                  <a:lnTo>
                    <a:pt x="10477" y="1905"/>
                  </a:lnTo>
                  <a:lnTo>
                    <a:pt x="1524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FF743A0-FE48-462C-AC92-8AC7E93219E0}"/>
                </a:ext>
              </a:extLst>
            </p:cNvPr>
            <p:cNvSpPr/>
            <p:nvPr/>
          </p:nvSpPr>
          <p:spPr>
            <a:xfrm>
              <a:off x="6424612" y="3518535"/>
              <a:ext cx="9525" cy="3809"/>
            </a:xfrm>
            <a:custGeom>
              <a:avLst/>
              <a:gdLst>
                <a:gd name="connsiteX0" fmla="*/ 0 w 9525"/>
                <a:gd name="connsiteY0" fmla="*/ 3810 h 3809"/>
                <a:gd name="connsiteX1" fmla="*/ 1905 w 9525"/>
                <a:gd name="connsiteY1" fmla="*/ 1905 h 3809"/>
                <a:gd name="connsiteX2" fmla="*/ 3810 w 9525"/>
                <a:gd name="connsiteY2" fmla="*/ 0 h 3809"/>
                <a:gd name="connsiteX3" fmla="*/ 9525 w 9525"/>
                <a:gd name="connsiteY3" fmla="*/ 0 h 3809"/>
                <a:gd name="connsiteX4" fmla="*/ 9525 w 9525"/>
                <a:gd name="connsiteY4" fmla="*/ 1905 h 3809"/>
                <a:gd name="connsiteX5" fmla="*/ 7620 w 9525"/>
                <a:gd name="connsiteY5" fmla="*/ 3810 h 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" h="3809">
                  <a:moveTo>
                    <a:pt x="0" y="3810"/>
                  </a:moveTo>
                  <a:lnTo>
                    <a:pt x="1905" y="1905"/>
                  </a:lnTo>
                  <a:lnTo>
                    <a:pt x="3810" y="0"/>
                  </a:lnTo>
                  <a:lnTo>
                    <a:pt x="9525" y="0"/>
                  </a:lnTo>
                  <a:lnTo>
                    <a:pt x="9525" y="1905"/>
                  </a:lnTo>
                  <a:lnTo>
                    <a:pt x="7620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26739316-C6BA-4CCC-BD9D-33F49724D808}"/>
                </a:ext>
              </a:extLst>
            </p:cNvPr>
            <p:cNvSpPr/>
            <p:nvPr/>
          </p:nvSpPr>
          <p:spPr>
            <a:xfrm>
              <a:off x="6437947" y="3517582"/>
              <a:ext cx="11429" cy="5715"/>
            </a:xfrm>
            <a:custGeom>
              <a:avLst/>
              <a:gdLst>
                <a:gd name="connsiteX0" fmla="*/ 0 w 11429"/>
                <a:gd name="connsiteY0" fmla="*/ 2857 h 5715"/>
                <a:gd name="connsiteX1" fmla="*/ 0 w 11429"/>
                <a:gd name="connsiteY1" fmla="*/ 4763 h 5715"/>
                <a:gd name="connsiteX2" fmla="*/ 1905 w 11429"/>
                <a:gd name="connsiteY2" fmla="*/ 5715 h 5715"/>
                <a:gd name="connsiteX3" fmla="*/ 6667 w 11429"/>
                <a:gd name="connsiteY3" fmla="*/ 5715 h 5715"/>
                <a:gd name="connsiteX4" fmla="*/ 11430 w 11429"/>
                <a:gd name="connsiteY4" fmla="*/ 2857 h 5715"/>
                <a:gd name="connsiteX5" fmla="*/ 11430 w 11429"/>
                <a:gd name="connsiteY5" fmla="*/ 0 h 5715"/>
                <a:gd name="connsiteX6" fmla="*/ 9525 w 11429"/>
                <a:gd name="connsiteY6" fmla="*/ 0 h 5715"/>
                <a:gd name="connsiteX7" fmla="*/ 6667 w 11429"/>
                <a:gd name="connsiteY7" fmla="*/ 1905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29" h="5715">
                  <a:moveTo>
                    <a:pt x="0" y="2857"/>
                  </a:moveTo>
                  <a:lnTo>
                    <a:pt x="0" y="4763"/>
                  </a:lnTo>
                  <a:lnTo>
                    <a:pt x="1905" y="5715"/>
                  </a:lnTo>
                  <a:lnTo>
                    <a:pt x="6667" y="5715"/>
                  </a:lnTo>
                  <a:lnTo>
                    <a:pt x="11430" y="2857"/>
                  </a:lnTo>
                  <a:lnTo>
                    <a:pt x="11430" y="0"/>
                  </a:lnTo>
                  <a:lnTo>
                    <a:pt x="9525" y="0"/>
                  </a:lnTo>
                  <a:lnTo>
                    <a:pt x="6667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CBA7D7C-3A72-4657-9883-EF8DAE4BAB2A}"/>
                </a:ext>
              </a:extLst>
            </p:cNvPr>
            <p:cNvSpPr/>
            <p:nvPr/>
          </p:nvSpPr>
          <p:spPr>
            <a:xfrm>
              <a:off x="6450329" y="3520439"/>
              <a:ext cx="12382" cy="7620"/>
            </a:xfrm>
            <a:custGeom>
              <a:avLst/>
              <a:gdLst>
                <a:gd name="connsiteX0" fmla="*/ 0 w 12382"/>
                <a:gd name="connsiteY0" fmla="*/ 4763 h 7620"/>
                <a:gd name="connsiteX1" fmla="*/ 0 w 12382"/>
                <a:gd name="connsiteY1" fmla="*/ 7620 h 7620"/>
                <a:gd name="connsiteX2" fmla="*/ 2858 w 12382"/>
                <a:gd name="connsiteY2" fmla="*/ 7620 h 7620"/>
                <a:gd name="connsiteX3" fmla="*/ 5715 w 12382"/>
                <a:gd name="connsiteY3" fmla="*/ 5715 h 7620"/>
                <a:gd name="connsiteX4" fmla="*/ 11430 w 12382"/>
                <a:gd name="connsiteY4" fmla="*/ 2858 h 7620"/>
                <a:gd name="connsiteX5" fmla="*/ 12383 w 12382"/>
                <a:gd name="connsiteY5" fmla="*/ 1905 h 7620"/>
                <a:gd name="connsiteX6" fmla="*/ 12383 w 12382"/>
                <a:gd name="connsiteY6" fmla="*/ 0 h 7620"/>
                <a:gd name="connsiteX7" fmla="*/ 10478 w 12382"/>
                <a:gd name="connsiteY7" fmla="*/ 0 h 7620"/>
                <a:gd name="connsiteX8" fmla="*/ 5715 w 12382"/>
                <a:gd name="connsiteY8" fmla="*/ 1905 h 7620"/>
                <a:gd name="connsiteX9" fmla="*/ 2858 w 12382"/>
                <a:gd name="connsiteY9" fmla="*/ 1905 h 7620"/>
                <a:gd name="connsiteX10" fmla="*/ 2858 w 12382"/>
                <a:gd name="connsiteY10" fmla="*/ 3810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82" h="7620">
                  <a:moveTo>
                    <a:pt x="0" y="4763"/>
                  </a:moveTo>
                  <a:lnTo>
                    <a:pt x="0" y="7620"/>
                  </a:lnTo>
                  <a:lnTo>
                    <a:pt x="2858" y="7620"/>
                  </a:lnTo>
                  <a:lnTo>
                    <a:pt x="5715" y="5715"/>
                  </a:lnTo>
                  <a:lnTo>
                    <a:pt x="11430" y="2858"/>
                  </a:lnTo>
                  <a:lnTo>
                    <a:pt x="12383" y="1905"/>
                  </a:lnTo>
                  <a:lnTo>
                    <a:pt x="12383" y="0"/>
                  </a:lnTo>
                  <a:lnTo>
                    <a:pt x="10478" y="0"/>
                  </a:lnTo>
                  <a:lnTo>
                    <a:pt x="5715" y="1905"/>
                  </a:lnTo>
                  <a:lnTo>
                    <a:pt x="2858" y="1905"/>
                  </a:lnTo>
                  <a:lnTo>
                    <a:pt x="2858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6992EF4E-2736-4725-9CAE-8F3728D1C3BF}"/>
                </a:ext>
              </a:extLst>
            </p:cNvPr>
            <p:cNvSpPr/>
            <p:nvPr/>
          </p:nvSpPr>
          <p:spPr>
            <a:xfrm>
              <a:off x="6468427" y="3496627"/>
              <a:ext cx="7620" cy="3810"/>
            </a:xfrm>
            <a:custGeom>
              <a:avLst/>
              <a:gdLst>
                <a:gd name="connsiteX0" fmla="*/ 0 w 7620"/>
                <a:gd name="connsiteY0" fmla="*/ 0 h 3810"/>
                <a:gd name="connsiteX1" fmla="*/ 3810 w 7620"/>
                <a:gd name="connsiteY1" fmla="*/ 0 h 3810"/>
                <a:gd name="connsiteX2" fmla="*/ 7620 w 7620"/>
                <a:gd name="connsiteY2" fmla="*/ 1905 h 3810"/>
                <a:gd name="connsiteX3" fmla="*/ 7620 w 7620"/>
                <a:gd name="connsiteY3" fmla="*/ 3810 h 3810"/>
                <a:gd name="connsiteX4" fmla="*/ 2858 w 7620"/>
                <a:gd name="connsiteY4" fmla="*/ 3810 h 3810"/>
                <a:gd name="connsiteX5" fmla="*/ 0 w 7620"/>
                <a:gd name="connsiteY5" fmla="*/ 2858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" h="3810">
                  <a:moveTo>
                    <a:pt x="0" y="0"/>
                  </a:moveTo>
                  <a:lnTo>
                    <a:pt x="3810" y="0"/>
                  </a:lnTo>
                  <a:lnTo>
                    <a:pt x="7620" y="1905"/>
                  </a:lnTo>
                  <a:lnTo>
                    <a:pt x="7620" y="3810"/>
                  </a:lnTo>
                  <a:lnTo>
                    <a:pt x="2858" y="3810"/>
                  </a:lnTo>
                  <a:lnTo>
                    <a:pt x="0" y="285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C7F4BB5-CEB7-4EB6-9F6A-DDBF10B72F43}"/>
                </a:ext>
              </a:extLst>
            </p:cNvPr>
            <p:cNvSpPr/>
            <p:nvPr/>
          </p:nvSpPr>
          <p:spPr>
            <a:xfrm>
              <a:off x="6477952" y="3488055"/>
              <a:ext cx="60960" cy="42862"/>
            </a:xfrm>
            <a:custGeom>
              <a:avLst/>
              <a:gdLst>
                <a:gd name="connsiteX0" fmla="*/ 0 w 60960"/>
                <a:gd name="connsiteY0" fmla="*/ 1905 h 42862"/>
                <a:gd name="connsiteX1" fmla="*/ 3810 w 60960"/>
                <a:gd name="connsiteY1" fmla="*/ 10477 h 42862"/>
                <a:gd name="connsiteX2" fmla="*/ 8573 w 60960"/>
                <a:gd name="connsiteY2" fmla="*/ 11430 h 42862"/>
                <a:gd name="connsiteX3" fmla="*/ 15240 w 60960"/>
                <a:gd name="connsiteY3" fmla="*/ 16193 h 42862"/>
                <a:gd name="connsiteX4" fmla="*/ 20955 w 60960"/>
                <a:gd name="connsiteY4" fmla="*/ 20002 h 42862"/>
                <a:gd name="connsiteX5" fmla="*/ 21908 w 60960"/>
                <a:gd name="connsiteY5" fmla="*/ 22860 h 42862"/>
                <a:gd name="connsiteX6" fmla="*/ 21908 w 60960"/>
                <a:gd name="connsiteY6" fmla="*/ 29527 h 42862"/>
                <a:gd name="connsiteX7" fmla="*/ 27623 w 60960"/>
                <a:gd name="connsiteY7" fmla="*/ 34290 h 42862"/>
                <a:gd name="connsiteX8" fmla="*/ 33338 w 60960"/>
                <a:gd name="connsiteY8" fmla="*/ 35243 h 42862"/>
                <a:gd name="connsiteX9" fmla="*/ 37148 w 60960"/>
                <a:gd name="connsiteY9" fmla="*/ 37147 h 42862"/>
                <a:gd name="connsiteX10" fmla="*/ 41910 w 60960"/>
                <a:gd name="connsiteY10" fmla="*/ 31432 h 42862"/>
                <a:gd name="connsiteX11" fmla="*/ 43815 w 60960"/>
                <a:gd name="connsiteY11" fmla="*/ 30480 h 42862"/>
                <a:gd name="connsiteX12" fmla="*/ 48577 w 60960"/>
                <a:gd name="connsiteY12" fmla="*/ 36195 h 42862"/>
                <a:gd name="connsiteX13" fmla="*/ 50483 w 60960"/>
                <a:gd name="connsiteY13" fmla="*/ 40957 h 42862"/>
                <a:gd name="connsiteX14" fmla="*/ 55245 w 60960"/>
                <a:gd name="connsiteY14" fmla="*/ 42863 h 42862"/>
                <a:gd name="connsiteX15" fmla="*/ 60008 w 60960"/>
                <a:gd name="connsiteY15" fmla="*/ 42863 h 42862"/>
                <a:gd name="connsiteX16" fmla="*/ 60960 w 60960"/>
                <a:gd name="connsiteY16" fmla="*/ 40005 h 42862"/>
                <a:gd name="connsiteX17" fmla="*/ 56198 w 60960"/>
                <a:gd name="connsiteY17" fmla="*/ 33338 h 42862"/>
                <a:gd name="connsiteX18" fmla="*/ 53340 w 60960"/>
                <a:gd name="connsiteY18" fmla="*/ 29527 h 42862"/>
                <a:gd name="connsiteX19" fmla="*/ 52388 w 60960"/>
                <a:gd name="connsiteY19" fmla="*/ 26670 h 42862"/>
                <a:gd name="connsiteX20" fmla="*/ 53340 w 60960"/>
                <a:gd name="connsiteY20" fmla="*/ 23813 h 42862"/>
                <a:gd name="connsiteX21" fmla="*/ 45720 w 60960"/>
                <a:gd name="connsiteY21" fmla="*/ 17145 h 42862"/>
                <a:gd name="connsiteX22" fmla="*/ 38100 w 60960"/>
                <a:gd name="connsiteY22" fmla="*/ 12382 h 42862"/>
                <a:gd name="connsiteX23" fmla="*/ 33338 w 60960"/>
                <a:gd name="connsiteY23" fmla="*/ 10477 h 42862"/>
                <a:gd name="connsiteX24" fmla="*/ 27623 w 60960"/>
                <a:gd name="connsiteY24" fmla="*/ 7620 h 42862"/>
                <a:gd name="connsiteX25" fmla="*/ 20002 w 60960"/>
                <a:gd name="connsiteY25" fmla="*/ 5715 h 42862"/>
                <a:gd name="connsiteX26" fmla="*/ 15240 w 60960"/>
                <a:gd name="connsiteY26" fmla="*/ 9525 h 42862"/>
                <a:gd name="connsiteX27" fmla="*/ 11430 w 60960"/>
                <a:gd name="connsiteY27" fmla="*/ 9525 h 42862"/>
                <a:gd name="connsiteX28" fmla="*/ 11430 w 60960"/>
                <a:gd name="connsiteY28" fmla="*/ 6668 h 42862"/>
                <a:gd name="connsiteX29" fmla="*/ 11430 w 60960"/>
                <a:gd name="connsiteY29" fmla="*/ 3810 h 42862"/>
                <a:gd name="connsiteX30" fmla="*/ 10477 w 60960"/>
                <a:gd name="connsiteY30" fmla="*/ 1905 h 42862"/>
                <a:gd name="connsiteX31" fmla="*/ 6668 w 60960"/>
                <a:gd name="connsiteY31" fmla="*/ 952 h 42862"/>
                <a:gd name="connsiteX32" fmla="*/ 4763 w 60960"/>
                <a:gd name="connsiteY32" fmla="*/ 0 h 42862"/>
                <a:gd name="connsiteX33" fmla="*/ 2858 w 60960"/>
                <a:gd name="connsiteY33" fmla="*/ 0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960" h="42862">
                  <a:moveTo>
                    <a:pt x="0" y="1905"/>
                  </a:moveTo>
                  <a:lnTo>
                    <a:pt x="3810" y="10477"/>
                  </a:lnTo>
                  <a:lnTo>
                    <a:pt x="8573" y="11430"/>
                  </a:lnTo>
                  <a:lnTo>
                    <a:pt x="15240" y="16193"/>
                  </a:lnTo>
                  <a:lnTo>
                    <a:pt x="20955" y="20002"/>
                  </a:lnTo>
                  <a:lnTo>
                    <a:pt x="21908" y="22860"/>
                  </a:lnTo>
                  <a:lnTo>
                    <a:pt x="21908" y="29527"/>
                  </a:lnTo>
                  <a:lnTo>
                    <a:pt x="27623" y="34290"/>
                  </a:lnTo>
                  <a:lnTo>
                    <a:pt x="33338" y="35243"/>
                  </a:lnTo>
                  <a:lnTo>
                    <a:pt x="37148" y="37147"/>
                  </a:lnTo>
                  <a:lnTo>
                    <a:pt x="41910" y="31432"/>
                  </a:lnTo>
                  <a:lnTo>
                    <a:pt x="43815" y="30480"/>
                  </a:lnTo>
                  <a:lnTo>
                    <a:pt x="48577" y="36195"/>
                  </a:lnTo>
                  <a:lnTo>
                    <a:pt x="50483" y="40957"/>
                  </a:lnTo>
                  <a:lnTo>
                    <a:pt x="55245" y="42863"/>
                  </a:lnTo>
                  <a:lnTo>
                    <a:pt x="60008" y="42863"/>
                  </a:lnTo>
                  <a:lnTo>
                    <a:pt x="60960" y="40005"/>
                  </a:lnTo>
                  <a:lnTo>
                    <a:pt x="56198" y="33338"/>
                  </a:lnTo>
                  <a:lnTo>
                    <a:pt x="53340" y="29527"/>
                  </a:lnTo>
                  <a:lnTo>
                    <a:pt x="52388" y="26670"/>
                  </a:lnTo>
                  <a:lnTo>
                    <a:pt x="53340" y="23813"/>
                  </a:lnTo>
                  <a:lnTo>
                    <a:pt x="45720" y="17145"/>
                  </a:lnTo>
                  <a:lnTo>
                    <a:pt x="38100" y="12382"/>
                  </a:lnTo>
                  <a:lnTo>
                    <a:pt x="33338" y="10477"/>
                  </a:lnTo>
                  <a:lnTo>
                    <a:pt x="27623" y="7620"/>
                  </a:lnTo>
                  <a:lnTo>
                    <a:pt x="20002" y="5715"/>
                  </a:lnTo>
                  <a:lnTo>
                    <a:pt x="15240" y="9525"/>
                  </a:lnTo>
                  <a:lnTo>
                    <a:pt x="11430" y="9525"/>
                  </a:lnTo>
                  <a:lnTo>
                    <a:pt x="11430" y="6668"/>
                  </a:lnTo>
                  <a:lnTo>
                    <a:pt x="11430" y="3810"/>
                  </a:lnTo>
                  <a:lnTo>
                    <a:pt x="10477" y="1905"/>
                  </a:lnTo>
                  <a:lnTo>
                    <a:pt x="6668" y="952"/>
                  </a:lnTo>
                  <a:lnTo>
                    <a:pt x="4763" y="0"/>
                  </a:lnTo>
                  <a:lnTo>
                    <a:pt x="285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D79F9C7-8A4C-424B-8FB8-BDAA1C643B1D}"/>
                </a:ext>
              </a:extLst>
            </p:cNvPr>
            <p:cNvSpPr/>
            <p:nvPr/>
          </p:nvSpPr>
          <p:spPr>
            <a:xfrm>
              <a:off x="6534150" y="3502342"/>
              <a:ext cx="12382" cy="10477"/>
            </a:xfrm>
            <a:custGeom>
              <a:avLst/>
              <a:gdLst>
                <a:gd name="connsiteX0" fmla="*/ 0 w 12382"/>
                <a:gd name="connsiteY0" fmla="*/ 10477 h 10477"/>
                <a:gd name="connsiteX1" fmla="*/ 9525 w 12382"/>
                <a:gd name="connsiteY1" fmla="*/ 10477 h 10477"/>
                <a:gd name="connsiteX2" fmla="*/ 12383 w 12382"/>
                <a:gd name="connsiteY2" fmla="*/ 6668 h 10477"/>
                <a:gd name="connsiteX3" fmla="*/ 12383 w 12382"/>
                <a:gd name="connsiteY3" fmla="*/ 0 h 10477"/>
                <a:gd name="connsiteX4" fmla="*/ 10477 w 12382"/>
                <a:gd name="connsiteY4" fmla="*/ 952 h 10477"/>
                <a:gd name="connsiteX5" fmla="*/ 9525 w 12382"/>
                <a:gd name="connsiteY5" fmla="*/ 2857 h 10477"/>
                <a:gd name="connsiteX6" fmla="*/ 8573 w 12382"/>
                <a:gd name="connsiteY6" fmla="*/ 5715 h 10477"/>
                <a:gd name="connsiteX7" fmla="*/ 8573 w 12382"/>
                <a:gd name="connsiteY7" fmla="*/ 6668 h 10477"/>
                <a:gd name="connsiteX8" fmla="*/ 7620 w 12382"/>
                <a:gd name="connsiteY8" fmla="*/ 6668 h 10477"/>
                <a:gd name="connsiteX9" fmla="*/ 5715 w 12382"/>
                <a:gd name="connsiteY9" fmla="*/ 5715 h 10477"/>
                <a:gd name="connsiteX10" fmla="*/ 3810 w 12382"/>
                <a:gd name="connsiteY10" fmla="*/ 5715 h 10477"/>
                <a:gd name="connsiteX11" fmla="*/ 3810 w 12382"/>
                <a:gd name="connsiteY11" fmla="*/ 6668 h 10477"/>
                <a:gd name="connsiteX12" fmla="*/ 1905 w 12382"/>
                <a:gd name="connsiteY12" fmla="*/ 7620 h 10477"/>
                <a:gd name="connsiteX13" fmla="*/ 0 w 12382"/>
                <a:gd name="connsiteY13" fmla="*/ 8572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" h="10477">
                  <a:moveTo>
                    <a:pt x="0" y="10477"/>
                  </a:moveTo>
                  <a:lnTo>
                    <a:pt x="9525" y="10477"/>
                  </a:lnTo>
                  <a:lnTo>
                    <a:pt x="12383" y="6668"/>
                  </a:lnTo>
                  <a:lnTo>
                    <a:pt x="12383" y="0"/>
                  </a:lnTo>
                  <a:lnTo>
                    <a:pt x="10477" y="952"/>
                  </a:lnTo>
                  <a:lnTo>
                    <a:pt x="9525" y="2857"/>
                  </a:lnTo>
                  <a:lnTo>
                    <a:pt x="8573" y="5715"/>
                  </a:lnTo>
                  <a:lnTo>
                    <a:pt x="8573" y="6668"/>
                  </a:lnTo>
                  <a:lnTo>
                    <a:pt x="7620" y="6668"/>
                  </a:lnTo>
                  <a:lnTo>
                    <a:pt x="5715" y="5715"/>
                  </a:lnTo>
                  <a:lnTo>
                    <a:pt x="3810" y="5715"/>
                  </a:lnTo>
                  <a:lnTo>
                    <a:pt x="3810" y="6668"/>
                  </a:lnTo>
                  <a:lnTo>
                    <a:pt x="1905" y="7620"/>
                  </a:lnTo>
                  <a:lnTo>
                    <a:pt x="0" y="85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8162E9B-8B2F-44FD-A50D-9801CDF01C7F}"/>
                </a:ext>
              </a:extLst>
            </p:cNvPr>
            <p:cNvSpPr/>
            <p:nvPr/>
          </p:nvSpPr>
          <p:spPr>
            <a:xfrm>
              <a:off x="6396989" y="3530917"/>
              <a:ext cx="130492" cy="124777"/>
            </a:xfrm>
            <a:custGeom>
              <a:avLst/>
              <a:gdLst>
                <a:gd name="connsiteX0" fmla="*/ 115252 w 130492"/>
                <a:gd name="connsiteY0" fmla="*/ 0 h 124777"/>
                <a:gd name="connsiteX1" fmla="*/ 117158 w 130492"/>
                <a:gd name="connsiteY1" fmla="*/ 0 h 124777"/>
                <a:gd name="connsiteX2" fmla="*/ 118110 w 130492"/>
                <a:gd name="connsiteY2" fmla="*/ 17145 h 124777"/>
                <a:gd name="connsiteX3" fmla="*/ 119063 w 130492"/>
                <a:gd name="connsiteY3" fmla="*/ 32385 h 124777"/>
                <a:gd name="connsiteX4" fmla="*/ 126683 w 130492"/>
                <a:gd name="connsiteY4" fmla="*/ 49530 h 124777"/>
                <a:gd name="connsiteX5" fmla="*/ 130493 w 130492"/>
                <a:gd name="connsiteY5" fmla="*/ 70485 h 124777"/>
                <a:gd name="connsiteX6" fmla="*/ 124777 w 130492"/>
                <a:gd name="connsiteY6" fmla="*/ 82868 h 124777"/>
                <a:gd name="connsiteX7" fmla="*/ 113348 w 130492"/>
                <a:gd name="connsiteY7" fmla="*/ 101918 h 124777"/>
                <a:gd name="connsiteX8" fmla="*/ 98108 w 130492"/>
                <a:gd name="connsiteY8" fmla="*/ 117157 h 124777"/>
                <a:gd name="connsiteX9" fmla="*/ 95250 w 130492"/>
                <a:gd name="connsiteY9" fmla="*/ 119062 h 124777"/>
                <a:gd name="connsiteX10" fmla="*/ 90488 w 130492"/>
                <a:gd name="connsiteY10" fmla="*/ 120015 h 124777"/>
                <a:gd name="connsiteX11" fmla="*/ 86677 w 130492"/>
                <a:gd name="connsiteY11" fmla="*/ 122872 h 124777"/>
                <a:gd name="connsiteX12" fmla="*/ 83820 w 130492"/>
                <a:gd name="connsiteY12" fmla="*/ 124778 h 124777"/>
                <a:gd name="connsiteX13" fmla="*/ 80963 w 130492"/>
                <a:gd name="connsiteY13" fmla="*/ 123825 h 124777"/>
                <a:gd name="connsiteX14" fmla="*/ 80963 w 130492"/>
                <a:gd name="connsiteY14" fmla="*/ 121920 h 124777"/>
                <a:gd name="connsiteX15" fmla="*/ 77152 w 130492"/>
                <a:gd name="connsiteY15" fmla="*/ 121920 h 124777"/>
                <a:gd name="connsiteX16" fmla="*/ 75248 w 130492"/>
                <a:gd name="connsiteY16" fmla="*/ 124778 h 124777"/>
                <a:gd name="connsiteX17" fmla="*/ 72390 w 130492"/>
                <a:gd name="connsiteY17" fmla="*/ 122872 h 124777"/>
                <a:gd name="connsiteX18" fmla="*/ 68580 w 130492"/>
                <a:gd name="connsiteY18" fmla="*/ 117157 h 124777"/>
                <a:gd name="connsiteX19" fmla="*/ 67627 w 130492"/>
                <a:gd name="connsiteY19" fmla="*/ 110490 h 124777"/>
                <a:gd name="connsiteX20" fmla="*/ 65723 w 130492"/>
                <a:gd name="connsiteY20" fmla="*/ 104775 h 124777"/>
                <a:gd name="connsiteX21" fmla="*/ 70485 w 130492"/>
                <a:gd name="connsiteY21" fmla="*/ 100012 h 124777"/>
                <a:gd name="connsiteX22" fmla="*/ 70485 w 130492"/>
                <a:gd name="connsiteY22" fmla="*/ 98107 h 124777"/>
                <a:gd name="connsiteX23" fmla="*/ 67627 w 130492"/>
                <a:gd name="connsiteY23" fmla="*/ 98107 h 124777"/>
                <a:gd name="connsiteX24" fmla="*/ 62865 w 130492"/>
                <a:gd name="connsiteY24" fmla="*/ 100965 h 124777"/>
                <a:gd name="connsiteX25" fmla="*/ 62865 w 130492"/>
                <a:gd name="connsiteY25" fmla="*/ 103822 h 124777"/>
                <a:gd name="connsiteX26" fmla="*/ 60008 w 130492"/>
                <a:gd name="connsiteY26" fmla="*/ 104775 h 124777"/>
                <a:gd name="connsiteX27" fmla="*/ 60008 w 130492"/>
                <a:gd name="connsiteY27" fmla="*/ 100012 h 124777"/>
                <a:gd name="connsiteX28" fmla="*/ 60008 w 130492"/>
                <a:gd name="connsiteY28" fmla="*/ 94297 h 124777"/>
                <a:gd name="connsiteX29" fmla="*/ 57150 w 130492"/>
                <a:gd name="connsiteY29" fmla="*/ 91440 h 124777"/>
                <a:gd name="connsiteX30" fmla="*/ 39052 w 130492"/>
                <a:gd name="connsiteY30" fmla="*/ 91440 h 124777"/>
                <a:gd name="connsiteX31" fmla="*/ 24765 w 130492"/>
                <a:gd name="connsiteY31" fmla="*/ 94297 h 124777"/>
                <a:gd name="connsiteX32" fmla="*/ 11430 w 130492"/>
                <a:gd name="connsiteY32" fmla="*/ 100012 h 124777"/>
                <a:gd name="connsiteX33" fmla="*/ 6668 w 130492"/>
                <a:gd name="connsiteY33" fmla="*/ 100965 h 124777"/>
                <a:gd name="connsiteX34" fmla="*/ 2858 w 130492"/>
                <a:gd name="connsiteY34" fmla="*/ 101918 h 124777"/>
                <a:gd name="connsiteX35" fmla="*/ 0 w 130492"/>
                <a:gd name="connsiteY35" fmla="*/ 97155 h 124777"/>
                <a:gd name="connsiteX36" fmla="*/ 4763 w 130492"/>
                <a:gd name="connsiteY36" fmla="*/ 80962 h 124777"/>
                <a:gd name="connsiteX37" fmla="*/ 7620 w 130492"/>
                <a:gd name="connsiteY37" fmla="*/ 62865 h 124777"/>
                <a:gd name="connsiteX38" fmla="*/ 8573 w 130492"/>
                <a:gd name="connsiteY38" fmla="*/ 46672 h 124777"/>
                <a:gd name="connsiteX39" fmla="*/ 21908 w 130492"/>
                <a:gd name="connsiteY39" fmla="*/ 40005 h 124777"/>
                <a:gd name="connsiteX40" fmla="*/ 34290 w 130492"/>
                <a:gd name="connsiteY40" fmla="*/ 38100 h 124777"/>
                <a:gd name="connsiteX41" fmla="*/ 49530 w 130492"/>
                <a:gd name="connsiteY41" fmla="*/ 23813 h 124777"/>
                <a:gd name="connsiteX42" fmla="*/ 60008 w 130492"/>
                <a:gd name="connsiteY42" fmla="*/ 15240 h 124777"/>
                <a:gd name="connsiteX43" fmla="*/ 64770 w 130492"/>
                <a:gd name="connsiteY43" fmla="*/ 14288 h 124777"/>
                <a:gd name="connsiteX44" fmla="*/ 64770 w 130492"/>
                <a:gd name="connsiteY44" fmla="*/ 18097 h 124777"/>
                <a:gd name="connsiteX45" fmla="*/ 70485 w 130492"/>
                <a:gd name="connsiteY45" fmla="*/ 18097 h 124777"/>
                <a:gd name="connsiteX46" fmla="*/ 68580 w 130492"/>
                <a:gd name="connsiteY46" fmla="*/ 15240 h 124777"/>
                <a:gd name="connsiteX47" fmla="*/ 68580 w 130492"/>
                <a:gd name="connsiteY47" fmla="*/ 12382 h 124777"/>
                <a:gd name="connsiteX48" fmla="*/ 72390 w 130492"/>
                <a:gd name="connsiteY48" fmla="*/ 11430 h 124777"/>
                <a:gd name="connsiteX49" fmla="*/ 78105 w 130492"/>
                <a:gd name="connsiteY49" fmla="*/ 4763 h 124777"/>
                <a:gd name="connsiteX50" fmla="*/ 80010 w 130492"/>
                <a:gd name="connsiteY50" fmla="*/ 1905 h 124777"/>
                <a:gd name="connsiteX51" fmla="*/ 83820 w 130492"/>
                <a:gd name="connsiteY51" fmla="*/ 1905 h 124777"/>
                <a:gd name="connsiteX52" fmla="*/ 85725 w 130492"/>
                <a:gd name="connsiteY52" fmla="*/ 3810 h 124777"/>
                <a:gd name="connsiteX53" fmla="*/ 92393 w 130492"/>
                <a:gd name="connsiteY53" fmla="*/ 4763 h 124777"/>
                <a:gd name="connsiteX54" fmla="*/ 93345 w 130492"/>
                <a:gd name="connsiteY54" fmla="*/ 7620 h 124777"/>
                <a:gd name="connsiteX55" fmla="*/ 89535 w 130492"/>
                <a:gd name="connsiteY55" fmla="*/ 17145 h 124777"/>
                <a:gd name="connsiteX56" fmla="*/ 90488 w 130492"/>
                <a:gd name="connsiteY56" fmla="*/ 20955 h 124777"/>
                <a:gd name="connsiteX57" fmla="*/ 92393 w 130492"/>
                <a:gd name="connsiteY57" fmla="*/ 23813 h 124777"/>
                <a:gd name="connsiteX58" fmla="*/ 99060 w 130492"/>
                <a:gd name="connsiteY58" fmla="*/ 30480 h 124777"/>
                <a:gd name="connsiteX59" fmla="*/ 102870 w 130492"/>
                <a:gd name="connsiteY59" fmla="*/ 29527 h 124777"/>
                <a:gd name="connsiteX60" fmla="*/ 108585 w 130492"/>
                <a:gd name="connsiteY60" fmla="*/ 19050 h 124777"/>
                <a:gd name="connsiteX61" fmla="*/ 110490 w 130492"/>
                <a:gd name="connsiteY61" fmla="*/ 10477 h 124777"/>
                <a:gd name="connsiteX62" fmla="*/ 112395 w 130492"/>
                <a:gd name="connsiteY62" fmla="*/ 3810 h 124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30492" h="124777">
                  <a:moveTo>
                    <a:pt x="115252" y="0"/>
                  </a:moveTo>
                  <a:lnTo>
                    <a:pt x="117158" y="0"/>
                  </a:lnTo>
                  <a:lnTo>
                    <a:pt x="118110" y="17145"/>
                  </a:lnTo>
                  <a:lnTo>
                    <a:pt x="119063" y="32385"/>
                  </a:lnTo>
                  <a:lnTo>
                    <a:pt x="126683" y="49530"/>
                  </a:lnTo>
                  <a:lnTo>
                    <a:pt x="130493" y="70485"/>
                  </a:lnTo>
                  <a:lnTo>
                    <a:pt x="124777" y="82868"/>
                  </a:lnTo>
                  <a:lnTo>
                    <a:pt x="113348" y="101918"/>
                  </a:lnTo>
                  <a:lnTo>
                    <a:pt x="98108" y="117157"/>
                  </a:lnTo>
                  <a:lnTo>
                    <a:pt x="95250" y="119062"/>
                  </a:lnTo>
                  <a:lnTo>
                    <a:pt x="90488" y="120015"/>
                  </a:lnTo>
                  <a:lnTo>
                    <a:pt x="86677" y="122872"/>
                  </a:lnTo>
                  <a:lnTo>
                    <a:pt x="83820" y="124778"/>
                  </a:lnTo>
                  <a:lnTo>
                    <a:pt x="80963" y="123825"/>
                  </a:lnTo>
                  <a:lnTo>
                    <a:pt x="80963" y="121920"/>
                  </a:lnTo>
                  <a:lnTo>
                    <a:pt x="77152" y="121920"/>
                  </a:lnTo>
                  <a:lnTo>
                    <a:pt x="75248" y="124778"/>
                  </a:lnTo>
                  <a:lnTo>
                    <a:pt x="72390" y="122872"/>
                  </a:lnTo>
                  <a:lnTo>
                    <a:pt x="68580" y="117157"/>
                  </a:lnTo>
                  <a:lnTo>
                    <a:pt x="67627" y="110490"/>
                  </a:lnTo>
                  <a:lnTo>
                    <a:pt x="65723" y="104775"/>
                  </a:lnTo>
                  <a:lnTo>
                    <a:pt x="70485" y="100012"/>
                  </a:lnTo>
                  <a:lnTo>
                    <a:pt x="70485" y="98107"/>
                  </a:lnTo>
                  <a:lnTo>
                    <a:pt x="67627" y="98107"/>
                  </a:lnTo>
                  <a:lnTo>
                    <a:pt x="62865" y="100965"/>
                  </a:lnTo>
                  <a:lnTo>
                    <a:pt x="62865" y="103822"/>
                  </a:lnTo>
                  <a:lnTo>
                    <a:pt x="60008" y="104775"/>
                  </a:lnTo>
                  <a:lnTo>
                    <a:pt x="60008" y="100012"/>
                  </a:lnTo>
                  <a:lnTo>
                    <a:pt x="60008" y="94297"/>
                  </a:lnTo>
                  <a:lnTo>
                    <a:pt x="57150" y="91440"/>
                  </a:lnTo>
                  <a:lnTo>
                    <a:pt x="39052" y="91440"/>
                  </a:lnTo>
                  <a:lnTo>
                    <a:pt x="24765" y="94297"/>
                  </a:lnTo>
                  <a:lnTo>
                    <a:pt x="11430" y="100012"/>
                  </a:lnTo>
                  <a:lnTo>
                    <a:pt x="6668" y="100965"/>
                  </a:lnTo>
                  <a:lnTo>
                    <a:pt x="2858" y="101918"/>
                  </a:lnTo>
                  <a:lnTo>
                    <a:pt x="0" y="97155"/>
                  </a:lnTo>
                  <a:lnTo>
                    <a:pt x="4763" y="80962"/>
                  </a:lnTo>
                  <a:lnTo>
                    <a:pt x="7620" y="62865"/>
                  </a:lnTo>
                  <a:lnTo>
                    <a:pt x="8573" y="46672"/>
                  </a:lnTo>
                  <a:lnTo>
                    <a:pt x="21908" y="40005"/>
                  </a:lnTo>
                  <a:lnTo>
                    <a:pt x="34290" y="38100"/>
                  </a:lnTo>
                  <a:lnTo>
                    <a:pt x="49530" y="23813"/>
                  </a:lnTo>
                  <a:lnTo>
                    <a:pt x="60008" y="15240"/>
                  </a:lnTo>
                  <a:lnTo>
                    <a:pt x="64770" y="14288"/>
                  </a:lnTo>
                  <a:lnTo>
                    <a:pt x="64770" y="18097"/>
                  </a:lnTo>
                  <a:lnTo>
                    <a:pt x="70485" y="18097"/>
                  </a:lnTo>
                  <a:lnTo>
                    <a:pt x="68580" y="15240"/>
                  </a:lnTo>
                  <a:lnTo>
                    <a:pt x="68580" y="12382"/>
                  </a:lnTo>
                  <a:lnTo>
                    <a:pt x="72390" y="11430"/>
                  </a:lnTo>
                  <a:lnTo>
                    <a:pt x="78105" y="4763"/>
                  </a:lnTo>
                  <a:lnTo>
                    <a:pt x="80010" y="1905"/>
                  </a:lnTo>
                  <a:lnTo>
                    <a:pt x="83820" y="1905"/>
                  </a:lnTo>
                  <a:lnTo>
                    <a:pt x="85725" y="3810"/>
                  </a:lnTo>
                  <a:lnTo>
                    <a:pt x="92393" y="4763"/>
                  </a:lnTo>
                  <a:lnTo>
                    <a:pt x="93345" y="7620"/>
                  </a:lnTo>
                  <a:lnTo>
                    <a:pt x="89535" y="17145"/>
                  </a:lnTo>
                  <a:lnTo>
                    <a:pt x="90488" y="20955"/>
                  </a:lnTo>
                  <a:lnTo>
                    <a:pt x="92393" y="23813"/>
                  </a:lnTo>
                  <a:lnTo>
                    <a:pt x="99060" y="30480"/>
                  </a:lnTo>
                  <a:lnTo>
                    <a:pt x="102870" y="29527"/>
                  </a:lnTo>
                  <a:lnTo>
                    <a:pt x="108585" y="19050"/>
                  </a:lnTo>
                  <a:lnTo>
                    <a:pt x="110490" y="10477"/>
                  </a:lnTo>
                  <a:lnTo>
                    <a:pt x="112395" y="38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37D32C7-CBEE-467A-8BF1-ABC1E11C21BD}"/>
                </a:ext>
              </a:extLst>
            </p:cNvPr>
            <p:cNvSpPr/>
            <p:nvPr/>
          </p:nvSpPr>
          <p:spPr>
            <a:xfrm>
              <a:off x="6465570" y="3662362"/>
              <a:ext cx="15239" cy="12382"/>
            </a:xfrm>
            <a:custGeom>
              <a:avLst/>
              <a:gdLst>
                <a:gd name="connsiteX0" fmla="*/ 3810 w 15239"/>
                <a:gd name="connsiteY0" fmla="*/ 952 h 12382"/>
                <a:gd name="connsiteX1" fmla="*/ 5715 w 15239"/>
                <a:gd name="connsiteY1" fmla="*/ 0 h 12382"/>
                <a:gd name="connsiteX2" fmla="*/ 7620 w 15239"/>
                <a:gd name="connsiteY2" fmla="*/ 1905 h 12382"/>
                <a:gd name="connsiteX3" fmla="*/ 10477 w 15239"/>
                <a:gd name="connsiteY3" fmla="*/ 952 h 12382"/>
                <a:gd name="connsiteX4" fmla="*/ 13335 w 15239"/>
                <a:gd name="connsiteY4" fmla="*/ 952 h 12382"/>
                <a:gd name="connsiteX5" fmla="*/ 14288 w 15239"/>
                <a:gd name="connsiteY5" fmla="*/ 952 h 12382"/>
                <a:gd name="connsiteX6" fmla="*/ 15240 w 15239"/>
                <a:gd name="connsiteY6" fmla="*/ 4763 h 12382"/>
                <a:gd name="connsiteX7" fmla="*/ 10477 w 15239"/>
                <a:gd name="connsiteY7" fmla="*/ 7620 h 12382"/>
                <a:gd name="connsiteX8" fmla="*/ 9525 w 15239"/>
                <a:gd name="connsiteY8" fmla="*/ 9525 h 12382"/>
                <a:gd name="connsiteX9" fmla="*/ 6667 w 15239"/>
                <a:gd name="connsiteY9" fmla="*/ 12383 h 12382"/>
                <a:gd name="connsiteX10" fmla="*/ 3810 w 15239"/>
                <a:gd name="connsiteY10" fmla="*/ 12383 h 12382"/>
                <a:gd name="connsiteX11" fmla="*/ 0 w 15239"/>
                <a:gd name="connsiteY11" fmla="*/ 12383 h 12382"/>
                <a:gd name="connsiteX12" fmla="*/ 0 w 15239"/>
                <a:gd name="connsiteY12" fmla="*/ 7620 h 12382"/>
                <a:gd name="connsiteX13" fmla="*/ 1905 w 15239"/>
                <a:gd name="connsiteY13" fmla="*/ 2858 h 12382"/>
                <a:gd name="connsiteX14" fmla="*/ 1905 w 15239"/>
                <a:gd name="connsiteY14" fmla="*/ 0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239" h="12382">
                  <a:moveTo>
                    <a:pt x="3810" y="952"/>
                  </a:moveTo>
                  <a:lnTo>
                    <a:pt x="5715" y="0"/>
                  </a:lnTo>
                  <a:lnTo>
                    <a:pt x="7620" y="1905"/>
                  </a:lnTo>
                  <a:lnTo>
                    <a:pt x="10477" y="952"/>
                  </a:lnTo>
                  <a:lnTo>
                    <a:pt x="13335" y="952"/>
                  </a:lnTo>
                  <a:lnTo>
                    <a:pt x="14288" y="952"/>
                  </a:lnTo>
                  <a:lnTo>
                    <a:pt x="15240" y="4763"/>
                  </a:lnTo>
                  <a:lnTo>
                    <a:pt x="10477" y="7620"/>
                  </a:lnTo>
                  <a:lnTo>
                    <a:pt x="9525" y="9525"/>
                  </a:lnTo>
                  <a:lnTo>
                    <a:pt x="6667" y="12383"/>
                  </a:lnTo>
                  <a:lnTo>
                    <a:pt x="3810" y="12383"/>
                  </a:lnTo>
                  <a:lnTo>
                    <a:pt x="0" y="12383"/>
                  </a:lnTo>
                  <a:lnTo>
                    <a:pt x="0" y="7620"/>
                  </a:lnTo>
                  <a:lnTo>
                    <a:pt x="1905" y="2858"/>
                  </a:lnTo>
                  <a:lnTo>
                    <a:pt x="190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F9CDC82-8BD0-410E-A374-96E049AA42FD}"/>
                </a:ext>
              </a:extLst>
            </p:cNvPr>
            <p:cNvSpPr/>
            <p:nvPr/>
          </p:nvSpPr>
          <p:spPr>
            <a:xfrm>
              <a:off x="6552247" y="3645217"/>
              <a:ext cx="20002" cy="31432"/>
            </a:xfrm>
            <a:custGeom>
              <a:avLst/>
              <a:gdLst>
                <a:gd name="connsiteX0" fmla="*/ 12382 w 20002"/>
                <a:gd name="connsiteY0" fmla="*/ 0 h 31432"/>
                <a:gd name="connsiteX1" fmla="*/ 14288 w 20002"/>
                <a:gd name="connsiteY1" fmla="*/ 1905 h 31432"/>
                <a:gd name="connsiteX2" fmla="*/ 15240 w 20002"/>
                <a:gd name="connsiteY2" fmla="*/ 10478 h 31432"/>
                <a:gd name="connsiteX3" fmla="*/ 15240 w 20002"/>
                <a:gd name="connsiteY3" fmla="*/ 15240 h 31432"/>
                <a:gd name="connsiteX4" fmla="*/ 20002 w 20002"/>
                <a:gd name="connsiteY4" fmla="*/ 16193 h 31432"/>
                <a:gd name="connsiteX5" fmla="*/ 20002 w 20002"/>
                <a:gd name="connsiteY5" fmla="*/ 19050 h 31432"/>
                <a:gd name="connsiteX6" fmla="*/ 15240 w 20002"/>
                <a:gd name="connsiteY6" fmla="*/ 19050 h 31432"/>
                <a:gd name="connsiteX7" fmla="*/ 11430 w 20002"/>
                <a:gd name="connsiteY7" fmla="*/ 21908 h 31432"/>
                <a:gd name="connsiteX8" fmla="*/ 6667 w 20002"/>
                <a:gd name="connsiteY8" fmla="*/ 26670 h 31432"/>
                <a:gd name="connsiteX9" fmla="*/ 3810 w 20002"/>
                <a:gd name="connsiteY9" fmla="*/ 31433 h 31432"/>
                <a:gd name="connsiteX10" fmla="*/ 0 w 20002"/>
                <a:gd name="connsiteY10" fmla="*/ 30480 h 31432"/>
                <a:gd name="connsiteX11" fmla="*/ 952 w 20002"/>
                <a:gd name="connsiteY11" fmla="*/ 26670 h 31432"/>
                <a:gd name="connsiteX12" fmla="*/ 1905 w 20002"/>
                <a:gd name="connsiteY12" fmla="*/ 20955 h 31432"/>
                <a:gd name="connsiteX13" fmla="*/ 5715 w 20002"/>
                <a:gd name="connsiteY13" fmla="*/ 19050 h 31432"/>
                <a:gd name="connsiteX14" fmla="*/ 9525 w 20002"/>
                <a:gd name="connsiteY14" fmla="*/ 15240 h 31432"/>
                <a:gd name="connsiteX15" fmla="*/ 10477 w 20002"/>
                <a:gd name="connsiteY15" fmla="*/ 8573 h 31432"/>
                <a:gd name="connsiteX16" fmla="*/ 11430 w 20002"/>
                <a:gd name="connsiteY16" fmla="*/ 1905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02" h="31432">
                  <a:moveTo>
                    <a:pt x="12382" y="0"/>
                  </a:moveTo>
                  <a:lnTo>
                    <a:pt x="14288" y="1905"/>
                  </a:lnTo>
                  <a:lnTo>
                    <a:pt x="15240" y="10478"/>
                  </a:lnTo>
                  <a:lnTo>
                    <a:pt x="15240" y="15240"/>
                  </a:lnTo>
                  <a:lnTo>
                    <a:pt x="20002" y="16193"/>
                  </a:lnTo>
                  <a:lnTo>
                    <a:pt x="20002" y="19050"/>
                  </a:lnTo>
                  <a:lnTo>
                    <a:pt x="15240" y="19050"/>
                  </a:lnTo>
                  <a:lnTo>
                    <a:pt x="11430" y="21908"/>
                  </a:lnTo>
                  <a:lnTo>
                    <a:pt x="6667" y="26670"/>
                  </a:lnTo>
                  <a:lnTo>
                    <a:pt x="3810" y="31433"/>
                  </a:lnTo>
                  <a:lnTo>
                    <a:pt x="0" y="30480"/>
                  </a:lnTo>
                  <a:lnTo>
                    <a:pt x="952" y="26670"/>
                  </a:lnTo>
                  <a:lnTo>
                    <a:pt x="1905" y="20955"/>
                  </a:lnTo>
                  <a:lnTo>
                    <a:pt x="5715" y="19050"/>
                  </a:lnTo>
                  <a:lnTo>
                    <a:pt x="9525" y="15240"/>
                  </a:lnTo>
                  <a:lnTo>
                    <a:pt x="10477" y="8573"/>
                  </a:lnTo>
                  <a:lnTo>
                    <a:pt x="11430" y="19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CEFA7C9-7C4E-4DE6-9898-0464F7124B4A}"/>
                </a:ext>
              </a:extLst>
            </p:cNvPr>
            <p:cNvSpPr/>
            <p:nvPr/>
          </p:nvSpPr>
          <p:spPr>
            <a:xfrm>
              <a:off x="6514147" y="3671887"/>
              <a:ext cx="36194" cy="22860"/>
            </a:xfrm>
            <a:custGeom>
              <a:avLst/>
              <a:gdLst>
                <a:gd name="connsiteX0" fmla="*/ 32385 w 36194"/>
                <a:gd name="connsiteY0" fmla="*/ 0 h 22860"/>
                <a:gd name="connsiteX1" fmla="*/ 35242 w 36194"/>
                <a:gd name="connsiteY1" fmla="*/ 2858 h 22860"/>
                <a:gd name="connsiteX2" fmla="*/ 36195 w 36194"/>
                <a:gd name="connsiteY2" fmla="*/ 6667 h 22860"/>
                <a:gd name="connsiteX3" fmla="*/ 31432 w 36194"/>
                <a:gd name="connsiteY3" fmla="*/ 8573 h 22860"/>
                <a:gd name="connsiteX4" fmla="*/ 22860 w 36194"/>
                <a:gd name="connsiteY4" fmla="*/ 10477 h 22860"/>
                <a:gd name="connsiteX5" fmla="*/ 17145 w 36194"/>
                <a:gd name="connsiteY5" fmla="*/ 15240 h 22860"/>
                <a:gd name="connsiteX6" fmla="*/ 13335 w 36194"/>
                <a:gd name="connsiteY6" fmla="*/ 18098 h 22860"/>
                <a:gd name="connsiteX7" fmla="*/ 11430 w 36194"/>
                <a:gd name="connsiteY7" fmla="*/ 20955 h 22860"/>
                <a:gd name="connsiteX8" fmla="*/ 8573 w 36194"/>
                <a:gd name="connsiteY8" fmla="*/ 22860 h 22860"/>
                <a:gd name="connsiteX9" fmla="*/ 2857 w 36194"/>
                <a:gd name="connsiteY9" fmla="*/ 22860 h 22860"/>
                <a:gd name="connsiteX10" fmla="*/ 0 w 36194"/>
                <a:gd name="connsiteY10" fmla="*/ 22860 h 22860"/>
                <a:gd name="connsiteX11" fmla="*/ 0 w 36194"/>
                <a:gd name="connsiteY11" fmla="*/ 18098 h 22860"/>
                <a:gd name="connsiteX12" fmla="*/ 2857 w 36194"/>
                <a:gd name="connsiteY12" fmla="*/ 16192 h 22860"/>
                <a:gd name="connsiteX13" fmla="*/ 10477 w 36194"/>
                <a:gd name="connsiteY13" fmla="*/ 13335 h 22860"/>
                <a:gd name="connsiteX14" fmla="*/ 15240 w 36194"/>
                <a:gd name="connsiteY14" fmla="*/ 9525 h 22860"/>
                <a:gd name="connsiteX15" fmla="*/ 21907 w 36194"/>
                <a:gd name="connsiteY15" fmla="*/ 6667 h 22860"/>
                <a:gd name="connsiteX16" fmla="*/ 27623 w 36194"/>
                <a:gd name="connsiteY16" fmla="*/ 952 h 2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6194" h="22860">
                  <a:moveTo>
                    <a:pt x="32385" y="0"/>
                  </a:moveTo>
                  <a:lnTo>
                    <a:pt x="35242" y="2858"/>
                  </a:lnTo>
                  <a:lnTo>
                    <a:pt x="36195" y="6667"/>
                  </a:lnTo>
                  <a:lnTo>
                    <a:pt x="31432" y="8573"/>
                  </a:lnTo>
                  <a:lnTo>
                    <a:pt x="22860" y="10477"/>
                  </a:lnTo>
                  <a:lnTo>
                    <a:pt x="17145" y="15240"/>
                  </a:lnTo>
                  <a:lnTo>
                    <a:pt x="13335" y="18098"/>
                  </a:lnTo>
                  <a:lnTo>
                    <a:pt x="11430" y="20955"/>
                  </a:lnTo>
                  <a:lnTo>
                    <a:pt x="8573" y="22860"/>
                  </a:lnTo>
                  <a:lnTo>
                    <a:pt x="2857" y="22860"/>
                  </a:lnTo>
                  <a:lnTo>
                    <a:pt x="0" y="22860"/>
                  </a:lnTo>
                  <a:lnTo>
                    <a:pt x="0" y="18098"/>
                  </a:lnTo>
                  <a:lnTo>
                    <a:pt x="2857" y="16192"/>
                  </a:lnTo>
                  <a:lnTo>
                    <a:pt x="10477" y="13335"/>
                  </a:lnTo>
                  <a:lnTo>
                    <a:pt x="15240" y="9525"/>
                  </a:lnTo>
                  <a:lnTo>
                    <a:pt x="21907" y="6667"/>
                  </a:lnTo>
                  <a:lnTo>
                    <a:pt x="27623" y="95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>
                <a:latin typeface="Arial" panose="020B0604020202020204" pitchFamily="34" charset="0"/>
              </a:endParaRP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152F6B8-38D6-4580-8655-41F2F89F8EBA}"/>
              </a:ext>
            </a:extLst>
          </p:cNvPr>
          <p:cNvCxnSpPr>
            <a:cxnSpLocks/>
          </p:cNvCxnSpPr>
          <p:nvPr/>
        </p:nvCxnSpPr>
        <p:spPr>
          <a:xfrm>
            <a:off x="-317640" y="-915594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C4F2A518-FBB7-484E-9B62-41628800E404}"/>
              </a:ext>
            </a:extLst>
          </p:cNvPr>
          <p:cNvSpPr txBox="1"/>
          <p:nvPr/>
        </p:nvSpPr>
        <p:spPr>
          <a:xfrm>
            <a:off x="987917" y="100512"/>
            <a:ext cx="7015163" cy="6107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1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HEC PARIS </a:t>
            </a:r>
            <a:r>
              <a:rPr lang="en-US" sz="2100" b="1">
                <a:solidFill>
                  <a:srgbClr val="B9975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AROUND THE WORLD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C133542-14BE-49B5-A306-3ED4E405CA39}"/>
              </a:ext>
            </a:extLst>
          </p:cNvPr>
          <p:cNvCxnSpPr>
            <a:cxnSpLocks/>
          </p:cNvCxnSpPr>
          <p:nvPr/>
        </p:nvCxnSpPr>
        <p:spPr>
          <a:xfrm flipH="1">
            <a:off x="4463144" y="691385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F7935C8-E0CD-4CEC-80DE-3F60AE168C3C}"/>
              </a:ext>
            </a:extLst>
          </p:cNvPr>
          <p:cNvCxnSpPr>
            <a:cxnSpLocks/>
          </p:cNvCxnSpPr>
          <p:nvPr/>
        </p:nvCxnSpPr>
        <p:spPr>
          <a:xfrm>
            <a:off x="2" y="66281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4EB14A5-0350-4981-846C-20353D4032F2}"/>
              </a:ext>
            </a:extLst>
          </p:cNvPr>
          <p:cNvGrpSpPr/>
          <p:nvPr/>
        </p:nvGrpSpPr>
        <p:grpSpPr>
          <a:xfrm>
            <a:off x="665008" y="1160656"/>
            <a:ext cx="1760213" cy="888439"/>
            <a:chOff x="1078067" y="1529325"/>
            <a:chExt cx="2346951" cy="1394847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90FA0545-5E2D-42F5-9B5E-E826DB9F0C89}"/>
                </a:ext>
              </a:extLst>
            </p:cNvPr>
            <p:cNvSpPr/>
            <p:nvPr/>
          </p:nvSpPr>
          <p:spPr>
            <a:xfrm>
              <a:off x="1078067" y="1529325"/>
              <a:ext cx="2346951" cy="1394847"/>
            </a:xfrm>
            <a:prstGeom prst="roundRect">
              <a:avLst>
                <a:gd name="adj" fmla="val 4199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91650A9-2546-4F4D-B883-E9920E993F09}"/>
                </a:ext>
              </a:extLst>
            </p:cNvPr>
            <p:cNvSpPr txBox="1"/>
            <p:nvPr/>
          </p:nvSpPr>
          <p:spPr>
            <a:xfrm>
              <a:off x="1249340" y="1680635"/>
              <a:ext cx="1764043" cy="12321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>
                  <a:solidFill>
                    <a:srgbClr val="B9975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125</a:t>
              </a:r>
            </a:p>
            <a:p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old" panose="020B0806020101010102" pitchFamily="34" charset="0"/>
                </a:rPr>
                <a:t>Academic </a:t>
              </a:r>
              <a:b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old" panose="020B0806020101010102" pitchFamily="34" charset="0"/>
                </a:rPr>
              </a:br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old" panose="020B0806020101010102" pitchFamily="34" charset="0"/>
                </a:rPr>
                <a:t>Partner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9CBB4E8-99DE-4D00-BF70-B43D84608DBF}"/>
              </a:ext>
            </a:extLst>
          </p:cNvPr>
          <p:cNvGrpSpPr/>
          <p:nvPr/>
        </p:nvGrpSpPr>
        <p:grpSpPr>
          <a:xfrm>
            <a:off x="2767432" y="1160655"/>
            <a:ext cx="1779632" cy="888438"/>
            <a:chOff x="3647045" y="1529325"/>
            <a:chExt cx="2372842" cy="1394847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214B9FF1-F317-4094-8F2E-C0E38B6BDCDC}"/>
                </a:ext>
              </a:extLst>
            </p:cNvPr>
            <p:cNvSpPr/>
            <p:nvPr/>
          </p:nvSpPr>
          <p:spPr>
            <a:xfrm>
              <a:off x="3647045" y="1529325"/>
              <a:ext cx="2346951" cy="1394847"/>
            </a:xfrm>
            <a:prstGeom prst="roundRect">
              <a:avLst>
                <a:gd name="adj" fmla="val 4199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FE5604F-3DC9-478D-BE5F-D99F84202228}"/>
                </a:ext>
              </a:extLst>
            </p:cNvPr>
            <p:cNvSpPr txBox="1"/>
            <p:nvPr/>
          </p:nvSpPr>
          <p:spPr>
            <a:xfrm>
              <a:off x="3818320" y="1572914"/>
              <a:ext cx="2201567" cy="12321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>
                  <a:solidFill>
                    <a:srgbClr val="B9975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135</a:t>
              </a:r>
            </a:p>
            <a:p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old" panose="020B0806020101010102" pitchFamily="34" charset="0"/>
                </a:rPr>
                <a:t>Nationalities represented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92C7587-3C44-48F1-AFE9-F61454D90494}"/>
              </a:ext>
            </a:extLst>
          </p:cNvPr>
          <p:cNvGrpSpPr/>
          <p:nvPr/>
        </p:nvGrpSpPr>
        <p:grpSpPr>
          <a:xfrm>
            <a:off x="4822759" y="1160656"/>
            <a:ext cx="1760213" cy="888439"/>
            <a:chOff x="6216023" y="1529325"/>
            <a:chExt cx="2346951" cy="1394847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5B559EF6-8C87-4846-AE52-BBBF1BB9E5A0}"/>
                </a:ext>
              </a:extLst>
            </p:cNvPr>
            <p:cNvSpPr/>
            <p:nvPr/>
          </p:nvSpPr>
          <p:spPr>
            <a:xfrm>
              <a:off x="6216023" y="1529325"/>
              <a:ext cx="2346951" cy="1394847"/>
            </a:xfrm>
            <a:prstGeom prst="roundRect">
              <a:avLst>
                <a:gd name="adj" fmla="val 4199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05F9682-5FC4-4F6A-8C71-CD63D045680C}"/>
                </a:ext>
              </a:extLst>
            </p:cNvPr>
            <p:cNvSpPr txBox="1"/>
            <p:nvPr/>
          </p:nvSpPr>
          <p:spPr>
            <a:xfrm>
              <a:off x="6387296" y="1680635"/>
              <a:ext cx="1764043" cy="12321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>
                  <a:solidFill>
                    <a:srgbClr val="B9975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2/3</a:t>
              </a:r>
            </a:p>
            <a:p>
              <a:r>
                <a:rPr lang="en-US" sz="1050">
                  <a:solidFill>
                    <a:schemeClr val="bg1"/>
                  </a:solidFill>
                  <a:latin typeface="Arial" panose="020B0604020202020204" pitchFamily="34" charset="0"/>
                  <a:cs typeface="DIN Pro Cond Bold" panose="020B0806020101010102" pitchFamily="34" charset="0"/>
                </a:rPr>
                <a:t>International Professor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3E2DAA3-C897-493B-9AB9-BDD6C3161291}"/>
              </a:ext>
            </a:extLst>
          </p:cNvPr>
          <p:cNvGrpSpPr/>
          <p:nvPr/>
        </p:nvGrpSpPr>
        <p:grpSpPr>
          <a:xfrm>
            <a:off x="6815282" y="1160656"/>
            <a:ext cx="1760213" cy="888439"/>
            <a:chOff x="8785001" y="1529325"/>
            <a:chExt cx="2346951" cy="1394847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199431E5-EE8F-490E-BC57-17B910F6A923}"/>
                </a:ext>
              </a:extLst>
            </p:cNvPr>
            <p:cNvSpPr/>
            <p:nvPr/>
          </p:nvSpPr>
          <p:spPr>
            <a:xfrm>
              <a:off x="8785001" y="1529325"/>
              <a:ext cx="2346951" cy="1394847"/>
            </a:xfrm>
            <a:prstGeom prst="roundRect">
              <a:avLst>
                <a:gd name="adj" fmla="val 4199"/>
              </a:avLst>
            </a:prstGeom>
            <a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>
                <a:latin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276A788-02CA-4375-BC45-F01C0B65B7D5}"/>
                </a:ext>
              </a:extLst>
            </p:cNvPr>
            <p:cNvSpPr txBox="1"/>
            <p:nvPr/>
          </p:nvSpPr>
          <p:spPr>
            <a:xfrm>
              <a:off x="8956274" y="1680635"/>
              <a:ext cx="2086192" cy="12321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solidFill>
                    <a:srgbClr val="B9975B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85+</a:t>
              </a:r>
            </a:p>
            <a:p>
              <a:r>
                <a:rPr lang="en-US" sz="1050" dirty="0">
                  <a:solidFill>
                    <a:schemeClr val="bg1"/>
                  </a:solidFill>
                  <a:latin typeface="Arial" panose="020B0604020202020204" pitchFamily="34" charset="0"/>
                  <a:cs typeface="DIN Pro Cond Bold" panose="020B0806020101010102" pitchFamily="34" charset="0"/>
                </a:rPr>
                <a:t>International Alumni chapters</a:t>
              </a:r>
            </a:p>
          </p:txBody>
        </p:sp>
      </p:grpSp>
      <p:sp>
        <p:nvSpPr>
          <p:cNvPr id="137" name="TextBox 136">
            <a:extLst>
              <a:ext uri="{FF2B5EF4-FFF2-40B4-BE49-F238E27FC236}">
                <a16:creationId xmlns:a16="http://schemas.microsoft.com/office/drawing/2014/main" id="{296E1A3B-43E5-490F-A42A-AB973C655ECD}"/>
              </a:ext>
            </a:extLst>
          </p:cNvPr>
          <p:cNvSpPr txBox="1"/>
          <p:nvPr/>
        </p:nvSpPr>
        <p:spPr>
          <a:xfrm>
            <a:off x="553606" y="2478684"/>
            <a:ext cx="3743228" cy="30362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b="1">
                <a:solidFill>
                  <a:srgbClr val="163C6B"/>
                </a:solidFill>
                <a:latin typeface="Arial" panose="020B0604020202020204" pitchFamily="34" charset="0"/>
                <a:cs typeface="DIN Pro Cond Black" panose="020B0A06020101010102" pitchFamily="34" charset="0"/>
              </a:rPr>
              <a:t>SUBSIDIARIES &amp; INTERNATIONAL OFFICES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F9DD40C6-B1D8-455E-AC04-F462C2EA128A}"/>
              </a:ext>
            </a:extLst>
          </p:cNvPr>
          <p:cNvCxnSpPr>
            <a:cxnSpLocks/>
          </p:cNvCxnSpPr>
          <p:nvPr/>
        </p:nvCxnSpPr>
        <p:spPr>
          <a:xfrm flipH="1">
            <a:off x="4066522" y="2627290"/>
            <a:ext cx="4498364" cy="6277"/>
          </a:xfrm>
          <a:prstGeom prst="line">
            <a:avLst/>
          </a:prstGeom>
          <a:ln w="4445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Group 168">
            <a:extLst>
              <a:ext uri="{FF2B5EF4-FFF2-40B4-BE49-F238E27FC236}">
                <a16:creationId xmlns:a16="http://schemas.microsoft.com/office/drawing/2014/main" id="{A119DFD7-8844-3D45-8786-71BC408514CC}"/>
              </a:ext>
            </a:extLst>
          </p:cNvPr>
          <p:cNvGrpSpPr/>
          <p:nvPr/>
        </p:nvGrpSpPr>
        <p:grpSpPr>
          <a:xfrm>
            <a:off x="1501639" y="2931390"/>
            <a:ext cx="789602" cy="1551647"/>
            <a:chOff x="3703348" y="3954314"/>
            <a:chExt cx="1052802" cy="2068862"/>
          </a:xfrm>
        </p:grpSpPr>
        <p:sp>
          <p:nvSpPr>
            <p:cNvPr id="139" name="Rectangle: Rounded Corners 135">
              <a:extLst>
                <a:ext uri="{FF2B5EF4-FFF2-40B4-BE49-F238E27FC236}">
                  <a16:creationId xmlns:a16="http://schemas.microsoft.com/office/drawing/2014/main" id="{E50597F1-B521-3E47-B3CB-30FB475B2960}"/>
                </a:ext>
              </a:extLst>
            </p:cNvPr>
            <p:cNvSpPr/>
            <p:nvPr/>
          </p:nvSpPr>
          <p:spPr>
            <a:xfrm>
              <a:off x="3703348" y="3954314"/>
              <a:ext cx="1052802" cy="2068862"/>
            </a:xfrm>
            <a:prstGeom prst="roundRect">
              <a:avLst>
                <a:gd name="adj" fmla="val 4199"/>
              </a:avLst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41" name="Rectangle: Rounded Corners 156">
              <a:extLst>
                <a:ext uri="{FF2B5EF4-FFF2-40B4-BE49-F238E27FC236}">
                  <a16:creationId xmlns:a16="http://schemas.microsoft.com/office/drawing/2014/main" id="{D6AFDC56-B0F5-3544-A091-812C3D806325}"/>
                </a:ext>
              </a:extLst>
            </p:cNvPr>
            <p:cNvSpPr/>
            <p:nvPr/>
          </p:nvSpPr>
          <p:spPr>
            <a:xfrm>
              <a:off x="3703348" y="5071119"/>
              <a:ext cx="1052802" cy="952056"/>
            </a:xfrm>
            <a:prstGeom prst="roundRect">
              <a:avLst>
                <a:gd name="adj" fmla="val 4199"/>
              </a:avLst>
            </a:prstGeom>
            <a:gradFill>
              <a:gsLst>
                <a:gs pos="100000">
                  <a:srgbClr val="00305C"/>
                </a:gs>
                <a:gs pos="0">
                  <a:srgbClr val="00305C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42" name="TextBox 143">
              <a:extLst>
                <a:ext uri="{FF2B5EF4-FFF2-40B4-BE49-F238E27FC236}">
                  <a16:creationId xmlns:a16="http://schemas.microsoft.com/office/drawing/2014/main" id="{06AAE1CE-1963-BE4D-BAC8-13A66D118F06}"/>
                </a:ext>
              </a:extLst>
            </p:cNvPr>
            <p:cNvSpPr txBox="1"/>
            <p:nvPr/>
          </p:nvSpPr>
          <p:spPr>
            <a:xfrm>
              <a:off x="3841749" y="5557518"/>
              <a:ext cx="776002" cy="4048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DOHA</a:t>
              </a:r>
            </a:p>
          </p:txBody>
        </p:sp>
      </p:grpSp>
      <p:grpSp>
        <p:nvGrpSpPr>
          <p:cNvPr id="143" name="Group 167">
            <a:extLst>
              <a:ext uri="{FF2B5EF4-FFF2-40B4-BE49-F238E27FC236}">
                <a16:creationId xmlns:a16="http://schemas.microsoft.com/office/drawing/2014/main" id="{A4F28F0D-57E3-7D4E-BFEF-980183F7022E}"/>
              </a:ext>
            </a:extLst>
          </p:cNvPr>
          <p:cNvGrpSpPr/>
          <p:nvPr/>
        </p:nvGrpSpPr>
        <p:grpSpPr>
          <a:xfrm>
            <a:off x="2395543" y="3018502"/>
            <a:ext cx="791672" cy="1551647"/>
            <a:chOff x="4895220" y="3954314"/>
            <a:chExt cx="1055563" cy="2068862"/>
          </a:xfrm>
        </p:grpSpPr>
        <p:sp>
          <p:nvSpPr>
            <p:cNvPr id="158" name="Rectangle: Rounded Corners 128">
              <a:extLst>
                <a:ext uri="{FF2B5EF4-FFF2-40B4-BE49-F238E27FC236}">
                  <a16:creationId xmlns:a16="http://schemas.microsoft.com/office/drawing/2014/main" id="{5DEF2BDE-7E1F-8049-98F6-BEB95B25DE03}"/>
                </a:ext>
              </a:extLst>
            </p:cNvPr>
            <p:cNvSpPr/>
            <p:nvPr/>
          </p:nvSpPr>
          <p:spPr>
            <a:xfrm>
              <a:off x="4895220" y="3954314"/>
              <a:ext cx="1052802" cy="2068862"/>
            </a:xfrm>
            <a:prstGeom prst="roundRect">
              <a:avLst>
                <a:gd name="adj" fmla="val 4199"/>
              </a:avLst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59" name="Rectangle: Rounded Corners 150">
              <a:extLst>
                <a:ext uri="{FF2B5EF4-FFF2-40B4-BE49-F238E27FC236}">
                  <a16:creationId xmlns:a16="http://schemas.microsoft.com/office/drawing/2014/main" id="{1BE805D6-1DD6-9D48-A43E-E7AEB3865061}"/>
                </a:ext>
              </a:extLst>
            </p:cNvPr>
            <p:cNvSpPr/>
            <p:nvPr/>
          </p:nvSpPr>
          <p:spPr>
            <a:xfrm>
              <a:off x="4895220" y="5071119"/>
              <a:ext cx="1052802" cy="952056"/>
            </a:xfrm>
            <a:prstGeom prst="roundRect">
              <a:avLst>
                <a:gd name="adj" fmla="val 4199"/>
              </a:avLst>
            </a:prstGeom>
            <a:gradFill>
              <a:gsLst>
                <a:gs pos="100000">
                  <a:srgbClr val="00305C"/>
                </a:gs>
                <a:gs pos="0">
                  <a:srgbClr val="00305C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60" name="TextBox 144">
              <a:extLst>
                <a:ext uri="{FF2B5EF4-FFF2-40B4-BE49-F238E27FC236}">
                  <a16:creationId xmlns:a16="http://schemas.microsoft.com/office/drawing/2014/main" id="{5A5336FC-DFCC-EB44-A4CA-791AD6E92F40}"/>
                </a:ext>
              </a:extLst>
            </p:cNvPr>
            <p:cNvSpPr txBox="1"/>
            <p:nvPr/>
          </p:nvSpPr>
          <p:spPr>
            <a:xfrm>
              <a:off x="4910475" y="5557518"/>
              <a:ext cx="1040308" cy="4048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LONDRES</a:t>
              </a:r>
            </a:p>
          </p:txBody>
        </p:sp>
      </p:grpSp>
      <p:grpSp>
        <p:nvGrpSpPr>
          <p:cNvPr id="161" name="Group 166">
            <a:extLst>
              <a:ext uri="{FF2B5EF4-FFF2-40B4-BE49-F238E27FC236}">
                <a16:creationId xmlns:a16="http://schemas.microsoft.com/office/drawing/2014/main" id="{0DE38AD2-5B61-364F-AAC3-8359B3ABD4DA}"/>
              </a:ext>
            </a:extLst>
          </p:cNvPr>
          <p:cNvGrpSpPr/>
          <p:nvPr/>
        </p:nvGrpSpPr>
        <p:grpSpPr>
          <a:xfrm>
            <a:off x="3289447" y="2931390"/>
            <a:ext cx="789602" cy="1551647"/>
            <a:chOff x="6087092" y="3954314"/>
            <a:chExt cx="1052802" cy="2068862"/>
          </a:xfrm>
        </p:grpSpPr>
        <p:sp>
          <p:nvSpPr>
            <p:cNvPr id="162" name="Rectangle: Rounded Corners 130">
              <a:extLst>
                <a:ext uri="{FF2B5EF4-FFF2-40B4-BE49-F238E27FC236}">
                  <a16:creationId xmlns:a16="http://schemas.microsoft.com/office/drawing/2014/main" id="{A5B6DC92-D514-5746-AE49-69DDAB8F7327}"/>
                </a:ext>
              </a:extLst>
            </p:cNvPr>
            <p:cNvSpPr/>
            <p:nvPr/>
          </p:nvSpPr>
          <p:spPr>
            <a:xfrm>
              <a:off x="6087092" y="3954314"/>
              <a:ext cx="1052802" cy="2068862"/>
            </a:xfrm>
            <a:prstGeom prst="roundRect">
              <a:avLst>
                <a:gd name="adj" fmla="val 4199"/>
              </a:avLst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70" name="Rectangle: Rounded Corners 151">
              <a:extLst>
                <a:ext uri="{FF2B5EF4-FFF2-40B4-BE49-F238E27FC236}">
                  <a16:creationId xmlns:a16="http://schemas.microsoft.com/office/drawing/2014/main" id="{9776B0BF-453E-9745-B924-2BE3213DF38A}"/>
                </a:ext>
              </a:extLst>
            </p:cNvPr>
            <p:cNvSpPr/>
            <p:nvPr/>
          </p:nvSpPr>
          <p:spPr>
            <a:xfrm>
              <a:off x="6087092" y="5071119"/>
              <a:ext cx="1052802" cy="952056"/>
            </a:xfrm>
            <a:prstGeom prst="roundRect">
              <a:avLst>
                <a:gd name="adj" fmla="val 4199"/>
              </a:avLst>
            </a:prstGeom>
            <a:gradFill>
              <a:gsLst>
                <a:gs pos="100000">
                  <a:srgbClr val="00305C"/>
                </a:gs>
                <a:gs pos="0">
                  <a:srgbClr val="00305C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71" name="TextBox 145">
              <a:extLst>
                <a:ext uri="{FF2B5EF4-FFF2-40B4-BE49-F238E27FC236}">
                  <a16:creationId xmlns:a16="http://schemas.microsoft.com/office/drawing/2014/main" id="{C6801F5C-C24F-2F4C-B447-6C3CD76C2C7D}"/>
                </a:ext>
              </a:extLst>
            </p:cNvPr>
            <p:cNvSpPr txBox="1"/>
            <p:nvPr/>
          </p:nvSpPr>
          <p:spPr>
            <a:xfrm>
              <a:off x="6110368" y="5557518"/>
              <a:ext cx="981670" cy="4048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BERLIN</a:t>
              </a:r>
            </a:p>
          </p:txBody>
        </p:sp>
      </p:grpSp>
      <p:grpSp>
        <p:nvGrpSpPr>
          <p:cNvPr id="172" name="Group 165">
            <a:extLst>
              <a:ext uri="{FF2B5EF4-FFF2-40B4-BE49-F238E27FC236}">
                <a16:creationId xmlns:a16="http://schemas.microsoft.com/office/drawing/2014/main" id="{3F31D906-4575-3242-A6EB-07DF61927D10}"/>
              </a:ext>
            </a:extLst>
          </p:cNvPr>
          <p:cNvGrpSpPr/>
          <p:nvPr/>
        </p:nvGrpSpPr>
        <p:grpSpPr>
          <a:xfrm>
            <a:off x="4183351" y="3018502"/>
            <a:ext cx="789602" cy="1551647"/>
            <a:chOff x="7278964" y="3954314"/>
            <a:chExt cx="1052802" cy="2068862"/>
          </a:xfrm>
        </p:grpSpPr>
        <p:sp>
          <p:nvSpPr>
            <p:cNvPr id="173" name="Rectangle: Rounded Corners 131">
              <a:extLst>
                <a:ext uri="{FF2B5EF4-FFF2-40B4-BE49-F238E27FC236}">
                  <a16:creationId xmlns:a16="http://schemas.microsoft.com/office/drawing/2014/main" id="{6347239D-2483-514D-92DC-6B095713D33F}"/>
                </a:ext>
              </a:extLst>
            </p:cNvPr>
            <p:cNvSpPr/>
            <p:nvPr/>
          </p:nvSpPr>
          <p:spPr>
            <a:xfrm>
              <a:off x="7278964" y="3954314"/>
              <a:ext cx="1052802" cy="2068862"/>
            </a:xfrm>
            <a:prstGeom prst="roundRect">
              <a:avLst>
                <a:gd name="adj" fmla="val 4199"/>
              </a:avLst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74" name="Rectangle: Rounded Corners 152">
              <a:extLst>
                <a:ext uri="{FF2B5EF4-FFF2-40B4-BE49-F238E27FC236}">
                  <a16:creationId xmlns:a16="http://schemas.microsoft.com/office/drawing/2014/main" id="{5210878F-D251-0F47-AA10-D4F564AF7761}"/>
                </a:ext>
              </a:extLst>
            </p:cNvPr>
            <p:cNvSpPr/>
            <p:nvPr/>
          </p:nvSpPr>
          <p:spPr>
            <a:xfrm>
              <a:off x="7278964" y="5071119"/>
              <a:ext cx="1052802" cy="952056"/>
            </a:xfrm>
            <a:prstGeom prst="roundRect">
              <a:avLst>
                <a:gd name="adj" fmla="val 4199"/>
              </a:avLst>
            </a:prstGeom>
            <a:gradFill>
              <a:gsLst>
                <a:gs pos="100000">
                  <a:srgbClr val="00305C"/>
                </a:gs>
                <a:gs pos="0">
                  <a:srgbClr val="00305C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75" name="TextBox 146">
              <a:extLst>
                <a:ext uri="{FF2B5EF4-FFF2-40B4-BE49-F238E27FC236}">
                  <a16:creationId xmlns:a16="http://schemas.microsoft.com/office/drawing/2014/main" id="{74EA456D-A672-F743-A0FC-6BA5DCD46FBA}"/>
                </a:ext>
              </a:extLst>
            </p:cNvPr>
            <p:cNvSpPr txBox="1"/>
            <p:nvPr/>
          </p:nvSpPr>
          <p:spPr>
            <a:xfrm>
              <a:off x="7342406" y="5557518"/>
              <a:ext cx="919352" cy="4048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PÉKIN</a:t>
              </a:r>
            </a:p>
          </p:txBody>
        </p:sp>
      </p:grpSp>
      <p:grpSp>
        <p:nvGrpSpPr>
          <p:cNvPr id="176" name="Group 164">
            <a:extLst>
              <a:ext uri="{FF2B5EF4-FFF2-40B4-BE49-F238E27FC236}">
                <a16:creationId xmlns:a16="http://schemas.microsoft.com/office/drawing/2014/main" id="{53ED7D7B-7249-4444-BCC4-726982DAC33E}"/>
              </a:ext>
            </a:extLst>
          </p:cNvPr>
          <p:cNvGrpSpPr/>
          <p:nvPr/>
        </p:nvGrpSpPr>
        <p:grpSpPr>
          <a:xfrm>
            <a:off x="5038407" y="2931390"/>
            <a:ext cx="851261" cy="1551647"/>
            <a:chOff x="8419038" y="3954314"/>
            <a:chExt cx="1135014" cy="2068862"/>
          </a:xfrm>
        </p:grpSpPr>
        <p:sp>
          <p:nvSpPr>
            <p:cNvPr id="177" name="Rectangle: Rounded Corners 132">
              <a:extLst>
                <a:ext uri="{FF2B5EF4-FFF2-40B4-BE49-F238E27FC236}">
                  <a16:creationId xmlns:a16="http://schemas.microsoft.com/office/drawing/2014/main" id="{B28E8FE7-FDB5-6048-8019-25143B43CE71}"/>
                </a:ext>
              </a:extLst>
            </p:cNvPr>
            <p:cNvSpPr/>
            <p:nvPr/>
          </p:nvSpPr>
          <p:spPr>
            <a:xfrm>
              <a:off x="8470836" y="3954314"/>
              <a:ext cx="1052802" cy="2068862"/>
            </a:xfrm>
            <a:prstGeom prst="roundRect">
              <a:avLst>
                <a:gd name="adj" fmla="val 4199"/>
              </a:avLst>
            </a:pr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78" name="Rectangle: Rounded Corners 153">
              <a:extLst>
                <a:ext uri="{FF2B5EF4-FFF2-40B4-BE49-F238E27FC236}">
                  <a16:creationId xmlns:a16="http://schemas.microsoft.com/office/drawing/2014/main" id="{571985BC-2853-BA41-B18A-30B8941942C3}"/>
                </a:ext>
              </a:extLst>
            </p:cNvPr>
            <p:cNvSpPr/>
            <p:nvPr/>
          </p:nvSpPr>
          <p:spPr>
            <a:xfrm>
              <a:off x="8470836" y="5071119"/>
              <a:ext cx="1052802" cy="952056"/>
            </a:xfrm>
            <a:prstGeom prst="roundRect">
              <a:avLst>
                <a:gd name="adj" fmla="val 4199"/>
              </a:avLst>
            </a:prstGeom>
            <a:gradFill>
              <a:gsLst>
                <a:gs pos="100000">
                  <a:srgbClr val="00305C"/>
                </a:gs>
                <a:gs pos="0">
                  <a:srgbClr val="00305C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79" name="TextBox 147">
              <a:extLst>
                <a:ext uri="{FF2B5EF4-FFF2-40B4-BE49-F238E27FC236}">
                  <a16:creationId xmlns:a16="http://schemas.microsoft.com/office/drawing/2014/main" id="{5EE0AF25-CC40-9D46-B609-9C07D01612DF}"/>
                </a:ext>
              </a:extLst>
            </p:cNvPr>
            <p:cNvSpPr txBox="1"/>
            <p:nvPr/>
          </p:nvSpPr>
          <p:spPr>
            <a:xfrm>
              <a:off x="8419038" y="5557518"/>
              <a:ext cx="1135014" cy="4048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NEW-YORK</a:t>
              </a:r>
            </a:p>
          </p:txBody>
        </p:sp>
      </p:grpSp>
      <p:grpSp>
        <p:nvGrpSpPr>
          <p:cNvPr id="180" name="Group 163">
            <a:extLst>
              <a:ext uri="{FF2B5EF4-FFF2-40B4-BE49-F238E27FC236}">
                <a16:creationId xmlns:a16="http://schemas.microsoft.com/office/drawing/2014/main" id="{1BC5626C-4926-9E41-ABEE-E27785A9DC51}"/>
              </a:ext>
            </a:extLst>
          </p:cNvPr>
          <p:cNvGrpSpPr/>
          <p:nvPr/>
        </p:nvGrpSpPr>
        <p:grpSpPr>
          <a:xfrm>
            <a:off x="5920359" y="3018502"/>
            <a:ext cx="893903" cy="1551647"/>
            <a:chOff x="9662708" y="3954314"/>
            <a:chExt cx="1052802" cy="2068862"/>
          </a:xfrm>
        </p:grpSpPr>
        <p:sp>
          <p:nvSpPr>
            <p:cNvPr id="181" name="Rectangle: Rounded Corners 133">
              <a:extLst>
                <a:ext uri="{FF2B5EF4-FFF2-40B4-BE49-F238E27FC236}">
                  <a16:creationId xmlns:a16="http://schemas.microsoft.com/office/drawing/2014/main" id="{5325EEA6-75E9-FE41-B579-97E2B7264325}"/>
                </a:ext>
              </a:extLst>
            </p:cNvPr>
            <p:cNvSpPr/>
            <p:nvPr/>
          </p:nvSpPr>
          <p:spPr>
            <a:xfrm>
              <a:off x="9662708" y="3954314"/>
              <a:ext cx="1052802" cy="2068862"/>
            </a:xfrm>
            <a:prstGeom prst="roundRect">
              <a:avLst>
                <a:gd name="adj" fmla="val 4199"/>
              </a:avLst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82" name="Rectangle: Rounded Corners 154">
              <a:extLst>
                <a:ext uri="{FF2B5EF4-FFF2-40B4-BE49-F238E27FC236}">
                  <a16:creationId xmlns:a16="http://schemas.microsoft.com/office/drawing/2014/main" id="{E64B7053-258F-724A-981D-2E2B29838188}"/>
                </a:ext>
              </a:extLst>
            </p:cNvPr>
            <p:cNvSpPr/>
            <p:nvPr/>
          </p:nvSpPr>
          <p:spPr>
            <a:xfrm>
              <a:off x="9662708" y="5071119"/>
              <a:ext cx="1052802" cy="952056"/>
            </a:xfrm>
            <a:prstGeom prst="roundRect">
              <a:avLst>
                <a:gd name="adj" fmla="val 4199"/>
              </a:avLst>
            </a:prstGeom>
            <a:gradFill>
              <a:gsLst>
                <a:gs pos="100000">
                  <a:srgbClr val="00305C"/>
                </a:gs>
                <a:gs pos="0">
                  <a:srgbClr val="00305C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83" name="TextBox 148">
              <a:extLst>
                <a:ext uri="{FF2B5EF4-FFF2-40B4-BE49-F238E27FC236}">
                  <a16:creationId xmlns:a16="http://schemas.microsoft.com/office/drawing/2014/main" id="{242731D7-BE2F-B542-9840-5E6954E604BF}"/>
                </a:ext>
              </a:extLst>
            </p:cNvPr>
            <p:cNvSpPr txBox="1"/>
            <p:nvPr/>
          </p:nvSpPr>
          <p:spPr>
            <a:xfrm>
              <a:off x="9769118" y="5557518"/>
              <a:ext cx="776002" cy="4048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TOKYO</a:t>
              </a:r>
            </a:p>
          </p:txBody>
        </p:sp>
      </p:grpSp>
      <p:grpSp>
        <p:nvGrpSpPr>
          <p:cNvPr id="184" name="Group 162">
            <a:extLst>
              <a:ext uri="{FF2B5EF4-FFF2-40B4-BE49-F238E27FC236}">
                <a16:creationId xmlns:a16="http://schemas.microsoft.com/office/drawing/2014/main" id="{5B68C275-544F-A048-AD60-41ABE6D972BA}"/>
              </a:ext>
            </a:extLst>
          </p:cNvPr>
          <p:cNvGrpSpPr/>
          <p:nvPr/>
        </p:nvGrpSpPr>
        <p:grpSpPr>
          <a:xfrm>
            <a:off x="6865061" y="2931390"/>
            <a:ext cx="789602" cy="1551647"/>
            <a:chOff x="10854579" y="3954314"/>
            <a:chExt cx="1052802" cy="2068862"/>
          </a:xfrm>
        </p:grpSpPr>
        <p:sp>
          <p:nvSpPr>
            <p:cNvPr id="185" name="Rectangle: Rounded Corners 134">
              <a:extLst>
                <a:ext uri="{FF2B5EF4-FFF2-40B4-BE49-F238E27FC236}">
                  <a16:creationId xmlns:a16="http://schemas.microsoft.com/office/drawing/2014/main" id="{245497A2-26CE-1940-A7BD-A7BD88729886}"/>
                </a:ext>
              </a:extLst>
            </p:cNvPr>
            <p:cNvSpPr/>
            <p:nvPr/>
          </p:nvSpPr>
          <p:spPr>
            <a:xfrm>
              <a:off x="10854579" y="3954314"/>
              <a:ext cx="1052802" cy="2068862"/>
            </a:xfrm>
            <a:prstGeom prst="roundRect">
              <a:avLst>
                <a:gd name="adj" fmla="val 4199"/>
              </a:avLst>
            </a:pr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508000" dist="203200" dir="5400000" sx="73000" sy="73000" algn="ctr" rotWithShape="0">
                <a:srgbClr val="00305C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86" name="Rectangle: Rounded Corners 155">
              <a:extLst>
                <a:ext uri="{FF2B5EF4-FFF2-40B4-BE49-F238E27FC236}">
                  <a16:creationId xmlns:a16="http://schemas.microsoft.com/office/drawing/2014/main" id="{786B4038-15E7-444C-875D-C024CB16FECD}"/>
                </a:ext>
              </a:extLst>
            </p:cNvPr>
            <p:cNvSpPr/>
            <p:nvPr/>
          </p:nvSpPr>
          <p:spPr>
            <a:xfrm>
              <a:off x="10854579" y="5071119"/>
              <a:ext cx="1052802" cy="952056"/>
            </a:xfrm>
            <a:prstGeom prst="roundRect">
              <a:avLst>
                <a:gd name="adj" fmla="val 4199"/>
              </a:avLst>
            </a:prstGeom>
            <a:gradFill>
              <a:gsLst>
                <a:gs pos="100000">
                  <a:srgbClr val="00305C"/>
                </a:gs>
                <a:gs pos="0">
                  <a:srgbClr val="00305C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25" b="1">
                <a:latin typeface="Arial" panose="020B0604020202020204" pitchFamily="34" charset="0"/>
              </a:endParaRPr>
            </a:p>
          </p:txBody>
        </p:sp>
        <p:sp>
          <p:nvSpPr>
            <p:cNvPr id="187" name="TextBox 149">
              <a:extLst>
                <a:ext uri="{FF2B5EF4-FFF2-40B4-BE49-F238E27FC236}">
                  <a16:creationId xmlns:a16="http://schemas.microsoft.com/office/drawing/2014/main" id="{2448E193-69D7-2F46-8809-B3EBC648E5F4}"/>
                </a:ext>
              </a:extLst>
            </p:cNvPr>
            <p:cNvSpPr txBox="1"/>
            <p:nvPr/>
          </p:nvSpPr>
          <p:spPr>
            <a:xfrm>
              <a:off x="10884079" y="5557518"/>
              <a:ext cx="993802" cy="4048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b="1">
                  <a:solidFill>
                    <a:schemeClr val="bg1"/>
                  </a:solidFill>
                  <a:latin typeface="Arial" panose="020B0604020202020204" pitchFamily="34" charset="0"/>
                  <a:cs typeface="DIN Pro Cond Black" panose="020B0A06020101010102" pitchFamily="34" charset="0"/>
                </a:rPr>
                <a:t>ABIDJ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746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1CF5530-0CF4-413E-B5C3-555ECD12EB56}"/>
              </a:ext>
            </a:extLst>
          </p:cNvPr>
          <p:cNvCxnSpPr>
            <a:cxnSpLocks/>
          </p:cNvCxnSpPr>
          <p:nvPr/>
        </p:nvCxnSpPr>
        <p:spPr>
          <a:xfrm>
            <a:off x="9144000" y="0"/>
            <a:ext cx="0" cy="5150050"/>
          </a:xfrm>
          <a:prstGeom prst="line">
            <a:avLst/>
          </a:prstGeom>
          <a:ln>
            <a:solidFill>
              <a:srgbClr val="00305C">
                <a:alpha val="2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A4C50E-DF17-4CB3-A14A-40335C951DA1}"/>
              </a:ext>
            </a:extLst>
          </p:cNvPr>
          <p:cNvCxnSpPr>
            <a:cxnSpLocks/>
          </p:cNvCxnSpPr>
          <p:nvPr/>
        </p:nvCxnSpPr>
        <p:spPr>
          <a:xfrm>
            <a:off x="0" y="-6550"/>
            <a:ext cx="0" cy="5150050"/>
          </a:xfrm>
          <a:prstGeom prst="line">
            <a:avLst/>
          </a:prstGeom>
          <a:ln>
            <a:solidFill>
              <a:srgbClr val="00305C">
                <a:alpha val="2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709D5B2-7F43-4F73-AC81-583423B150F5}"/>
              </a:ext>
            </a:extLst>
          </p:cNvPr>
          <p:cNvCxnSpPr>
            <a:cxnSpLocks/>
          </p:cNvCxnSpPr>
          <p:nvPr/>
        </p:nvCxnSpPr>
        <p:spPr>
          <a:xfrm flipH="1">
            <a:off x="4463144" y="715192"/>
            <a:ext cx="217715" cy="0"/>
          </a:xfrm>
          <a:prstGeom prst="line">
            <a:avLst/>
          </a:prstGeom>
          <a:ln w="76200">
            <a:solidFill>
              <a:srgbClr val="003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F7C9A7F-2DFB-4A79-92DB-79968E893F41}"/>
              </a:ext>
            </a:extLst>
          </p:cNvPr>
          <p:cNvCxnSpPr>
            <a:cxnSpLocks/>
          </p:cNvCxnSpPr>
          <p:nvPr/>
        </p:nvCxnSpPr>
        <p:spPr>
          <a:xfrm>
            <a:off x="9731" y="672030"/>
            <a:ext cx="9143999" cy="0"/>
          </a:xfrm>
          <a:prstGeom prst="line">
            <a:avLst/>
          </a:prstGeom>
          <a:ln>
            <a:solidFill>
              <a:srgbClr val="00305C">
                <a:alpha val="17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tre 1">
            <a:extLst>
              <a:ext uri="{FF2B5EF4-FFF2-40B4-BE49-F238E27FC236}">
                <a16:creationId xmlns:a16="http://schemas.microsoft.com/office/drawing/2014/main" id="{E2C6B4E7-6F1F-4A71-9225-904EDB9B3C5D}"/>
              </a:ext>
            </a:extLst>
          </p:cNvPr>
          <p:cNvSpPr txBox="1">
            <a:spLocks/>
          </p:cNvSpPr>
          <p:nvPr/>
        </p:nvSpPr>
        <p:spPr>
          <a:xfrm>
            <a:off x="1029727" y="177882"/>
            <a:ext cx="7088184" cy="46601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>
                <a:solidFill>
                  <a:srgbClr val="003A70"/>
                </a:solidFill>
                <a:latin typeface="DIN-Regular"/>
                <a:ea typeface="+mj-ea"/>
                <a:cs typeface="DIN-Regular"/>
              </a:defRPr>
            </a:lvl1pPr>
          </a:lstStyle>
          <a:p>
            <a:pPr algn="ctr">
              <a:buSzPts val="1800"/>
            </a:pPr>
            <a:r>
              <a:rPr lang="fr-FR" b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EC PARIS </a:t>
            </a:r>
            <a:r>
              <a:rPr lang="fr-FR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ANKINGS</a:t>
            </a:r>
            <a:endParaRPr lang="en-US" b="1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Picture 8" descr="http://www.roomtoread.org/view.image?Id=1029">
            <a:extLst>
              <a:ext uri="{FF2B5EF4-FFF2-40B4-BE49-F238E27FC236}">
                <a16:creationId xmlns:a16="http://schemas.microsoft.com/office/drawing/2014/main" id="{A4A8FF73-B719-43C0-A669-2563AA619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068" y="1172826"/>
            <a:ext cx="717533" cy="915340"/>
          </a:xfrm>
          <a:prstGeom prst="rect">
            <a:avLst/>
          </a:prstGeom>
          <a:noFill/>
        </p:spPr>
      </p:pic>
      <p:sp>
        <p:nvSpPr>
          <p:cNvPr id="59" name="TextBox 10">
            <a:extLst>
              <a:ext uri="{FF2B5EF4-FFF2-40B4-BE49-F238E27FC236}">
                <a16:creationId xmlns:a16="http://schemas.microsoft.com/office/drawing/2014/main" id="{473A5EDD-2663-4A5B-97BF-AD92A2494327}"/>
              </a:ext>
            </a:extLst>
          </p:cNvPr>
          <p:cNvSpPr txBox="1"/>
          <p:nvPr/>
        </p:nvSpPr>
        <p:spPr>
          <a:xfrm>
            <a:off x="2100945" y="997227"/>
            <a:ext cx="6128654" cy="144655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#1 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European Business Schools (2022)</a:t>
            </a:r>
          </a:p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#1 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Executive Education (2023) </a:t>
            </a:r>
            <a:endParaRPr lang="en-US" sz="1100" dirty="0">
              <a:solidFill>
                <a:schemeClr val="tx2"/>
              </a:solidFill>
              <a:latin typeface="DIN" panose="02000503040000020003" pitchFamily="2" charset="0"/>
              <a:cs typeface="Arial" pitchFamily="34" charset="0"/>
            </a:endParaRPr>
          </a:p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</a:rPr>
              <a:t>#2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 Master in International Finance (2023)</a:t>
            </a:r>
            <a:endParaRPr lang="en-US" sz="1100" dirty="0">
              <a:solidFill>
                <a:schemeClr val="tx2"/>
              </a:solidFill>
              <a:latin typeface="DIN"/>
              <a:cs typeface="Arial"/>
              <a:sym typeface="Gill Sans MT"/>
            </a:endParaRPr>
          </a:p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#1 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Master in Management (2023)</a:t>
            </a:r>
            <a:endParaRPr lang="en-US" sz="1100" dirty="0">
              <a:solidFill>
                <a:schemeClr val="tx2"/>
              </a:solidFill>
              <a:latin typeface="DIN"/>
              <a:cs typeface="Arial"/>
            </a:endParaRPr>
          </a:p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</a:rPr>
              <a:t>#7 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Global Executive MBA (2023)</a:t>
            </a:r>
          </a:p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#17 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MBA (2023)</a:t>
            </a:r>
          </a:p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  <a:sym typeface="Gill Sans MT"/>
              </a:rPr>
              <a:t>#4 </a:t>
            </a:r>
            <a:r>
              <a:rPr lang="en-US" sz="1100" dirty="0" err="1">
                <a:solidFill>
                  <a:schemeClr val="tx2"/>
                </a:solidFill>
                <a:latin typeface="DIN"/>
                <a:cs typeface="Arial"/>
              </a:rPr>
              <a:t>Trium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 Global Executive MBA – EMBA Ranking joint Programs with LSE and NYU Stern (2023)</a:t>
            </a:r>
          </a:p>
          <a:p>
            <a:pPr defTabSz="685749">
              <a:defRPr/>
            </a:pPr>
            <a:endParaRPr lang="en-US" sz="1100" dirty="0">
              <a:solidFill>
                <a:schemeClr val="tx2"/>
              </a:solidFill>
              <a:latin typeface="DIN"/>
              <a:cs typeface="Arial"/>
            </a:endParaRPr>
          </a:p>
        </p:txBody>
      </p:sp>
      <p:sp>
        <p:nvSpPr>
          <p:cNvPr id="82" name="TextBox 22">
            <a:extLst>
              <a:ext uri="{FF2B5EF4-FFF2-40B4-BE49-F238E27FC236}">
                <a16:creationId xmlns:a16="http://schemas.microsoft.com/office/drawing/2014/main" id="{BE03354D-ADF6-4721-864E-726FFA7E23E3}"/>
              </a:ext>
            </a:extLst>
          </p:cNvPr>
          <p:cNvSpPr txBox="1"/>
          <p:nvPr/>
        </p:nvSpPr>
        <p:spPr>
          <a:xfrm>
            <a:off x="2100945" y="3768355"/>
            <a:ext cx="500521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  <a:sym typeface="Gill Sans MT"/>
              </a:rPr>
              <a:t>#1 </a:t>
            </a:r>
            <a:r>
              <a:rPr lang="en-US" sz="1100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  <a:sym typeface="Gill Sans MT"/>
              </a:rPr>
              <a:t>Le Point (2023)</a:t>
            </a:r>
          </a:p>
          <a:p>
            <a:pPr defTabSz="685749">
              <a:defRPr/>
            </a:pPr>
            <a:r>
              <a:rPr lang="en-US" sz="1100" b="1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#1 </a:t>
            </a:r>
            <a:r>
              <a:rPr lang="en-US" sz="1100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Le Figaro Etudiant (2023) </a:t>
            </a:r>
          </a:p>
          <a:p>
            <a:pPr defTabSz="685749">
              <a:defRPr/>
            </a:pPr>
            <a:r>
              <a:rPr lang="en-US" sz="1200" b="1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#1 </a:t>
            </a:r>
            <a:r>
              <a:rPr lang="en-US" sz="1200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L’Etudiant (2023) </a:t>
            </a:r>
          </a:p>
          <a:p>
            <a:pPr defTabSz="685749">
              <a:defRPr/>
            </a:pPr>
            <a:r>
              <a:rPr lang="en-US" sz="1200" b="1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#1 </a:t>
            </a:r>
            <a:r>
              <a:rPr lang="en-US" sz="1200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Le </a:t>
            </a:r>
            <a:r>
              <a:rPr lang="en-US" sz="1200" dirty="0" err="1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Parisien</a:t>
            </a:r>
            <a:r>
              <a:rPr lang="en-US" sz="1200" dirty="0">
                <a:solidFill>
                  <a:schemeClr val="tx2"/>
                </a:solidFill>
                <a:latin typeface="DIN" panose="02000503040000020003" pitchFamily="2" charset="0"/>
                <a:cs typeface="Arial" pitchFamily="34" charset="0"/>
              </a:rPr>
              <a:t> (2023) </a:t>
            </a:r>
          </a:p>
          <a:p>
            <a:pPr defTabSz="685749">
              <a:defRPr/>
            </a:pPr>
            <a:endParaRPr lang="en-US" sz="1200" dirty="0">
              <a:solidFill>
                <a:schemeClr val="tx2"/>
              </a:solidFill>
              <a:latin typeface="DIN" panose="02000503040000020003" pitchFamily="2" charset="0"/>
              <a:cs typeface="Arial" pitchFamily="34" charset="0"/>
              <a:sym typeface="Gill Sans MT"/>
            </a:endParaRPr>
          </a:p>
        </p:txBody>
      </p:sp>
      <p:pic>
        <p:nvPicPr>
          <p:cNvPr id="83" name="Image 1">
            <a:extLst>
              <a:ext uri="{FF2B5EF4-FFF2-40B4-BE49-F238E27FC236}">
                <a16:creationId xmlns:a16="http://schemas.microsoft.com/office/drawing/2014/main" id="{44CA61C8-F493-4F8C-B2B8-A23578B10C4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146" y="2605767"/>
            <a:ext cx="1110853" cy="578644"/>
          </a:xfrm>
          <a:prstGeom prst="rect">
            <a:avLst/>
          </a:prstGeom>
        </p:spPr>
      </p:pic>
      <p:sp>
        <p:nvSpPr>
          <p:cNvPr id="84" name="TextBox 19">
            <a:extLst>
              <a:ext uri="{FF2B5EF4-FFF2-40B4-BE49-F238E27FC236}">
                <a16:creationId xmlns:a16="http://schemas.microsoft.com/office/drawing/2014/main" id="{2A42FD44-951C-4034-8741-3B270BCCE3D9}"/>
              </a:ext>
            </a:extLst>
          </p:cNvPr>
          <p:cNvSpPr txBox="1"/>
          <p:nvPr/>
        </p:nvSpPr>
        <p:spPr>
          <a:xfrm>
            <a:off x="2094668" y="2417637"/>
            <a:ext cx="6820732" cy="9387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</a:rPr>
              <a:t>#1 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Master in Marketing (2023), Master in Strategic Management, Master in International Finance (2023)</a:t>
            </a:r>
          </a:p>
          <a:p>
            <a:pPr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</a:rPr>
              <a:t>#1 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Global Executive MBA (2023)</a:t>
            </a:r>
          </a:p>
          <a:p>
            <a:pPr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</a:rPr>
              <a:t>#3 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Master Data Science for Business X-HEC (and #1 in Europe) (2023)</a:t>
            </a:r>
          </a:p>
          <a:p>
            <a:pPr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</a:rPr>
              <a:t>#1 </a:t>
            </a:r>
            <a:r>
              <a:rPr lang="en-US" sz="1100" dirty="0" err="1">
                <a:solidFill>
                  <a:schemeClr val="tx2"/>
                </a:solidFill>
                <a:latin typeface="DIN"/>
                <a:cs typeface="Arial"/>
              </a:rPr>
              <a:t>Trium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 Global Executive MBA – EMBA Ranking joint Programs with LSE and NYU Stern (2022)</a:t>
            </a:r>
          </a:p>
          <a:p>
            <a:pPr>
              <a:defRPr/>
            </a:pPr>
            <a:r>
              <a:rPr lang="en-US" sz="1100" b="1" dirty="0">
                <a:solidFill>
                  <a:schemeClr val="tx2"/>
                </a:solidFill>
                <a:latin typeface="DIN"/>
                <a:cs typeface="Arial"/>
              </a:rPr>
              <a:t>#5 </a:t>
            </a:r>
            <a:r>
              <a:rPr lang="en-US" sz="1100" dirty="0">
                <a:solidFill>
                  <a:schemeClr val="tx2"/>
                </a:solidFill>
                <a:latin typeface="DIN"/>
                <a:cs typeface="Arial"/>
              </a:rPr>
              <a:t>Global MBA (2023)</a:t>
            </a:r>
          </a:p>
        </p:txBody>
      </p:sp>
      <p:sp>
        <p:nvSpPr>
          <p:cNvPr id="16" name="Espace réservé du numéro de diapositive 4">
            <a:extLst>
              <a:ext uri="{FF2B5EF4-FFF2-40B4-BE49-F238E27FC236}">
                <a16:creationId xmlns:a16="http://schemas.microsoft.com/office/drawing/2014/main" id="{1078D74C-419C-4F79-9690-478AB3083AFA}"/>
              </a:ext>
            </a:extLst>
          </p:cNvPr>
          <p:cNvSpPr txBox="1">
            <a:spLocks/>
          </p:cNvSpPr>
          <p:nvPr/>
        </p:nvSpPr>
        <p:spPr>
          <a:xfrm>
            <a:off x="6553200" y="4719111"/>
            <a:ext cx="2133600" cy="273844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>
              <a:defRPr sz="1000" b="1" i="0">
                <a:solidFill>
                  <a:srgbClr val="003A70"/>
                </a:solidFill>
                <a:latin typeface="DIN"/>
                <a:cs typeface="DIN-Regular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FB5E3A-1E28-1B4A-91D5-F1561850C4F5}" type="slidenum">
              <a:rPr lang="fr-FR"/>
              <a:pPr/>
              <a:t>8</a:t>
            </a:fld>
            <a:endParaRPr lang="fr-FR"/>
          </a:p>
        </p:txBody>
      </p:sp>
      <p:pic>
        <p:nvPicPr>
          <p:cNvPr id="1026" name="Picture 2" descr="LE POINT-FORMAT - FESTIVAL AUTOMOBILE INTERNATIONAL">
            <a:extLst>
              <a:ext uri="{FF2B5EF4-FFF2-40B4-BE49-F238E27FC236}">
                <a16:creationId xmlns:a16="http://schemas.microsoft.com/office/drawing/2014/main" id="{50860C1B-6F15-29A5-3638-BD1492162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552" y="3442318"/>
            <a:ext cx="522944" cy="51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garo Etudiant | Figaro Classifieds">
            <a:extLst>
              <a:ext uri="{FF2B5EF4-FFF2-40B4-BE49-F238E27FC236}">
                <a16:creationId xmlns:a16="http://schemas.microsoft.com/office/drawing/2014/main" id="{1E69C2AC-9884-487C-8851-A8D6C72A2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02" y="3803069"/>
            <a:ext cx="416543" cy="416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Presse) Le Parisien logo - Fermes d'Avenir">
            <a:extLst>
              <a:ext uri="{FF2B5EF4-FFF2-40B4-BE49-F238E27FC236}">
                <a16:creationId xmlns:a16="http://schemas.microsoft.com/office/drawing/2014/main" id="{39B616A4-C832-0F04-C0E1-B9C3318C4F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965" y="4389508"/>
            <a:ext cx="512049" cy="38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Logo-l-etudiant - ESPI - Ecole Supérieure des Professions ...">
            <a:extLst>
              <a:ext uri="{FF2B5EF4-FFF2-40B4-BE49-F238E27FC236}">
                <a16:creationId xmlns:a16="http://schemas.microsoft.com/office/drawing/2014/main" id="{865C9A8B-6150-6855-35D8-D9BDDF29A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79" y="4260797"/>
            <a:ext cx="512049" cy="18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310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latin typeface="DIN" panose="02000503040000020003" pitchFamily="2" charset="0"/>
              </a:rPr>
              <a:t>RESEARCH  AT HEC PARIS</a:t>
            </a:r>
          </a:p>
        </p:txBody>
      </p:sp>
    </p:spTree>
    <p:extLst>
      <p:ext uri="{BB962C8B-B14F-4D97-AF65-F5344CB8AC3E}">
        <p14:creationId xmlns:p14="http://schemas.microsoft.com/office/powerpoint/2010/main" val="21091409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Icons_in_circles_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uestbook_POWER_USER_SEPARATOR_ICONS_treaty_POWER_USER_SEPARATOR_ICONS_contrac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ccess*winner*crown*olympics*laurel wreath*leaves*leaf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263</TotalTime>
  <Words>1615</Words>
  <Application>Microsoft Office PowerPoint</Application>
  <PresentationFormat>Affichage à l'écran (16:9)</PresentationFormat>
  <Paragraphs>355</Paragraphs>
  <Slides>28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7" baseType="lpstr">
      <vt:lpstr>Arial</vt:lpstr>
      <vt:lpstr>Arial Black</vt:lpstr>
      <vt:lpstr>Calibri</vt:lpstr>
      <vt:lpstr>DIN</vt:lpstr>
      <vt:lpstr>DIN-Regular</vt:lpstr>
      <vt:lpstr>Wingdings</vt:lpstr>
      <vt:lpstr>Thème Office</vt:lpstr>
      <vt:lpstr>1_Thème Offic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HEC PARIS’ FACTS &amp; FIGURES</vt:lpstr>
      <vt:lpstr>Présentation PowerPoint</vt:lpstr>
      <vt:lpstr>Présentation PowerPoint</vt:lpstr>
      <vt:lpstr>Présentation PowerPoint</vt:lpstr>
      <vt:lpstr>RESEARCH  AT HEC PARIS</vt:lpstr>
      <vt:lpstr>Présentation PowerPoint</vt:lpstr>
      <vt:lpstr>Présentation PowerPoint</vt:lpstr>
      <vt:lpstr>Présentation PowerPoint</vt:lpstr>
      <vt:lpstr>PROGRAMS AT HEC PARI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HEC PARIS’ ECOSYSTEM</vt:lpstr>
      <vt:lpstr>Présentation PowerPoint</vt:lpstr>
      <vt:lpstr>Présentation PowerPoint</vt:lpstr>
      <vt:lpstr>CORPORATE PARTNERS</vt:lpstr>
      <vt:lpstr>HEC Paris Corporate Partners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REA2</dc:creator>
  <cp:lastModifiedBy>Sylvie BOUGREAU</cp:lastModifiedBy>
  <cp:revision>429</cp:revision>
  <dcterms:created xsi:type="dcterms:W3CDTF">2017-06-22T09:35:28Z</dcterms:created>
  <dcterms:modified xsi:type="dcterms:W3CDTF">2023-11-17T09:53:41Z</dcterms:modified>
</cp:coreProperties>
</file>